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20"/>
  </p:notesMasterIdLst>
  <p:sldIdLst>
    <p:sldId id="2147375137" r:id="rId4"/>
    <p:sldId id="6255" r:id="rId5"/>
    <p:sldId id="2147375122" r:id="rId6"/>
    <p:sldId id="2147375124" r:id="rId7"/>
    <p:sldId id="6172" r:id="rId8"/>
    <p:sldId id="2147374899" r:id="rId9"/>
    <p:sldId id="2147375136" r:id="rId10"/>
    <p:sldId id="2147375134" r:id="rId11"/>
    <p:sldId id="2147375125" r:id="rId12"/>
    <p:sldId id="2147375118" r:id="rId13"/>
    <p:sldId id="2147375138" r:id="rId14"/>
    <p:sldId id="2147375133" r:id="rId15"/>
    <p:sldId id="2147375129" r:id="rId16"/>
    <p:sldId id="2147375130" r:id="rId17"/>
    <p:sldId id="2147375131" r:id="rId18"/>
    <p:sldId id="2147375123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DD3643-5F16-4C3D-BAA5-43B9C1AD5304}" v="8" dt="2022-06-15T07:55:38.1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hail Patel" userId="4686f833-3eff-454e-830c-756bdbe0bcf5" providerId="ADAL" clId="{3BDD3643-5F16-4C3D-BAA5-43B9C1AD5304}"/>
    <pc:docChg chg="custSel addSld delSld modSld sldOrd">
      <pc:chgData name="Sohail Patel" userId="4686f833-3eff-454e-830c-756bdbe0bcf5" providerId="ADAL" clId="{3BDD3643-5F16-4C3D-BAA5-43B9C1AD5304}" dt="2022-06-15T07:55:49.770" v="60" actId="47"/>
      <pc:docMkLst>
        <pc:docMk/>
      </pc:docMkLst>
      <pc:sldChg chg="modSp mod">
        <pc:chgData name="Sohail Patel" userId="4686f833-3eff-454e-830c-756bdbe0bcf5" providerId="ADAL" clId="{3BDD3643-5F16-4C3D-BAA5-43B9C1AD5304}" dt="2022-05-31T06:29:55.403" v="0" actId="207"/>
        <pc:sldMkLst>
          <pc:docMk/>
          <pc:sldMk cId="0" sldId="2147375129"/>
        </pc:sldMkLst>
        <pc:spChg chg="mod">
          <ac:chgData name="Sohail Patel" userId="4686f833-3eff-454e-830c-756bdbe0bcf5" providerId="ADAL" clId="{3BDD3643-5F16-4C3D-BAA5-43B9C1AD5304}" dt="2022-05-31T06:29:55.403" v="0" actId="207"/>
          <ac:spMkLst>
            <pc:docMk/>
            <pc:sldMk cId="0" sldId="2147375129"/>
            <ac:spMk id="38924" creationId="{5A5F59FB-0910-0889-F252-C100CEA474B8}"/>
          </ac:spMkLst>
        </pc:spChg>
      </pc:sldChg>
      <pc:sldChg chg="del">
        <pc:chgData name="Sohail Patel" userId="4686f833-3eff-454e-830c-756bdbe0bcf5" providerId="ADAL" clId="{3BDD3643-5F16-4C3D-BAA5-43B9C1AD5304}" dt="2022-06-07T08:57:02.254" v="17" actId="47"/>
        <pc:sldMkLst>
          <pc:docMk/>
          <pc:sldMk cId="0" sldId="2147375132"/>
        </pc:sldMkLst>
      </pc:sldChg>
      <pc:sldChg chg="addSp delSp modSp mod ord">
        <pc:chgData name="Sohail Patel" userId="4686f833-3eff-454e-830c-756bdbe0bcf5" providerId="ADAL" clId="{3BDD3643-5F16-4C3D-BAA5-43B9C1AD5304}" dt="2022-06-15T07:55:38.175" v="59"/>
        <pc:sldMkLst>
          <pc:docMk/>
          <pc:sldMk cId="0" sldId="2147375134"/>
        </pc:sldMkLst>
        <pc:picChg chg="add del mod">
          <ac:chgData name="Sohail Patel" userId="4686f833-3eff-454e-830c-756bdbe0bcf5" providerId="ADAL" clId="{3BDD3643-5F16-4C3D-BAA5-43B9C1AD5304}" dt="2022-06-15T07:54:52.359" v="54" actId="478"/>
          <ac:picMkLst>
            <pc:docMk/>
            <pc:sldMk cId="0" sldId="2147375134"/>
            <ac:picMk id="3" creationId="{98ABEA00-8FBE-89B1-7F61-DB0F457F370B}"/>
          </ac:picMkLst>
        </pc:picChg>
        <pc:picChg chg="add mod">
          <ac:chgData name="Sohail Patel" userId="4686f833-3eff-454e-830c-756bdbe0bcf5" providerId="ADAL" clId="{3BDD3643-5F16-4C3D-BAA5-43B9C1AD5304}" dt="2022-06-15T07:55:38.175" v="59"/>
          <ac:picMkLst>
            <pc:docMk/>
            <pc:sldMk cId="0" sldId="2147375134"/>
            <ac:picMk id="10" creationId="{FB78C7BA-2EB6-3E8A-6646-7D7C790CD951}"/>
          </ac:picMkLst>
        </pc:picChg>
        <pc:picChg chg="del">
          <ac:chgData name="Sohail Patel" userId="4686f833-3eff-454e-830c-756bdbe0bcf5" providerId="ADAL" clId="{3BDD3643-5F16-4C3D-BAA5-43B9C1AD5304}" dt="2022-06-07T09:01:45.874" v="29" actId="478"/>
          <ac:picMkLst>
            <pc:docMk/>
            <pc:sldMk cId="0" sldId="2147375134"/>
            <ac:picMk id="32774" creationId="{8D9D6B28-9C73-5EB1-C4B8-4B8108C1B27A}"/>
          </ac:picMkLst>
        </pc:picChg>
      </pc:sldChg>
      <pc:sldChg chg="addSp delSp modSp mod ord">
        <pc:chgData name="Sohail Patel" userId="4686f833-3eff-454e-830c-756bdbe0bcf5" providerId="ADAL" clId="{3BDD3643-5F16-4C3D-BAA5-43B9C1AD5304}" dt="2022-06-15T07:55:21.067" v="58"/>
        <pc:sldMkLst>
          <pc:docMk/>
          <pc:sldMk cId="0" sldId="2147375136"/>
        </pc:sldMkLst>
        <pc:picChg chg="add del mod">
          <ac:chgData name="Sohail Patel" userId="4686f833-3eff-454e-830c-756bdbe0bcf5" providerId="ADAL" clId="{3BDD3643-5F16-4C3D-BAA5-43B9C1AD5304}" dt="2022-06-15T07:54:50.184" v="53" actId="478"/>
          <ac:picMkLst>
            <pc:docMk/>
            <pc:sldMk cId="0" sldId="2147375136"/>
            <ac:picMk id="3" creationId="{D3529242-2DD7-4A6A-2A30-C0AF069A78BA}"/>
          </ac:picMkLst>
        </pc:picChg>
        <pc:picChg chg="add mod">
          <ac:chgData name="Sohail Patel" userId="4686f833-3eff-454e-830c-756bdbe0bcf5" providerId="ADAL" clId="{3BDD3643-5F16-4C3D-BAA5-43B9C1AD5304}" dt="2022-06-15T07:55:21.067" v="58"/>
          <ac:picMkLst>
            <pc:docMk/>
            <pc:sldMk cId="0" sldId="2147375136"/>
            <ac:picMk id="10" creationId="{2FD27AD6-3041-1B25-F6E5-93BE5EE1A76A}"/>
          </ac:picMkLst>
        </pc:picChg>
        <pc:picChg chg="del">
          <ac:chgData name="Sohail Patel" userId="4686f833-3eff-454e-830c-756bdbe0bcf5" providerId="ADAL" clId="{3BDD3643-5F16-4C3D-BAA5-43B9C1AD5304}" dt="2022-06-07T08:54:02.557" v="1" actId="478"/>
          <ac:picMkLst>
            <pc:docMk/>
            <pc:sldMk cId="0" sldId="2147375136"/>
            <ac:picMk id="34822" creationId="{A6CF8C91-E022-E36B-DF5A-1127706147CB}"/>
          </ac:picMkLst>
        </pc:picChg>
      </pc:sldChg>
      <pc:sldChg chg="addSp delSp modSp del mod">
        <pc:chgData name="Sohail Patel" userId="4686f833-3eff-454e-830c-756bdbe0bcf5" providerId="ADAL" clId="{3BDD3643-5F16-4C3D-BAA5-43B9C1AD5304}" dt="2022-06-15T07:55:49.770" v="60" actId="47"/>
        <pc:sldMkLst>
          <pc:docMk/>
          <pc:sldMk cId="0" sldId="2147375138"/>
        </pc:sldMkLst>
        <pc:picChg chg="add del mod">
          <ac:chgData name="Sohail Patel" userId="4686f833-3eff-454e-830c-756bdbe0bcf5" providerId="ADAL" clId="{3BDD3643-5F16-4C3D-BAA5-43B9C1AD5304}" dt="2022-06-07T09:11:08.069" v="45" actId="478"/>
          <ac:picMkLst>
            <pc:docMk/>
            <pc:sldMk cId="0" sldId="2147375138"/>
            <ac:picMk id="3" creationId="{60AC4DD8-9742-347D-AB54-30D8C04A8F39}"/>
          </ac:picMkLst>
        </pc:picChg>
        <pc:picChg chg="add del mod">
          <ac:chgData name="Sohail Patel" userId="4686f833-3eff-454e-830c-756bdbe0bcf5" providerId="ADAL" clId="{3BDD3643-5F16-4C3D-BAA5-43B9C1AD5304}" dt="2022-06-15T07:54:59.202" v="57" actId="478"/>
          <ac:picMkLst>
            <pc:docMk/>
            <pc:sldMk cId="0" sldId="2147375138"/>
            <ac:picMk id="5" creationId="{FD555330-84BB-43CF-63A7-F7A73199E60B}"/>
          </ac:picMkLst>
        </pc:picChg>
        <pc:picChg chg="del">
          <ac:chgData name="Sohail Patel" userId="4686f833-3eff-454e-830c-756bdbe0bcf5" providerId="ADAL" clId="{3BDD3643-5F16-4C3D-BAA5-43B9C1AD5304}" dt="2022-06-07T09:00:49.543" v="23" actId="478"/>
          <ac:picMkLst>
            <pc:docMk/>
            <pc:sldMk cId="0" sldId="2147375138"/>
            <ac:picMk id="33798" creationId="{46840413-CD01-1771-8D2B-E09B4D153089}"/>
          </ac:picMkLst>
        </pc:picChg>
      </pc:sldChg>
      <pc:sldChg chg="addSp delSp modSp add del mod">
        <pc:chgData name="Sohail Patel" userId="4686f833-3eff-454e-830c-756bdbe0bcf5" providerId="ADAL" clId="{3BDD3643-5F16-4C3D-BAA5-43B9C1AD5304}" dt="2022-06-15T07:55:49.770" v="60" actId="47"/>
        <pc:sldMkLst>
          <pc:docMk/>
          <pc:sldMk cId="2363540548" sldId="2147375139"/>
        </pc:sldMkLst>
        <pc:picChg chg="del">
          <ac:chgData name="Sohail Patel" userId="4686f833-3eff-454e-830c-756bdbe0bcf5" providerId="ADAL" clId="{3BDD3643-5F16-4C3D-BAA5-43B9C1AD5304}" dt="2022-06-07T08:56:31.129" v="9" actId="478"/>
          <ac:picMkLst>
            <pc:docMk/>
            <pc:sldMk cId="2363540548" sldId="2147375139"/>
            <ac:picMk id="3" creationId="{D3529242-2DD7-4A6A-2A30-C0AF069A78BA}"/>
          </ac:picMkLst>
        </pc:picChg>
        <pc:picChg chg="add del mod">
          <ac:chgData name="Sohail Patel" userId="4686f833-3eff-454e-830c-756bdbe0bcf5" providerId="ADAL" clId="{3BDD3643-5F16-4C3D-BAA5-43B9C1AD5304}" dt="2022-06-15T07:54:56.391" v="56" actId="478"/>
          <ac:picMkLst>
            <pc:docMk/>
            <pc:sldMk cId="2363540548" sldId="2147375139"/>
            <ac:picMk id="4" creationId="{FAE56051-7A7F-0D1C-B156-54CE28617E53}"/>
          </ac:picMkLst>
        </pc:picChg>
      </pc:sldChg>
      <pc:sldChg chg="addSp delSp modSp add del mod">
        <pc:chgData name="Sohail Patel" userId="4686f833-3eff-454e-830c-756bdbe0bcf5" providerId="ADAL" clId="{3BDD3643-5F16-4C3D-BAA5-43B9C1AD5304}" dt="2022-06-15T07:55:49.770" v="60" actId="47"/>
        <pc:sldMkLst>
          <pc:docMk/>
          <pc:sldMk cId="3358550865" sldId="2147375140"/>
        </pc:sldMkLst>
        <pc:picChg chg="add del mod">
          <ac:chgData name="Sohail Patel" userId="4686f833-3eff-454e-830c-756bdbe0bcf5" providerId="ADAL" clId="{3BDD3643-5F16-4C3D-BAA5-43B9C1AD5304}" dt="2022-06-15T07:54:54.468" v="55" actId="478"/>
          <ac:picMkLst>
            <pc:docMk/>
            <pc:sldMk cId="3358550865" sldId="2147375140"/>
            <ac:picMk id="3" creationId="{6EB8E12C-56DF-9A68-3293-6C6F0C0FD5FE}"/>
          </ac:picMkLst>
        </pc:picChg>
        <pc:picChg chg="del">
          <ac:chgData name="Sohail Patel" userId="4686f833-3eff-454e-830c-756bdbe0bcf5" providerId="ADAL" clId="{3BDD3643-5F16-4C3D-BAA5-43B9C1AD5304}" dt="2022-06-07T08:57:03.509" v="18" actId="478"/>
          <ac:picMkLst>
            <pc:docMk/>
            <pc:sldMk cId="3358550865" sldId="2147375140"/>
            <ac:picMk id="4" creationId="{FAE56051-7A7F-0D1C-B156-54CE28617E5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D5299A-2DA5-47C1-B75F-B8A501F030AF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7687E-DDBE-49C4-9677-874DF8E0055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33766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>
            <a:extLst>
              <a:ext uri="{FF2B5EF4-FFF2-40B4-BE49-F238E27FC236}">
                <a16:creationId xmlns:a16="http://schemas.microsoft.com/office/drawing/2014/main" id="{203A293A-61F8-D8FC-716D-EAF50A06AEE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>
            <a:extLst>
              <a:ext uri="{FF2B5EF4-FFF2-40B4-BE49-F238E27FC236}">
                <a16:creationId xmlns:a16="http://schemas.microsoft.com/office/drawing/2014/main" id="{1427B59A-DF21-2412-7E10-387B0E7653A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 altLang="en-US"/>
          </a:p>
        </p:txBody>
      </p:sp>
      <p:sp>
        <p:nvSpPr>
          <p:cNvPr id="28676" name="Footer Placeholder 3">
            <a:extLst>
              <a:ext uri="{FF2B5EF4-FFF2-40B4-BE49-F238E27FC236}">
                <a16:creationId xmlns:a16="http://schemas.microsoft.com/office/drawing/2014/main" id="{21E1487C-564A-CC62-1867-E41B6247C116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Quickly drawing attention on the L&amp;T-SuFin focus on the SME segment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810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56121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6B3A0-5FDA-4386-9236-7329BB6F06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9F77BA-A854-644B-27D4-F1DCF9DCA5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7836B7-021A-8BE5-BE01-DB1FB6174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803C29-C8AB-199C-8D6A-6D9ADE1E0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B471DB-3E53-B3CD-1938-0EDBA0A4D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67808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A1C97-31EA-0384-AE1E-D5EAAD103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B864C2-1F3E-F8AE-5321-4C13F3A8F4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45260-A109-2E57-4F38-92E863BAB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D0F1B-9BA4-87FD-CD7B-75ABCF202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86BF9-6480-B7F5-DF59-91E8592FE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0453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299B42-4D96-0079-DB83-2BC233EC3A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94132B-68DA-C7A5-746B-7D396D2934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FF4AB-0CD6-E616-25EF-75E8A37D4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01183C-AD00-6E14-E405-282231ACD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CD8F0D-8E23-62F3-BB48-23C0F344D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1763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BA79C8-DECE-31A0-347B-53C6A507D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9B314-A7F9-4C1E-8B5A-E20C4AE4E747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30D8F7-5F0E-F01D-E9A0-12F2F63E6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B915F9-31BF-782A-932A-5519D7BBA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6A1931-DA0B-4F3F-B3FE-4F9209669A58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44771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902F14-C0CF-33B4-8A63-0D133D6D7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74AE77-783D-4DAA-B5C0-5B5484294959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8A160-B74B-60D7-2E89-5BD731F18B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FD8697-6C09-E198-5FB1-CAFE8EFE1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E92C06-5842-490C-BED7-69CDB55C594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47306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CB8E4-35CE-258A-2D81-E3459BF20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FE471C-AC67-4034-8D06-64CC7DF71D8D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CBD9C3-8FBE-7BB7-08AF-4B1396CFE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D74AFC-9A49-AEF4-45A7-70330350A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2407C-1698-4CE0-A2CE-E79721821B4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21216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28E5136-545B-4F1D-65FC-0EE36112DD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3BE21-DD55-4D82-B201-5F3EDF9CC282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A4E8F6A-DE39-FF69-5025-81FC2AF85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33A29E-9D86-C193-72F6-265A4F029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68A9BA-3DCC-423B-B9F9-8A46E5371967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0428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05103E1-71A8-BDDF-B7B9-CD8C84E67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9F6C3-5D87-4BAB-A1F9-CFA4C8E3E9B7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B5DBCE2-5796-33A9-DB79-B9CA20452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D63EAA-40B6-3B05-9DEB-95825A039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B2BEE8-10C4-4EFA-8C26-8EF19BB981E2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111071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285F474-0F33-4E57-623D-0852B235B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6B76CD-0B43-4701-AA7B-534DC4F1A8CA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5BA6157-5EAC-F087-C0AA-E46119672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DAC57-5A63-63DF-BD9A-E521861A5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68EB66-B140-441D-ADFB-830917F5D3CA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21088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03639CC-7633-FAD2-60B2-792594AD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6E36AD-7BB4-4B1A-A3B2-9D32CD9B22BC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1301A42-ED40-2106-E634-487799890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D621DA-C67B-776E-4ADC-5BD863999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C9BCA8-7D30-41EC-8FF7-3512BACD6F42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87956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605A22F-F6F4-A9A8-4D63-8E0E11E76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BD3A9-075B-4B1B-88DF-E71A9CDDB133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A27F90-3018-EEE7-20B7-A5F70C1D84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5A7DFA-F108-6A21-BD47-48D202459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443A57-A888-4E52-9018-72446EEC2054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9438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72F2B-4F96-7F84-3860-12646CE32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58D9D7-E008-0910-9CA0-4ECDB9C725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290965-DBCA-FD00-E9A3-5D29E64CE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F841F5-CD48-4435-6529-ECFCB010D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D1CB53-FA4E-5AD4-F32D-75AC2BD2B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56726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82AB55B-2635-44DD-938D-57ED58D09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9B8C74-D471-42F2-BF38-C8429B8A9AC8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6594C7-9C84-54B2-CEC8-2DCDA55CA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5BB183A-8A1E-1916-ABDC-422362BBC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380518-C5A7-4368-A710-519638EA1240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86127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0CDBFB-9289-1454-3FCB-8336487FC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CD910B-48FA-435E-A26E-855219A82D37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F71641-D5EB-2AD7-C485-7540F1C23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30B4DF-AFDD-42C7-488C-01561D6E6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D409A-D45A-4D3F-8CF1-19A95E95D22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4517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58BFCF-C697-0090-E126-1F4102C40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5A0D7-5874-443D-A4B4-30789B83FD26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7B42E-7E52-0397-366C-6A42BAA2A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015115-0840-0A45-AFB9-DBD1420FD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7B63E7-460C-4D98-9DE5-51B86BF1D8E8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658958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DEE54-9A92-7114-1E19-F95BB8CAE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E5FD07-3D64-4505-848B-7C95C92506B2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7BAB4C-3B1B-4AD7-7660-6C905F4F9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09263E-BFF5-F2CA-5E82-1EB09676A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EFB47-11E5-4207-AC78-CEC4CC7F118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310743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9352E5-FC95-82E5-365B-F4A6039B0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E4B862-B3B0-436A-9E73-10D85C01EE43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60DE93-5B26-DD9A-0523-BCD1DBAC2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01B18C-3461-1F35-62C8-3693AE10B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21A61-DDB9-415F-9CD3-4C17BA1B5B6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702017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E1CEF-F37C-8799-B3A1-E848C6597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49C4A0-708F-4C0B-B3D4-26D6E94BC475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0AA26A-F419-4D63-2C10-9F7393969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051FC9-D281-D663-E260-8F9CC273B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DEDDB3-E8DD-4C53-9492-BDBCA273DDB9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374053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993702D-B2A8-23CC-435D-B8D60DAD3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C9808-AC47-41E9-ADD0-B16A15B9C2D6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847712-709B-7151-1C68-447FB89EB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C6F86ED-ACFD-7FCF-CCD7-83D44EC46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513510-FD0E-40F0-A998-A94E17A4E84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792750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E69550C-7233-B83D-60A2-6264D74AF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4E770-B65B-42CE-B8A8-94514EB189FC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AEBAE91-2FB0-266F-D24F-0BC7ECE0F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382E29E-5E76-1F73-4E02-95A3F5190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AF928-0C80-45B3-B0FE-EBD46EC81189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609858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D0C01D-7265-2803-E6D1-2A02EE67A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B60C19-13BB-4BC8-B128-21AD8C9DCFB4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935448C-82EA-7A2C-52CE-BAF2B7A2F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59E5C3D-7587-3C55-8ECB-3172C51D9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C29E23-F65A-430C-8053-89A26643CFAA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927680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EE6AB4A-1914-D5AB-7CA6-7D395E3329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287D20-118F-4B61-9FAD-5582857C3136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89EB505-DE04-440B-4351-FF423AAB7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6397467-FE49-FFAB-89C3-6D794BE40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B62B1-5EFB-4066-BA31-17A4E496C2A6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9413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94F15-BCB4-B49E-32B2-06A9109F3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8F8E88-07D8-EE24-764D-E8E47CDC38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21AE58-485C-8644-7E1B-86E030529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9E358-6B26-2E93-B8C1-DFC6BF128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B1E50D-E5F6-9883-65C1-A64F9B4A8E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37887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44C1A82-18F5-27F2-FF13-501288B67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2EA48E-A6B8-4A31-A949-41E245F2AB8C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E6656BB-E8EB-5FCC-6E85-83CE044F5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32AD190-CEF3-AAEB-C5BB-4D6262B2D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DE663-B0A8-4E81-84C2-1933E436523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00203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D8B90D1-2B40-1656-40BA-1A7547D21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82F7C-E4AB-4D46-80C4-095BC3D315C0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699CE7B-61CA-9ED3-E8FA-A1FEA1638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CD487DE-303F-7CD3-4BC5-46273517E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8A8491-8F4C-4E85-B6F5-194450AD6EC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7971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330E83-A6ED-ECBF-5490-EB644189A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35F60-5F03-48B7-9ADE-F234AE36FB42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2CA92B-484C-F16C-CB06-3E34A448B6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58CEE7-CF18-83F9-4E3B-A1BEC5F7A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DBD3F3-9509-4271-B02D-1561316EDCF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17116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BB8CBC-6131-8FB3-128D-E1DF945AE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870FD-B5F9-4FB2-9109-752B38A6C5CE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FF0D76-BE5E-105B-7821-B2C96C31E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C00A2-AD33-AF8D-9BCA-E607074EA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47AB6-292B-4060-B328-B0F967ECCBE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36702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22156-535E-9D90-5D19-E2B07617D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B29687-BCFD-EF0C-DFFB-4E2944780D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824546-6FFB-864E-9BD3-C757E84D0D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FCC109-5734-B78A-0898-B00650343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CAC477-D12F-5CFE-6F43-A1502E686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D1C4FE-B039-04AA-8B63-CA365B6AB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3957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CBDCF-574C-C333-BDC3-4ACFCB163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C936A-4CEE-F7C7-3263-D83C8985EE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904DE1-6A93-3D93-6F0D-0A1BCE552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1A4D6E-C4BF-4782-74FC-6ED2B84C7A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054D1D-F803-B8D1-25AE-BB19F1C85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92C140-AC12-2E37-F57B-B7E09FB98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1F7606-44D5-82FA-6F62-BE6BA37A1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DF3E23-6CED-F250-A498-34B8C9DC9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3551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3620E-A83B-7A0A-3498-7913574E1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CEEC22-318C-94D9-27BA-97A9A21AC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FB220A-CF72-96DE-9108-1139AD855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B1C202-D5CE-62CB-999A-B3EE100D7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06076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073245-C89A-418E-B014-FA031518E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0AE1F1-A574-55DC-CF0F-C11759C42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B39141-7948-5E0D-6C41-99B404F23F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37088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70763-1768-2DDE-2773-CEFD155A3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7F4DD-E0F6-2A8D-7C34-2AF37C514E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238433-6112-4062-01EE-0A4F4C30F0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55AA67-8437-D0B3-CA00-D932A3A73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C4BC01-1BA4-EA30-3022-969DB4B13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737834-5AB2-5DAB-01A5-7C52A376B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0851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22112-D5F5-E9CF-BA52-4845B9EEA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584D58-7784-4B70-2609-40A544C1433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B6E7AE-8DBD-D6EF-CE44-DEF5C67B2B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113C9C-B2E7-6E0B-D256-D4B232CA7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41E48-7B1B-9B5C-4B4A-8D38FFC864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6DFAC1-0C69-C850-E934-11E6DAEBD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11212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5EF64E-DD15-EF8E-EC25-DD84957FA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C9E75-654D-2D9A-98CA-9A26E2A34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F06140-46C2-C989-D5FB-914C16245A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E57871-CD2E-4C09-AB79-240DB1D1F108}" type="datetimeFigureOut">
              <a:rPr lang="en-IN" smtClean="0"/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3A0E58-C0EC-3416-A2F8-103B22FC8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2F4718-8CDB-2BF6-64CD-A6137CCCB2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35D34-DCCA-4398-AC3C-BF0F8F262CA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17266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>
            <a:extLst>
              <a:ext uri="{FF2B5EF4-FFF2-40B4-BE49-F238E27FC236}">
                <a16:creationId xmlns:a16="http://schemas.microsoft.com/office/drawing/2014/main" id="{70C3C735-4E9E-4396-9DA3-94528E05CEE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IN" altLang="en-US"/>
          </a:p>
        </p:txBody>
      </p:sp>
      <p:sp>
        <p:nvSpPr>
          <p:cNvPr id="3075" name="Text Placeholder 2">
            <a:extLst>
              <a:ext uri="{FF2B5EF4-FFF2-40B4-BE49-F238E27FC236}">
                <a16:creationId xmlns:a16="http://schemas.microsoft.com/office/drawing/2014/main" id="{6AC77A64-3C51-2ACC-3268-97FA0B404D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I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D8DCCB-4E82-FEB8-4361-527D131142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632C245-AAA8-461A-8661-CCBC7CE19243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E51CD0-3DC5-4494-A15B-E4BB1CD682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6956B-5366-ED10-E16E-B80FA3CEB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717C3A7-ED7C-4DDB-9450-D8922904590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pic>
        <p:nvPicPr>
          <p:cNvPr id="3079" name="Picture 6">
            <a:extLst>
              <a:ext uri="{FF2B5EF4-FFF2-40B4-BE49-F238E27FC236}">
                <a16:creationId xmlns:a16="http://schemas.microsoft.com/office/drawing/2014/main" id="{DBB70C21-6EB7-BA11-470F-88104AD956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2713"/>
            <a:ext cx="1455738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901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>
            <a:extLst>
              <a:ext uri="{FF2B5EF4-FFF2-40B4-BE49-F238E27FC236}">
                <a16:creationId xmlns:a16="http://schemas.microsoft.com/office/drawing/2014/main" id="{0BA06720-BFDF-65DF-84C4-451F5FC50B3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IN" altLang="en-US"/>
          </a:p>
        </p:txBody>
      </p:sp>
      <p:sp>
        <p:nvSpPr>
          <p:cNvPr id="4099" name="Text Placeholder 2">
            <a:extLst>
              <a:ext uri="{FF2B5EF4-FFF2-40B4-BE49-F238E27FC236}">
                <a16:creationId xmlns:a16="http://schemas.microsoft.com/office/drawing/2014/main" id="{E5668EDB-8D8B-2D01-2A43-1233AA01648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I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B52662-967C-D21D-5486-1365BA6DDF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0B279F1-9D0F-4244-9443-90011503B271}" type="datetime1">
              <a:rPr lang="en-IN"/>
              <a:pPr>
                <a:defRPr/>
              </a:pPr>
              <a:t>05-07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182B81-9EB9-773E-9581-F7D5A17975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2F265-5E97-E84E-CE46-CF3940BF6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C56ACC0-A1EB-411F-832F-08956A0F6F7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8932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5.svg"/><Relationship Id="rId3" Type="http://schemas.openxmlformats.org/officeDocument/2006/relationships/image" Target="../media/image29.svg"/><Relationship Id="rId7" Type="http://schemas.openxmlformats.org/officeDocument/2006/relationships/image" Target="../media/image31.svg"/><Relationship Id="rId12" Type="http://schemas.openxmlformats.org/officeDocument/2006/relationships/image" Target="../media/image34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11" Type="http://schemas.openxmlformats.org/officeDocument/2006/relationships/image" Target="../media/image33.svg"/><Relationship Id="rId5" Type="http://schemas.openxmlformats.org/officeDocument/2006/relationships/image" Target="../media/image30.svg"/><Relationship Id="rId10" Type="http://schemas.openxmlformats.org/officeDocument/2006/relationships/image" Target="../media/image26.png"/><Relationship Id="rId4" Type="http://schemas.openxmlformats.org/officeDocument/2006/relationships/image" Target="../media/image24.png"/><Relationship Id="rId9" Type="http://schemas.openxmlformats.org/officeDocument/2006/relationships/image" Target="../media/image3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b2bhelp@larsentoubro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18.svg"/><Relationship Id="rId7" Type="http://schemas.openxmlformats.org/officeDocument/2006/relationships/image" Target="../media/image4.jpeg"/><Relationship Id="rId12" Type="http://schemas.openxmlformats.org/officeDocument/2006/relationships/image" Target="../media/image9.svg"/><Relationship Id="rId17" Type="http://schemas.openxmlformats.org/officeDocument/2006/relationships/image" Target="../media/image14.svg"/><Relationship Id="rId2" Type="http://schemas.openxmlformats.org/officeDocument/2006/relationships/tags" Target="../tags/tag2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2.jpeg"/><Relationship Id="rId10" Type="http://schemas.openxmlformats.org/officeDocument/2006/relationships/image" Target="../media/image7.png"/><Relationship Id="rId19" Type="http://schemas.openxmlformats.org/officeDocument/2006/relationships/image" Target="../media/image1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sv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hyperlink" Target="https://lntsufin.com/buyer/#/prodCategoriesViewAll?selectedSuperCategoryId=SPC001" TargetMode="Externa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50" name="Group 9">
            <a:extLst>
              <a:ext uri="{FF2B5EF4-FFF2-40B4-BE49-F238E27FC236}">
                <a16:creationId xmlns:a16="http://schemas.microsoft.com/office/drawing/2014/main" id="{2888C859-7D0B-7166-9177-1F7EDF572FE8}"/>
              </a:ext>
            </a:extLst>
          </p:cNvPr>
          <p:cNvGrpSpPr>
            <a:grpSpLocks/>
          </p:cNvGrpSpPr>
          <p:nvPr/>
        </p:nvGrpSpPr>
        <p:grpSpPr bwMode="auto">
          <a:xfrm>
            <a:off x="-4763" y="0"/>
            <a:ext cx="12196763" cy="6858000"/>
            <a:chOff x="0" y="0"/>
            <a:chExt cx="12192000" cy="6858000"/>
          </a:xfrm>
        </p:grpSpPr>
        <p:pic>
          <p:nvPicPr>
            <p:cNvPr id="27656" name="Picture 6" descr="Graphical user interface, application, website&#10;&#10;Description automatically generated">
              <a:extLst>
                <a:ext uri="{FF2B5EF4-FFF2-40B4-BE49-F238E27FC236}">
                  <a16:creationId xmlns:a16="http://schemas.microsoft.com/office/drawing/2014/main" id="{E498C34C-39ED-1474-8FC1-AA647E552F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4B13371-A279-B414-5AEB-3355402FC341}"/>
                </a:ext>
              </a:extLst>
            </p:cNvPr>
            <p:cNvSpPr/>
            <p:nvPr/>
          </p:nvSpPr>
          <p:spPr>
            <a:xfrm>
              <a:off x="3235649" y="1068388"/>
              <a:ext cx="5711182" cy="2111375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DC9E687-7274-A876-5878-F230CFCD7A68}"/>
                </a:ext>
              </a:extLst>
            </p:cNvPr>
            <p:cNvSpPr/>
            <p:nvPr/>
          </p:nvSpPr>
          <p:spPr>
            <a:xfrm>
              <a:off x="4570216" y="3429000"/>
              <a:ext cx="3042049" cy="822325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651" name="TextBox 11">
            <a:extLst>
              <a:ext uri="{FF2B5EF4-FFF2-40B4-BE49-F238E27FC236}">
                <a16:creationId xmlns:a16="http://schemas.microsoft.com/office/drawing/2014/main" id="{AD4DA281-3DB2-333B-7DC0-7573BDD073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663" y="2135188"/>
            <a:ext cx="11072812" cy="114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Impact" panose="020B0806030902050204" pitchFamily="34" charset="0"/>
                <a:ea typeface="+mn-ea"/>
                <a:cs typeface="72 Black" panose="020B0A04030603020204" pitchFamily="34" charset="0"/>
              </a:rPr>
              <a:t>Introduction to L&amp;T-SuFin…</a:t>
            </a:r>
            <a:endParaRPr kumimoji="0" lang="id-ID" altLang="en-US" sz="72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72 Black" panose="020B0A040306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11252F-5E67-8FF3-7BC1-E385D04F784C}"/>
              </a:ext>
            </a:extLst>
          </p:cNvPr>
          <p:cNvSpPr txBox="1"/>
          <p:nvPr/>
        </p:nvSpPr>
        <p:spPr>
          <a:xfrm>
            <a:off x="220663" y="3667125"/>
            <a:ext cx="11525250" cy="769938"/>
          </a:xfrm>
          <a:prstGeom prst="rect">
            <a:avLst/>
          </a:prstGeom>
          <a:solidFill>
            <a:schemeClr val="accent3">
              <a:lumMod val="20000"/>
              <a:lumOff val="80000"/>
              <a:alpha val="44000"/>
            </a:schemeClr>
          </a:solidFill>
        </p:spPr>
        <p:txBody>
          <a:bodyPr>
            <a:spAutoFit/>
          </a:bodyPr>
          <a:lstStyle>
            <a:defPPr>
              <a:defRPr lang="en-US"/>
            </a:defPPr>
            <a:lvl1pPr algn="ctr">
              <a:defRPr sz="2400"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72 Black" panose="020B0A04030603020204" pitchFamily="34" charset="0"/>
              </a:rPr>
              <a:t>L&amp;T-SuFin is an integrated B2B marketplace for buying and selling of industrial and construction products</a:t>
            </a:r>
            <a:endParaRPr kumimoji="0" lang="en-IN" sz="2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72 Black" panose="020B0A04030603020204" pitchFamily="34" charset="0"/>
            </a:endParaRPr>
          </a:p>
        </p:txBody>
      </p:sp>
      <p:sp>
        <p:nvSpPr>
          <p:cNvPr id="27653" name="Slide Number Placeholder 2">
            <a:extLst>
              <a:ext uri="{FF2B5EF4-FFF2-40B4-BE49-F238E27FC236}">
                <a16:creationId xmlns:a16="http://schemas.microsoft.com/office/drawing/2014/main" id="{B88BBA18-38E2-D774-E2FE-C9E3021283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792794-78CB-4CEB-9C42-F74C132958A0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E004D3-5D1A-0425-8491-155EF1507CFA}"/>
              </a:ext>
            </a:extLst>
          </p:cNvPr>
          <p:cNvSpPr/>
          <p:nvPr/>
        </p:nvSpPr>
        <p:spPr>
          <a:xfrm>
            <a:off x="5776913" y="6076950"/>
            <a:ext cx="1106487" cy="746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</a:t>
            </a:r>
          </a:p>
        </p:txBody>
      </p:sp>
      <p:pic>
        <p:nvPicPr>
          <p:cNvPr id="27655" name="Picture 13">
            <a:extLst>
              <a:ext uri="{FF2B5EF4-FFF2-40B4-BE49-F238E27FC236}">
                <a16:creationId xmlns:a16="http://schemas.microsoft.com/office/drawing/2014/main" id="{C87CCCF7-A915-9552-3526-BBEB61FF3F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63" y="796925"/>
            <a:ext cx="36830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>
            <a:extLst>
              <a:ext uri="{FF2B5EF4-FFF2-40B4-BE49-F238E27FC236}">
                <a16:creationId xmlns:a16="http://schemas.microsoft.com/office/drawing/2014/main" id="{67F2BA8A-FAEA-E213-8949-D8CBDC353898}"/>
              </a:ext>
            </a:extLst>
          </p:cNvPr>
          <p:cNvSpPr/>
          <p:nvPr/>
        </p:nvSpPr>
        <p:spPr>
          <a:xfrm>
            <a:off x="-23813" y="0"/>
            <a:ext cx="1220311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6867" name="Group 55">
            <a:extLst>
              <a:ext uri="{FF2B5EF4-FFF2-40B4-BE49-F238E27FC236}">
                <a16:creationId xmlns:a16="http://schemas.microsoft.com/office/drawing/2014/main" id="{6123FFDB-C3EF-3E4E-1973-5B5938CD0427}"/>
              </a:ext>
            </a:extLst>
          </p:cNvPr>
          <p:cNvGrpSpPr>
            <a:grpSpLocks/>
          </p:cNvGrpSpPr>
          <p:nvPr/>
        </p:nvGrpSpPr>
        <p:grpSpPr bwMode="auto">
          <a:xfrm>
            <a:off x="344488" y="2173288"/>
            <a:ext cx="11426825" cy="1108075"/>
            <a:chOff x="344680" y="1840800"/>
            <a:chExt cx="11427370" cy="110756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728A05-F33A-1531-E17E-C32BC1810EFE}"/>
                </a:ext>
              </a:extLst>
            </p:cNvPr>
            <p:cNvSpPr/>
            <p:nvPr/>
          </p:nvSpPr>
          <p:spPr>
            <a:xfrm>
              <a:off x="344680" y="1978849"/>
              <a:ext cx="11427370" cy="96951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6909" name="Group 15">
              <a:extLst>
                <a:ext uri="{FF2B5EF4-FFF2-40B4-BE49-F238E27FC236}">
                  <a16:creationId xmlns:a16="http://schemas.microsoft.com/office/drawing/2014/main" id="{3CD406E3-2762-6607-302F-31D8A3ABDED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2095" y="1881507"/>
              <a:ext cx="11087322" cy="969818"/>
              <a:chOff x="4129158" y="1191491"/>
              <a:chExt cx="6197096" cy="96981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B5BD121-4D50-F509-BFA5-88675B2984C5}"/>
                  </a:ext>
                </a:extLst>
              </p:cNvPr>
              <p:cNvSpPr/>
              <p:nvPr/>
            </p:nvSpPr>
            <p:spPr>
              <a:xfrm>
                <a:off x="4895081" y="1192040"/>
                <a:ext cx="5431483" cy="96951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6915" name="Group 17">
                <a:extLst>
                  <a:ext uri="{FF2B5EF4-FFF2-40B4-BE49-F238E27FC236}">
                    <a16:creationId xmlns:a16="http://schemas.microsoft.com/office/drawing/2014/main" id="{FDDE145A-A363-78A9-5F76-5149ACCC13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9158" y="1191491"/>
                <a:ext cx="974943" cy="969818"/>
                <a:chOff x="4129158" y="1191491"/>
                <a:chExt cx="974943" cy="969818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CE5D980A-8913-4A61-151A-5E85B6A86B23}"/>
                    </a:ext>
                  </a:extLst>
                </p:cNvPr>
                <p:cNvSpPr/>
                <p:nvPr/>
              </p:nvSpPr>
              <p:spPr>
                <a:xfrm>
                  <a:off x="4129296" y="1192040"/>
                  <a:ext cx="766672" cy="969518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Isosceles Triangle 19">
                  <a:extLst>
                    <a:ext uri="{FF2B5EF4-FFF2-40B4-BE49-F238E27FC236}">
                      <a16:creationId xmlns:a16="http://schemas.microsoft.com/office/drawing/2014/main" id="{31558D00-6F43-40FC-FE2C-5C884E66BFA0}"/>
                    </a:ext>
                  </a:extLst>
                </p:cNvPr>
                <p:cNvSpPr/>
                <p:nvPr/>
              </p:nvSpPr>
              <p:spPr>
                <a:xfrm rot="5400000">
                  <a:off x="4804124" y="1537484"/>
                  <a:ext cx="322115" cy="278629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6910" name="Graphic 30" descr="Money with solid fill">
              <a:extLst>
                <a:ext uri="{FF2B5EF4-FFF2-40B4-BE49-F238E27FC236}">
                  <a16:creationId xmlns:a16="http://schemas.microsoft.com/office/drawing/2014/main" id="{91458861-2645-B997-6373-238E2281B9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857" y="2028039"/>
              <a:ext cx="746161" cy="745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6911" name="Group 36">
              <a:extLst>
                <a:ext uri="{FF2B5EF4-FFF2-40B4-BE49-F238E27FC236}">
                  <a16:creationId xmlns:a16="http://schemas.microsoft.com/office/drawing/2014/main" id="{24EE612A-DE60-1923-9C7A-59DAA122E8D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77867" y="1840800"/>
              <a:ext cx="8806524" cy="1006575"/>
              <a:chOff x="4481982" y="1145044"/>
              <a:chExt cx="4146223" cy="1006575"/>
            </a:xfrm>
          </p:grpSpPr>
          <p:sp>
            <p:nvSpPr>
              <p:cNvPr id="36912" name="TextBox 37">
                <a:extLst>
                  <a:ext uri="{FF2B5EF4-FFF2-40B4-BE49-F238E27FC236}">
                    <a16:creationId xmlns:a16="http://schemas.microsoft.com/office/drawing/2014/main" id="{96FE6433-DC19-5DFC-0DAF-0242135A981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81982" y="1145044"/>
                <a:ext cx="2937088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b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altLang="en-US" sz="2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lack" panose="020B0A04030603020204" pitchFamily="34" charset="0"/>
                    <a:ea typeface="+mn-ea"/>
                    <a:cs typeface="72 Black" panose="020B0A04030603020204" pitchFamily="34" charset="0"/>
                  </a:rPr>
                  <a:t>Working Capital Solution</a:t>
                </a:r>
                <a:endParaRPr kumimoji="0" lang="en-US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endParaRPr>
              </a:p>
            </p:txBody>
          </p:sp>
          <p:sp>
            <p:nvSpPr>
              <p:cNvPr id="36913" name="TextBox 38">
                <a:extLst>
                  <a:ext uri="{FF2B5EF4-FFF2-40B4-BE49-F238E27FC236}">
                    <a16:creationId xmlns:a16="http://schemas.microsoft.com/office/drawing/2014/main" id="{2B0D680F-E634-B9F8-2C22-706B1A7221C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81982" y="1505288"/>
                <a:ext cx="4146223" cy="6463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Unsecured Financing solutions including Overdraft, Invoice discounting, Equipment Financing, Channel Financing by multiple Lenders | Reputed Banks and NBFCs as partners</a:t>
                </a:r>
              </a:p>
            </p:txBody>
          </p:sp>
        </p:grpSp>
      </p:grpSp>
      <p:grpSp>
        <p:nvGrpSpPr>
          <p:cNvPr id="36868" name="Group 2">
            <a:extLst>
              <a:ext uri="{FF2B5EF4-FFF2-40B4-BE49-F238E27FC236}">
                <a16:creationId xmlns:a16="http://schemas.microsoft.com/office/drawing/2014/main" id="{E5F43E6D-FF79-2447-495C-291E4B3CB434}"/>
              </a:ext>
            </a:extLst>
          </p:cNvPr>
          <p:cNvGrpSpPr>
            <a:grpSpLocks/>
          </p:cNvGrpSpPr>
          <p:nvPr/>
        </p:nvGrpSpPr>
        <p:grpSpPr bwMode="auto">
          <a:xfrm>
            <a:off x="344488" y="4568825"/>
            <a:ext cx="11426825" cy="1066800"/>
            <a:chOff x="344680" y="4163404"/>
            <a:chExt cx="11427370" cy="106701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1132A97-90E2-2109-286A-9CBBCDE340D8}"/>
                </a:ext>
              </a:extLst>
            </p:cNvPr>
            <p:cNvSpPr/>
            <p:nvPr/>
          </p:nvSpPr>
          <p:spPr>
            <a:xfrm>
              <a:off x="344680" y="4260262"/>
              <a:ext cx="11427370" cy="97015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6901" name="Group 25">
              <a:extLst>
                <a:ext uri="{FF2B5EF4-FFF2-40B4-BE49-F238E27FC236}">
                  <a16:creationId xmlns:a16="http://schemas.microsoft.com/office/drawing/2014/main" id="{3EC116F9-B6C8-80D7-7331-4C37B16F45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2095" y="4163404"/>
              <a:ext cx="11087322" cy="969818"/>
              <a:chOff x="4129158" y="1191491"/>
              <a:chExt cx="6197096" cy="969818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3CEEE7E-1155-2031-008D-06BCA25924ED}"/>
                  </a:ext>
                </a:extLst>
              </p:cNvPr>
              <p:cNvSpPr/>
              <p:nvPr/>
            </p:nvSpPr>
            <p:spPr>
              <a:xfrm>
                <a:off x="4895081" y="1191491"/>
                <a:ext cx="5431483" cy="9701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6905" name="Group 27">
                <a:extLst>
                  <a:ext uri="{FF2B5EF4-FFF2-40B4-BE49-F238E27FC236}">
                    <a16:creationId xmlns:a16="http://schemas.microsoft.com/office/drawing/2014/main" id="{9E13A0B7-EAEB-BC90-5B27-3A0E5D2898B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9158" y="1191491"/>
                <a:ext cx="974943" cy="969818"/>
                <a:chOff x="4129158" y="1191491"/>
                <a:chExt cx="974943" cy="969818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ED8819CE-8AE0-88B5-769E-EC760F457B4E}"/>
                    </a:ext>
                  </a:extLst>
                </p:cNvPr>
                <p:cNvSpPr/>
                <p:nvPr/>
              </p:nvSpPr>
              <p:spPr>
                <a:xfrm>
                  <a:off x="4129296" y="1191491"/>
                  <a:ext cx="766672" cy="97016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Isosceles Triangle 29">
                  <a:extLst>
                    <a:ext uri="{FF2B5EF4-FFF2-40B4-BE49-F238E27FC236}">
                      <a16:creationId xmlns:a16="http://schemas.microsoft.com/office/drawing/2014/main" id="{1F7A8DA9-7671-11E5-2E05-9E90D237A4D8}"/>
                    </a:ext>
                  </a:extLst>
                </p:cNvPr>
                <p:cNvSpPr/>
                <p:nvPr/>
              </p:nvSpPr>
              <p:spPr>
                <a:xfrm rot="5400000">
                  <a:off x="4804017" y="1537257"/>
                  <a:ext cx="322328" cy="278629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6902" name="Graphic 32" descr="Badge Tick with solid fill">
              <a:extLst>
                <a:ext uri="{FF2B5EF4-FFF2-40B4-BE49-F238E27FC236}">
                  <a16:creationId xmlns:a16="http://schemas.microsoft.com/office/drawing/2014/main" id="{B3B2C54B-C781-0CB1-E686-A5005BF994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715" y="4218978"/>
              <a:ext cx="914444" cy="914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903" name="TextBox 41">
              <a:extLst>
                <a:ext uri="{FF2B5EF4-FFF2-40B4-BE49-F238E27FC236}">
                  <a16:creationId xmlns:a16="http://schemas.microsoft.com/office/drawing/2014/main" id="{ADE936C9-AFDC-2251-F10B-B1795CCB69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77867" y="4210947"/>
              <a:ext cx="8748255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anchor="b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rPr>
                <a:t>Verification and Trust Seals </a:t>
              </a:r>
              <a:r>
                <a:rPr kumimoji="0" lang="en-US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rPr>
                <a:t>to give confidence for dealing with unknown entities.</a:t>
              </a:r>
              <a:r>
                <a:rPr kumimoji="0" lang="en-IN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rPr>
                <a:t> </a:t>
              </a:r>
              <a:endParaRPr kumimoji="0" lang="en-US" altLang="en-US" sz="2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endParaRPr>
            </a:p>
          </p:txBody>
        </p:sp>
      </p:grpSp>
      <p:grpSp>
        <p:nvGrpSpPr>
          <p:cNvPr id="36869" name="Group 1">
            <a:extLst>
              <a:ext uri="{FF2B5EF4-FFF2-40B4-BE49-F238E27FC236}">
                <a16:creationId xmlns:a16="http://schemas.microsoft.com/office/drawing/2014/main" id="{F77F3D0B-85B4-DF7B-ACA7-D4845962C8B0}"/>
              </a:ext>
            </a:extLst>
          </p:cNvPr>
          <p:cNvGrpSpPr>
            <a:grpSpLocks/>
          </p:cNvGrpSpPr>
          <p:nvPr/>
        </p:nvGrpSpPr>
        <p:grpSpPr bwMode="auto">
          <a:xfrm>
            <a:off x="344488" y="5746750"/>
            <a:ext cx="11426825" cy="1066800"/>
            <a:chOff x="344680" y="5298791"/>
            <a:chExt cx="11427370" cy="1067017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CD2A758-F1DB-78CE-5D66-32DC0256F580}"/>
                </a:ext>
              </a:extLst>
            </p:cNvPr>
            <p:cNvSpPr/>
            <p:nvPr/>
          </p:nvSpPr>
          <p:spPr>
            <a:xfrm>
              <a:off x="344680" y="5395649"/>
              <a:ext cx="11427370" cy="97015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6893" name="Group 44">
              <a:extLst>
                <a:ext uri="{FF2B5EF4-FFF2-40B4-BE49-F238E27FC236}">
                  <a16:creationId xmlns:a16="http://schemas.microsoft.com/office/drawing/2014/main" id="{E63EDDD8-ABFA-D29C-D44E-B8B06AF6DC3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2095" y="5298791"/>
              <a:ext cx="11087322" cy="969818"/>
              <a:chOff x="4129158" y="1191491"/>
              <a:chExt cx="6197096" cy="969818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A41754AF-AAA4-D197-288A-6FB31DF227D7}"/>
                  </a:ext>
                </a:extLst>
              </p:cNvPr>
              <p:cNvSpPr/>
              <p:nvPr/>
            </p:nvSpPr>
            <p:spPr>
              <a:xfrm>
                <a:off x="4895081" y="1191491"/>
                <a:ext cx="5431483" cy="9701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6897" name="Group 46">
                <a:extLst>
                  <a:ext uri="{FF2B5EF4-FFF2-40B4-BE49-F238E27FC236}">
                    <a16:creationId xmlns:a16="http://schemas.microsoft.com/office/drawing/2014/main" id="{8477052C-3410-31AC-26DC-B348524B3B5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9158" y="1191491"/>
                <a:ext cx="974943" cy="969818"/>
                <a:chOff x="4129158" y="1191491"/>
                <a:chExt cx="974943" cy="969818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0C62F10A-B74C-04E8-ADEC-9201DE8A5F47}"/>
                    </a:ext>
                  </a:extLst>
                </p:cNvPr>
                <p:cNvSpPr/>
                <p:nvPr/>
              </p:nvSpPr>
              <p:spPr>
                <a:xfrm>
                  <a:off x="4129296" y="1191491"/>
                  <a:ext cx="766672" cy="970160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Isosceles Triangle 48">
                  <a:extLst>
                    <a:ext uri="{FF2B5EF4-FFF2-40B4-BE49-F238E27FC236}">
                      <a16:creationId xmlns:a16="http://schemas.microsoft.com/office/drawing/2014/main" id="{0120B8CF-9970-C956-267F-3D534D15A3D8}"/>
                    </a:ext>
                  </a:extLst>
                </p:cNvPr>
                <p:cNvSpPr/>
                <p:nvPr/>
              </p:nvSpPr>
              <p:spPr>
                <a:xfrm rot="5400000">
                  <a:off x="4804017" y="1537257"/>
                  <a:ext cx="322328" cy="278629"/>
                </a:xfrm>
                <a:prstGeom prst="triangl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6894" name="Graphic 49" descr="Delivery with solid fill">
              <a:extLst>
                <a:ext uri="{FF2B5EF4-FFF2-40B4-BE49-F238E27FC236}">
                  <a16:creationId xmlns:a16="http://schemas.microsoft.com/office/drawing/2014/main" id="{3D706D5D-8EB4-A33F-31E8-19DD9EE64E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715" y="5344838"/>
              <a:ext cx="914444" cy="914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895" name="TextBox 50">
              <a:extLst>
                <a:ext uri="{FF2B5EF4-FFF2-40B4-BE49-F238E27FC236}">
                  <a16:creationId xmlns:a16="http://schemas.microsoft.com/office/drawing/2014/main" id="{6B0C309A-C6D7-9D21-42C2-ADF127096E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77867" y="5341968"/>
              <a:ext cx="8975786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anchor="b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rPr>
                <a:t>Logistics and Payment Gateway Services for order fulfilment and convenience</a:t>
              </a:r>
            </a:p>
          </p:txBody>
        </p:sp>
      </p:grpSp>
      <p:grpSp>
        <p:nvGrpSpPr>
          <p:cNvPr id="36870" name="Group 56">
            <a:extLst>
              <a:ext uri="{FF2B5EF4-FFF2-40B4-BE49-F238E27FC236}">
                <a16:creationId xmlns:a16="http://schemas.microsoft.com/office/drawing/2014/main" id="{D9E89A97-0B4F-68C5-6C2E-2CC7D13AA349}"/>
              </a:ext>
            </a:extLst>
          </p:cNvPr>
          <p:cNvGrpSpPr>
            <a:grpSpLocks/>
          </p:cNvGrpSpPr>
          <p:nvPr/>
        </p:nvGrpSpPr>
        <p:grpSpPr bwMode="auto">
          <a:xfrm>
            <a:off x="344488" y="996950"/>
            <a:ext cx="11426825" cy="1066800"/>
            <a:chOff x="344680" y="761660"/>
            <a:chExt cx="11427370" cy="106678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664D528-DEA2-8871-6B3E-791E325D56B8}"/>
                </a:ext>
              </a:extLst>
            </p:cNvPr>
            <p:cNvSpPr/>
            <p:nvPr/>
          </p:nvSpPr>
          <p:spPr>
            <a:xfrm>
              <a:off x="344680" y="858497"/>
              <a:ext cx="11427370" cy="96994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6883" name="Group 10">
              <a:extLst>
                <a:ext uri="{FF2B5EF4-FFF2-40B4-BE49-F238E27FC236}">
                  <a16:creationId xmlns:a16="http://schemas.microsoft.com/office/drawing/2014/main" id="{3BC00251-00EA-4814-0B64-5CCE5F8896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2095" y="761660"/>
              <a:ext cx="11087322" cy="969818"/>
              <a:chOff x="4129158" y="1191491"/>
              <a:chExt cx="6197096" cy="969818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C7B7AA78-CB49-0DB2-DEB8-23F4449478BA}"/>
                  </a:ext>
                </a:extLst>
              </p:cNvPr>
              <p:cNvSpPr/>
              <p:nvPr/>
            </p:nvSpPr>
            <p:spPr>
              <a:xfrm>
                <a:off x="4895081" y="1191491"/>
                <a:ext cx="5431483" cy="9699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6889" name="Group 12">
                <a:extLst>
                  <a:ext uri="{FF2B5EF4-FFF2-40B4-BE49-F238E27FC236}">
                    <a16:creationId xmlns:a16="http://schemas.microsoft.com/office/drawing/2014/main" id="{A0C89DC1-5446-8927-DE2B-E66FF72D3D4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9158" y="1191491"/>
                <a:ext cx="974943" cy="969818"/>
                <a:chOff x="4129158" y="1191491"/>
                <a:chExt cx="974943" cy="969818"/>
              </a:xfrm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8748DA0B-5E17-37FA-8B70-D1F0C8FEDE52}"/>
                    </a:ext>
                  </a:extLst>
                </p:cNvPr>
                <p:cNvSpPr/>
                <p:nvPr/>
              </p:nvSpPr>
              <p:spPr>
                <a:xfrm>
                  <a:off x="4129296" y="1191491"/>
                  <a:ext cx="766672" cy="96994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Isosceles Triangle 14">
                  <a:extLst>
                    <a:ext uri="{FF2B5EF4-FFF2-40B4-BE49-F238E27FC236}">
                      <a16:creationId xmlns:a16="http://schemas.microsoft.com/office/drawing/2014/main" id="{77276C0F-FA4A-95F9-B702-5F93F0402BE6}"/>
                    </a:ext>
                  </a:extLst>
                </p:cNvPr>
                <p:cNvSpPr/>
                <p:nvPr/>
              </p:nvSpPr>
              <p:spPr>
                <a:xfrm rot="5400000">
                  <a:off x="4804052" y="1537151"/>
                  <a:ext cx="322258" cy="278629"/>
                </a:xfrm>
                <a:prstGeom prst="triangl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6884" name="Group 33">
              <a:extLst>
                <a:ext uri="{FF2B5EF4-FFF2-40B4-BE49-F238E27FC236}">
                  <a16:creationId xmlns:a16="http://schemas.microsoft.com/office/drawing/2014/main" id="{E62FBD93-4174-F9A3-02C4-3E95BBFD8A1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77867" y="795011"/>
              <a:ext cx="8806524" cy="823812"/>
              <a:chOff x="4481982" y="1225254"/>
              <a:chExt cx="4146223" cy="823812"/>
            </a:xfrm>
          </p:grpSpPr>
          <p:sp>
            <p:nvSpPr>
              <p:cNvPr id="36886" name="TextBox 34">
                <a:extLst>
                  <a:ext uri="{FF2B5EF4-FFF2-40B4-BE49-F238E27FC236}">
                    <a16:creationId xmlns:a16="http://schemas.microsoft.com/office/drawing/2014/main" id="{C06B9553-849B-8BBC-45C4-5FD918980FB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81982" y="1225254"/>
                <a:ext cx="2937088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b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2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72 Black" panose="020B0A04030603020204" pitchFamily="34" charset="0"/>
                    <a:ea typeface="+mn-ea"/>
                    <a:cs typeface="72 Black" panose="020B0A04030603020204" pitchFamily="34" charset="0"/>
                  </a:rPr>
                  <a:t>Request for Quotation (RFQ) </a:t>
                </a:r>
              </a:p>
            </p:txBody>
          </p:sp>
          <p:sp>
            <p:nvSpPr>
              <p:cNvPr id="36887" name="TextBox 35">
                <a:extLst>
                  <a:ext uri="{FF2B5EF4-FFF2-40B4-BE49-F238E27FC236}">
                    <a16:creationId xmlns:a16="http://schemas.microsoft.com/office/drawing/2014/main" id="{7C703C34-38D3-ABB6-61B4-E5894A98705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81982" y="1679734"/>
                <a:ext cx="4146223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rPr>
                  <a:t>RFQ for 200 product at a time on both credit &amp; immediate payment terms</a:t>
                </a:r>
              </a:p>
            </p:txBody>
          </p:sp>
        </p:grpSp>
        <p:pic>
          <p:nvPicPr>
            <p:cNvPr id="36885" name="Graphic 51" descr="Handshake">
              <a:extLst>
                <a:ext uri="{FF2B5EF4-FFF2-40B4-BE49-F238E27FC236}">
                  <a16:creationId xmlns:a16="http://schemas.microsoft.com/office/drawing/2014/main" id="{A524A08C-EC98-DEA1-03FB-FB5EEC8F68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625" y="780710"/>
              <a:ext cx="1030336" cy="1028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6871" name="Group 3">
            <a:extLst>
              <a:ext uri="{FF2B5EF4-FFF2-40B4-BE49-F238E27FC236}">
                <a16:creationId xmlns:a16="http://schemas.microsoft.com/office/drawing/2014/main" id="{F084163D-FA7C-46F9-DFFD-95B3484BBCC6}"/>
              </a:ext>
            </a:extLst>
          </p:cNvPr>
          <p:cNvGrpSpPr>
            <a:grpSpLocks/>
          </p:cNvGrpSpPr>
          <p:nvPr/>
        </p:nvGrpSpPr>
        <p:grpSpPr bwMode="auto">
          <a:xfrm>
            <a:off x="344488" y="3392488"/>
            <a:ext cx="11426825" cy="1066800"/>
            <a:chOff x="344680" y="3015422"/>
            <a:chExt cx="11427370" cy="106693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9F311AB-CD22-41AC-31E7-BBFEA78F0B2D}"/>
                </a:ext>
              </a:extLst>
            </p:cNvPr>
            <p:cNvSpPr/>
            <p:nvPr/>
          </p:nvSpPr>
          <p:spPr>
            <a:xfrm>
              <a:off x="344680" y="3112272"/>
              <a:ext cx="11427370" cy="9700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6875" name="Group 20">
              <a:extLst>
                <a:ext uri="{FF2B5EF4-FFF2-40B4-BE49-F238E27FC236}">
                  <a16:creationId xmlns:a16="http://schemas.microsoft.com/office/drawing/2014/main" id="{6D89B977-CA2E-B8C7-48C2-00C99012AA3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2095" y="3015422"/>
              <a:ext cx="11087322" cy="969818"/>
              <a:chOff x="4129158" y="1191491"/>
              <a:chExt cx="6197096" cy="96981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B820776A-6B82-0677-C7F8-A43E689AEEEC}"/>
                  </a:ext>
                </a:extLst>
              </p:cNvPr>
              <p:cNvSpPr/>
              <p:nvPr/>
            </p:nvSpPr>
            <p:spPr>
              <a:xfrm>
                <a:off x="4895081" y="1191491"/>
                <a:ext cx="5431483" cy="97008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6879" name="Group 22">
                <a:extLst>
                  <a:ext uri="{FF2B5EF4-FFF2-40B4-BE49-F238E27FC236}">
                    <a16:creationId xmlns:a16="http://schemas.microsoft.com/office/drawing/2014/main" id="{C6CC360B-9724-A9EE-3B46-9D3820B7AF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29158" y="1191491"/>
                <a:ext cx="974943" cy="969818"/>
                <a:chOff x="4129158" y="1191491"/>
                <a:chExt cx="974943" cy="969818"/>
              </a:xfrm>
            </p:grpSpPr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EAD9CAF8-BFF3-E3C7-CFA6-DA19217822B5}"/>
                    </a:ext>
                  </a:extLst>
                </p:cNvPr>
                <p:cNvSpPr/>
                <p:nvPr/>
              </p:nvSpPr>
              <p:spPr>
                <a:xfrm>
                  <a:off x="4129296" y="1191491"/>
                  <a:ext cx="766672" cy="970087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Isosceles Triangle 24">
                  <a:extLst>
                    <a:ext uri="{FF2B5EF4-FFF2-40B4-BE49-F238E27FC236}">
                      <a16:creationId xmlns:a16="http://schemas.microsoft.com/office/drawing/2014/main" id="{7168BB61-61B0-99DA-AA6B-EED31A89D452}"/>
                    </a:ext>
                  </a:extLst>
                </p:cNvPr>
                <p:cNvSpPr/>
                <p:nvPr/>
              </p:nvSpPr>
              <p:spPr>
                <a:xfrm rot="5400000">
                  <a:off x="4804030" y="1537220"/>
                  <a:ext cx="322304" cy="278629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6876" name="Graphic 31" descr="Boardroom with solid fill">
              <a:extLst>
                <a:ext uri="{FF2B5EF4-FFF2-40B4-BE49-F238E27FC236}">
                  <a16:creationId xmlns:a16="http://schemas.microsoft.com/office/drawing/2014/main" id="{47564703-523F-9F2B-8ABF-82A3EDD68F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715" y="3072579"/>
              <a:ext cx="914444" cy="914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877" name="TextBox 39">
              <a:extLst>
                <a:ext uri="{FF2B5EF4-FFF2-40B4-BE49-F238E27FC236}">
                  <a16:creationId xmlns:a16="http://schemas.microsoft.com/office/drawing/2014/main" id="{3B80297F-878F-1C4F-8CFB-72BE66627A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77867" y="3276333"/>
              <a:ext cx="8806524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anchor="b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72 Black" panose="020B0A04030603020204" pitchFamily="34" charset="0"/>
                  <a:ea typeface="+mn-ea"/>
                  <a:cs typeface="72 Black" panose="020B0A04030603020204" pitchFamily="34" charset="0"/>
                </a:rPr>
                <a:t>Distributor Financing &amp; Digital Channels for OEMs</a:t>
              </a:r>
            </a:p>
          </p:txBody>
        </p:sp>
      </p:grpSp>
      <p:sp>
        <p:nvSpPr>
          <p:cNvPr id="36872" name="Title 1">
            <a:extLst>
              <a:ext uri="{FF2B5EF4-FFF2-40B4-BE49-F238E27FC236}">
                <a16:creationId xmlns:a16="http://schemas.microsoft.com/office/drawing/2014/main" id="{F3732850-0AE7-12C2-0F3B-0CDDFD2E4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04788"/>
            <a:ext cx="121793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Key Value Proposition for the Users</a:t>
            </a:r>
          </a:p>
        </p:txBody>
      </p:sp>
      <p:sp>
        <p:nvSpPr>
          <p:cNvPr id="36873" name="Slide Number Placeholder 2">
            <a:extLst>
              <a:ext uri="{FF2B5EF4-FFF2-40B4-BE49-F238E27FC236}">
                <a16:creationId xmlns:a16="http://schemas.microsoft.com/office/drawing/2014/main" id="{6BC8F8AA-4400-1710-8C06-9BA834E25A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D2C1C8-DDE5-4E13-9EBF-9FC6842E71DC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5">
            <a:extLst>
              <a:ext uri="{FF2B5EF4-FFF2-40B4-BE49-F238E27FC236}">
                <a16:creationId xmlns:a16="http://schemas.microsoft.com/office/drawing/2014/main" id="{BF1A7B57-B03F-42B1-917F-0F2AE4C55A81}"/>
              </a:ext>
            </a:extLst>
          </p:cNvPr>
          <p:cNvSpPr/>
          <p:nvPr/>
        </p:nvSpPr>
        <p:spPr>
          <a:xfrm>
            <a:off x="-23246" y="0"/>
            <a:ext cx="1220199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0CE1156-B987-4FCD-8910-CB75EC5115AF}"/>
              </a:ext>
            </a:extLst>
          </p:cNvPr>
          <p:cNvSpPr txBox="1"/>
          <p:nvPr/>
        </p:nvSpPr>
        <p:spPr>
          <a:xfrm>
            <a:off x="8037935" y="528572"/>
            <a:ext cx="3744477" cy="461665"/>
          </a:xfrm>
          <a:prstGeom prst="rect">
            <a:avLst/>
          </a:prstGeom>
          <a:solidFill>
            <a:srgbClr val="4472C4"/>
          </a:solidFill>
        </p:spPr>
        <p:txBody>
          <a:bodyPr wrap="square" l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Verification and Trust Seals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7917A8B-B2A6-4C95-952C-0752EC34EAD7}"/>
              </a:ext>
            </a:extLst>
          </p:cNvPr>
          <p:cNvSpPr txBox="1"/>
          <p:nvPr/>
        </p:nvSpPr>
        <p:spPr>
          <a:xfrm>
            <a:off x="8853262" y="2738813"/>
            <a:ext cx="2600134" cy="461665"/>
          </a:xfrm>
          <a:prstGeom prst="rect">
            <a:avLst/>
          </a:prstGeom>
          <a:solidFill>
            <a:srgbClr val="ED7D31"/>
          </a:solidFill>
        </p:spPr>
        <p:txBody>
          <a:bodyPr wrap="square" l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Logistic Service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E74C482-38DA-406C-8672-C83524E38E4B}"/>
              </a:ext>
            </a:extLst>
          </p:cNvPr>
          <p:cNvSpPr txBox="1"/>
          <p:nvPr/>
        </p:nvSpPr>
        <p:spPr>
          <a:xfrm>
            <a:off x="7284148" y="5175939"/>
            <a:ext cx="4746686" cy="461665"/>
          </a:xfrm>
          <a:prstGeom prst="rect">
            <a:avLst/>
          </a:prstGeom>
          <a:solidFill>
            <a:srgbClr val="A5A5A5"/>
          </a:solidFill>
        </p:spPr>
        <p:txBody>
          <a:bodyPr wrap="square" l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End to End Transaction Enablement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B3144FA-0C86-442A-8AF0-B6B0C1A031B5}"/>
              </a:ext>
            </a:extLst>
          </p:cNvPr>
          <p:cNvSpPr txBox="1"/>
          <p:nvPr/>
        </p:nvSpPr>
        <p:spPr>
          <a:xfrm>
            <a:off x="934349" y="637268"/>
            <a:ext cx="4239041" cy="461665"/>
          </a:xfrm>
          <a:prstGeom prst="rect">
            <a:avLst/>
          </a:prstGeom>
          <a:solidFill>
            <a:srgbClr val="44546A"/>
          </a:solidFill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Request for Quotation (RFQ) 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E2F3E1A-48D6-4982-A98F-EB74DC130438}"/>
              </a:ext>
            </a:extLst>
          </p:cNvPr>
          <p:cNvSpPr txBox="1"/>
          <p:nvPr/>
        </p:nvSpPr>
        <p:spPr>
          <a:xfrm>
            <a:off x="208166" y="2871759"/>
            <a:ext cx="3429863" cy="461665"/>
          </a:xfrm>
          <a:prstGeom prst="rect">
            <a:avLst/>
          </a:prstGeom>
          <a:solidFill>
            <a:srgbClr val="5B9BD5"/>
          </a:solidFill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Working Capital Solution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43572A1-42F5-4612-B1EB-C3F38345553C}"/>
              </a:ext>
            </a:extLst>
          </p:cNvPr>
          <p:cNvSpPr txBox="1"/>
          <p:nvPr/>
        </p:nvSpPr>
        <p:spPr>
          <a:xfrm>
            <a:off x="1311814" y="4963183"/>
            <a:ext cx="3322277" cy="830997"/>
          </a:xfrm>
          <a:prstGeom prst="rect">
            <a:avLst/>
          </a:prstGeom>
          <a:solidFill>
            <a:srgbClr val="FFC000"/>
          </a:solidFill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Supply-chain Financing &amp; Digital Channel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79789CD-A427-406B-921A-4068B33A6524}"/>
              </a:ext>
            </a:extLst>
          </p:cNvPr>
          <p:cNvSpPr txBox="1"/>
          <p:nvPr/>
        </p:nvSpPr>
        <p:spPr>
          <a:xfrm>
            <a:off x="-14068" y="54670"/>
            <a:ext cx="12206068" cy="528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latin typeface="72 Condensed" panose="020B0506030000000003" pitchFamily="34" charset="0"/>
                <a:ea typeface="+mj-ea"/>
                <a:cs typeface="72 Condensed" panose="020B0506030000000003" pitchFamily="34" charset="0"/>
              </a:defRPr>
            </a:lvl1pPr>
          </a:lstStyle>
          <a:p>
            <a:r>
              <a:rPr lang="en-US" dirty="0"/>
              <a:t>Value Proposition to Platform Users</a:t>
            </a:r>
            <a:endParaRPr lang="id-ID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5B6AFF1-07B9-4C78-8281-692D6398F566}"/>
              </a:ext>
            </a:extLst>
          </p:cNvPr>
          <p:cNvGrpSpPr/>
          <p:nvPr/>
        </p:nvGrpSpPr>
        <p:grpSpPr>
          <a:xfrm>
            <a:off x="3855630" y="1436560"/>
            <a:ext cx="4480741" cy="3984880"/>
            <a:chOff x="3688898" y="1171736"/>
            <a:chExt cx="4813031" cy="4773146"/>
          </a:xfrm>
        </p:grpSpPr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0A0B9B0F-4B06-44B6-A50A-E74501B82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845" y="1171736"/>
              <a:ext cx="1827614" cy="1642272"/>
            </a:xfrm>
            <a:custGeom>
              <a:avLst/>
              <a:gdLst>
                <a:gd name="T0" fmla="*/ 4015 w 7789"/>
                <a:gd name="T1" fmla="*/ 7003 h 7004"/>
                <a:gd name="T2" fmla="*/ 3759 w 7789"/>
                <a:gd name="T3" fmla="*/ 6966 h 7004"/>
                <a:gd name="T4" fmla="*/ 3514 w 7789"/>
                <a:gd name="T5" fmla="*/ 6882 h 7004"/>
                <a:gd name="T6" fmla="*/ 3287 w 7789"/>
                <a:gd name="T7" fmla="*/ 6752 h 7004"/>
                <a:gd name="T8" fmla="*/ 3135 w 7789"/>
                <a:gd name="T9" fmla="*/ 6624 h 7004"/>
                <a:gd name="T10" fmla="*/ 2784 w 7789"/>
                <a:gd name="T11" fmla="*/ 6312 h 7004"/>
                <a:gd name="T12" fmla="*/ 2274 w 7789"/>
                <a:gd name="T13" fmla="*/ 5951 h 7004"/>
                <a:gd name="T14" fmla="*/ 1725 w 7789"/>
                <a:gd name="T15" fmla="*/ 5655 h 7004"/>
                <a:gd name="T16" fmla="*/ 1144 w 7789"/>
                <a:gd name="T17" fmla="*/ 5429 h 7004"/>
                <a:gd name="T18" fmla="*/ 940 w 7789"/>
                <a:gd name="T19" fmla="*/ 5368 h 7004"/>
                <a:gd name="T20" fmla="*/ 734 w 7789"/>
                <a:gd name="T21" fmla="*/ 5280 h 7004"/>
                <a:gd name="T22" fmla="*/ 548 w 7789"/>
                <a:gd name="T23" fmla="*/ 5163 h 7004"/>
                <a:gd name="T24" fmla="*/ 384 w 7789"/>
                <a:gd name="T25" fmla="*/ 5017 h 7004"/>
                <a:gd name="T26" fmla="*/ 246 w 7789"/>
                <a:gd name="T27" fmla="*/ 4848 h 7004"/>
                <a:gd name="T28" fmla="*/ 135 w 7789"/>
                <a:gd name="T29" fmla="*/ 4660 h 7004"/>
                <a:gd name="T30" fmla="*/ 57 w 7789"/>
                <a:gd name="T31" fmla="*/ 4456 h 7004"/>
                <a:gd name="T32" fmla="*/ 11 w 7789"/>
                <a:gd name="T33" fmla="*/ 4239 h 7004"/>
                <a:gd name="T34" fmla="*/ 0 w 7789"/>
                <a:gd name="T35" fmla="*/ 4071 h 7004"/>
                <a:gd name="T36" fmla="*/ 3 w 7789"/>
                <a:gd name="T37" fmla="*/ 1289 h 7004"/>
                <a:gd name="T38" fmla="*/ 52 w 7789"/>
                <a:gd name="T39" fmla="*/ 991 h 7004"/>
                <a:gd name="T40" fmla="*/ 165 w 7789"/>
                <a:gd name="T41" fmla="*/ 716 h 7004"/>
                <a:gd name="T42" fmla="*/ 335 w 7789"/>
                <a:gd name="T43" fmla="*/ 470 h 7004"/>
                <a:gd name="T44" fmla="*/ 498 w 7789"/>
                <a:gd name="T45" fmla="*/ 311 h 7004"/>
                <a:gd name="T46" fmla="*/ 686 w 7789"/>
                <a:gd name="T47" fmla="*/ 181 h 7004"/>
                <a:gd name="T48" fmla="*/ 961 w 7789"/>
                <a:gd name="T49" fmla="*/ 61 h 7004"/>
                <a:gd name="T50" fmla="*/ 1253 w 7789"/>
                <a:gd name="T51" fmla="*/ 4 h 7004"/>
                <a:gd name="T52" fmla="*/ 1556 w 7789"/>
                <a:gd name="T53" fmla="*/ 13 h 7004"/>
                <a:gd name="T54" fmla="*/ 1843 w 7789"/>
                <a:gd name="T55" fmla="*/ 69 h 7004"/>
                <a:gd name="T56" fmla="*/ 2678 w 7789"/>
                <a:gd name="T57" fmla="*/ 289 h 7004"/>
                <a:gd name="T58" fmla="*/ 3489 w 7789"/>
                <a:gd name="T59" fmla="*/ 577 h 7004"/>
                <a:gd name="T60" fmla="*/ 4275 w 7789"/>
                <a:gd name="T61" fmla="*/ 931 h 7004"/>
                <a:gd name="T62" fmla="*/ 4846 w 7789"/>
                <a:gd name="T63" fmla="*/ 1241 h 7004"/>
                <a:gd name="T64" fmla="*/ 5387 w 7789"/>
                <a:gd name="T65" fmla="*/ 1577 h 7004"/>
                <a:gd name="T66" fmla="*/ 6070 w 7789"/>
                <a:gd name="T67" fmla="*/ 2075 h 7004"/>
                <a:gd name="T68" fmla="*/ 6712 w 7789"/>
                <a:gd name="T69" fmla="*/ 2625 h 7004"/>
                <a:gd name="T70" fmla="*/ 7309 w 7789"/>
                <a:gd name="T71" fmla="*/ 3229 h 7004"/>
                <a:gd name="T72" fmla="*/ 7499 w 7789"/>
                <a:gd name="T73" fmla="*/ 3446 h 7004"/>
                <a:gd name="T74" fmla="*/ 7658 w 7789"/>
                <a:gd name="T75" fmla="*/ 3702 h 7004"/>
                <a:gd name="T76" fmla="*/ 7755 w 7789"/>
                <a:gd name="T77" fmla="*/ 3984 h 7004"/>
                <a:gd name="T78" fmla="*/ 7789 w 7789"/>
                <a:gd name="T79" fmla="*/ 4281 h 7004"/>
                <a:gd name="T80" fmla="*/ 7770 w 7789"/>
                <a:gd name="T81" fmla="*/ 4508 h 7004"/>
                <a:gd name="T82" fmla="*/ 7714 w 7789"/>
                <a:gd name="T83" fmla="*/ 4731 h 7004"/>
                <a:gd name="T84" fmla="*/ 7587 w 7789"/>
                <a:gd name="T85" fmla="*/ 5002 h 7004"/>
                <a:gd name="T86" fmla="*/ 7403 w 7789"/>
                <a:gd name="T87" fmla="*/ 5237 h 7004"/>
                <a:gd name="T88" fmla="*/ 7171 w 7789"/>
                <a:gd name="T89" fmla="*/ 5429 h 7004"/>
                <a:gd name="T90" fmla="*/ 4765 w 7789"/>
                <a:gd name="T91" fmla="*/ 6820 h 7004"/>
                <a:gd name="T92" fmla="*/ 4643 w 7789"/>
                <a:gd name="T93" fmla="*/ 6883 h 7004"/>
                <a:gd name="T94" fmla="*/ 4473 w 7789"/>
                <a:gd name="T95" fmla="*/ 6946 h 7004"/>
                <a:gd name="T96" fmla="*/ 4299 w 7789"/>
                <a:gd name="T97" fmla="*/ 6986 h 7004"/>
                <a:gd name="T98" fmla="*/ 4123 w 7789"/>
                <a:gd name="T99" fmla="*/ 7003 h 7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89" h="7004">
                  <a:moveTo>
                    <a:pt x="4080" y="7004"/>
                  </a:moveTo>
                  <a:lnTo>
                    <a:pt x="4015" y="7003"/>
                  </a:lnTo>
                  <a:lnTo>
                    <a:pt x="3885" y="6990"/>
                  </a:lnTo>
                  <a:lnTo>
                    <a:pt x="3759" y="6966"/>
                  </a:lnTo>
                  <a:lnTo>
                    <a:pt x="3635" y="6931"/>
                  </a:lnTo>
                  <a:lnTo>
                    <a:pt x="3514" y="6882"/>
                  </a:lnTo>
                  <a:lnTo>
                    <a:pt x="3398" y="6823"/>
                  </a:lnTo>
                  <a:lnTo>
                    <a:pt x="3287" y="6752"/>
                  </a:lnTo>
                  <a:lnTo>
                    <a:pt x="3183" y="6669"/>
                  </a:lnTo>
                  <a:lnTo>
                    <a:pt x="3135" y="6624"/>
                  </a:lnTo>
                  <a:lnTo>
                    <a:pt x="3021" y="6516"/>
                  </a:lnTo>
                  <a:lnTo>
                    <a:pt x="2784" y="6312"/>
                  </a:lnTo>
                  <a:lnTo>
                    <a:pt x="2534" y="6124"/>
                  </a:lnTo>
                  <a:lnTo>
                    <a:pt x="2274" y="5951"/>
                  </a:lnTo>
                  <a:lnTo>
                    <a:pt x="2004" y="5794"/>
                  </a:lnTo>
                  <a:lnTo>
                    <a:pt x="1725" y="5655"/>
                  </a:lnTo>
                  <a:lnTo>
                    <a:pt x="1438" y="5533"/>
                  </a:lnTo>
                  <a:lnTo>
                    <a:pt x="1144" y="5429"/>
                  </a:lnTo>
                  <a:lnTo>
                    <a:pt x="995" y="5384"/>
                  </a:lnTo>
                  <a:lnTo>
                    <a:pt x="940" y="5368"/>
                  </a:lnTo>
                  <a:lnTo>
                    <a:pt x="835" y="5328"/>
                  </a:lnTo>
                  <a:lnTo>
                    <a:pt x="734" y="5280"/>
                  </a:lnTo>
                  <a:lnTo>
                    <a:pt x="639" y="5225"/>
                  </a:lnTo>
                  <a:lnTo>
                    <a:pt x="548" y="5163"/>
                  </a:lnTo>
                  <a:lnTo>
                    <a:pt x="463" y="5092"/>
                  </a:lnTo>
                  <a:lnTo>
                    <a:pt x="384" y="5017"/>
                  </a:lnTo>
                  <a:lnTo>
                    <a:pt x="311" y="4936"/>
                  </a:lnTo>
                  <a:lnTo>
                    <a:pt x="246" y="4848"/>
                  </a:lnTo>
                  <a:lnTo>
                    <a:pt x="187" y="4756"/>
                  </a:lnTo>
                  <a:lnTo>
                    <a:pt x="135" y="4660"/>
                  </a:lnTo>
                  <a:lnTo>
                    <a:pt x="92" y="4560"/>
                  </a:lnTo>
                  <a:lnTo>
                    <a:pt x="57" y="4456"/>
                  </a:lnTo>
                  <a:lnTo>
                    <a:pt x="30" y="4349"/>
                  </a:lnTo>
                  <a:lnTo>
                    <a:pt x="11" y="4239"/>
                  </a:lnTo>
                  <a:lnTo>
                    <a:pt x="2" y="4128"/>
                  </a:lnTo>
                  <a:lnTo>
                    <a:pt x="0" y="4071"/>
                  </a:lnTo>
                  <a:lnTo>
                    <a:pt x="0" y="1366"/>
                  </a:lnTo>
                  <a:lnTo>
                    <a:pt x="3" y="1289"/>
                  </a:lnTo>
                  <a:lnTo>
                    <a:pt x="19" y="1138"/>
                  </a:lnTo>
                  <a:lnTo>
                    <a:pt x="52" y="991"/>
                  </a:lnTo>
                  <a:lnTo>
                    <a:pt x="101" y="851"/>
                  </a:lnTo>
                  <a:lnTo>
                    <a:pt x="165" y="716"/>
                  </a:lnTo>
                  <a:lnTo>
                    <a:pt x="242" y="588"/>
                  </a:lnTo>
                  <a:lnTo>
                    <a:pt x="335" y="470"/>
                  </a:lnTo>
                  <a:lnTo>
                    <a:pt x="441" y="361"/>
                  </a:lnTo>
                  <a:lnTo>
                    <a:pt x="498" y="311"/>
                  </a:lnTo>
                  <a:lnTo>
                    <a:pt x="559" y="263"/>
                  </a:lnTo>
                  <a:lnTo>
                    <a:pt x="686" y="181"/>
                  </a:lnTo>
                  <a:lnTo>
                    <a:pt x="820" y="113"/>
                  </a:lnTo>
                  <a:lnTo>
                    <a:pt x="961" y="61"/>
                  </a:lnTo>
                  <a:lnTo>
                    <a:pt x="1105" y="25"/>
                  </a:lnTo>
                  <a:lnTo>
                    <a:pt x="1253" y="4"/>
                  </a:lnTo>
                  <a:lnTo>
                    <a:pt x="1405" y="0"/>
                  </a:lnTo>
                  <a:lnTo>
                    <a:pt x="1556" y="13"/>
                  </a:lnTo>
                  <a:lnTo>
                    <a:pt x="1631" y="26"/>
                  </a:lnTo>
                  <a:lnTo>
                    <a:pt x="1843" y="69"/>
                  </a:lnTo>
                  <a:lnTo>
                    <a:pt x="2263" y="171"/>
                  </a:lnTo>
                  <a:lnTo>
                    <a:pt x="2678" y="289"/>
                  </a:lnTo>
                  <a:lnTo>
                    <a:pt x="3086" y="424"/>
                  </a:lnTo>
                  <a:lnTo>
                    <a:pt x="3489" y="577"/>
                  </a:lnTo>
                  <a:lnTo>
                    <a:pt x="3885" y="745"/>
                  </a:lnTo>
                  <a:lnTo>
                    <a:pt x="4275" y="931"/>
                  </a:lnTo>
                  <a:lnTo>
                    <a:pt x="4658" y="1133"/>
                  </a:lnTo>
                  <a:lnTo>
                    <a:pt x="4846" y="1241"/>
                  </a:lnTo>
                  <a:lnTo>
                    <a:pt x="5029" y="1349"/>
                  </a:lnTo>
                  <a:lnTo>
                    <a:pt x="5387" y="1577"/>
                  </a:lnTo>
                  <a:lnTo>
                    <a:pt x="5733" y="1819"/>
                  </a:lnTo>
                  <a:lnTo>
                    <a:pt x="6070" y="2075"/>
                  </a:lnTo>
                  <a:lnTo>
                    <a:pt x="6397" y="2344"/>
                  </a:lnTo>
                  <a:lnTo>
                    <a:pt x="6712" y="2625"/>
                  </a:lnTo>
                  <a:lnTo>
                    <a:pt x="7016" y="2921"/>
                  </a:lnTo>
                  <a:lnTo>
                    <a:pt x="7309" y="3229"/>
                  </a:lnTo>
                  <a:lnTo>
                    <a:pt x="7451" y="3388"/>
                  </a:lnTo>
                  <a:lnTo>
                    <a:pt x="7499" y="3446"/>
                  </a:lnTo>
                  <a:lnTo>
                    <a:pt x="7587" y="3571"/>
                  </a:lnTo>
                  <a:lnTo>
                    <a:pt x="7658" y="3702"/>
                  </a:lnTo>
                  <a:lnTo>
                    <a:pt x="7714" y="3841"/>
                  </a:lnTo>
                  <a:lnTo>
                    <a:pt x="7755" y="3984"/>
                  </a:lnTo>
                  <a:lnTo>
                    <a:pt x="7780" y="4131"/>
                  </a:lnTo>
                  <a:lnTo>
                    <a:pt x="7789" y="4281"/>
                  </a:lnTo>
                  <a:lnTo>
                    <a:pt x="7781" y="4432"/>
                  </a:lnTo>
                  <a:lnTo>
                    <a:pt x="7770" y="4508"/>
                  </a:lnTo>
                  <a:lnTo>
                    <a:pt x="7756" y="4584"/>
                  </a:lnTo>
                  <a:lnTo>
                    <a:pt x="7714" y="4731"/>
                  </a:lnTo>
                  <a:lnTo>
                    <a:pt x="7658" y="4870"/>
                  </a:lnTo>
                  <a:lnTo>
                    <a:pt x="7587" y="5002"/>
                  </a:lnTo>
                  <a:lnTo>
                    <a:pt x="7501" y="5125"/>
                  </a:lnTo>
                  <a:lnTo>
                    <a:pt x="7403" y="5237"/>
                  </a:lnTo>
                  <a:lnTo>
                    <a:pt x="7293" y="5340"/>
                  </a:lnTo>
                  <a:lnTo>
                    <a:pt x="7171" y="5429"/>
                  </a:lnTo>
                  <a:lnTo>
                    <a:pt x="7105" y="5469"/>
                  </a:lnTo>
                  <a:lnTo>
                    <a:pt x="4765" y="6820"/>
                  </a:lnTo>
                  <a:lnTo>
                    <a:pt x="4725" y="6843"/>
                  </a:lnTo>
                  <a:lnTo>
                    <a:pt x="4643" y="6883"/>
                  </a:lnTo>
                  <a:lnTo>
                    <a:pt x="4558" y="6918"/>
                  </a:lnTo>
                  <a:lnTo>
                    <a:pt x="4473" y="6946"/>
                  </a:lnTo>
                  <a:lnTo>
                    <a:pt x="4387" y="6969"/>
                  </a:lnTo>
                  <a:lnTo>
                    <a:pt x="4299" y="6986"/>
                  </a:lnTo>
                  <a:lnTo>
                    <a:pt x="4212" y="6998"/>
                  </a:lnTo>
                  <a:lnTo>
                    <a:pt x="4123" y="7003"/>
                  </a:lnTo>
                  <a:lnTo>
                    <a:pt x="4080" y="700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13CE57C-4390-4F25-9351-437B15367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3128" y="2615762"/>
              <a:ext cx="1218801" cy="1926150"/>
            </a:xfrm>
            <a:custGeom>
              <a:avLst/>
              <a:gdLst>
                <a:gd name="T0" fmla="*/ 3451 w 5193"/>
                <a:gd name="T1" fmla="*/ 2 h 8213"/>
                <a:gd name="T2" fmla="*/ 3148 w 5193"/>
                <a:gd name="T3" fmla="*/ 62 h 8213"/>
                <a:gd name="T4" fmla="*/ 2934 w 5193"/>
                <a:gd name="T5" fmla="*/ 160 h 8213"/>
                <a:gd name="T6" fmla="*/ 554 w 5193"/>
                <a:gd name="T7" fmla="*/ 1535 h 8213"/>
                <a:gd name="T8" fmla="*/ 398 w 5193"/>
                <a:gd name="T9" fmla="*/ 1653 h 8213"/>
                <a:gd name="T10" fmla="*/ 266 w 5193"/>
                <a:gd name="T11" fmla="*/ 1792 h 8213"/>
                <a:gd name="T12" fmla="*/ 159 w 5193"/>
                <a:gd name="T13" fmla="*/ 1949 h 8213"/>
                <a:gd name="T14" fmla="*/ 78 w 5193"/>
                <a:gd name="T15" fmla="*/ 2119 h 8213"/>
                <a:gd name="T16" fmla="*/ 24 w 5193"/>
                <a:gd name="T17" fmla="*/ 2301 h 8213"/>
                <a:gd name="T18" fmla="*/ 0 w 5193"/>
                <a:gd name="T19" fmla="*/ 2490 h 8213"/>
                <a:gd name="T20" fmla="*/ 8 w 5193"/>
                <a:gd name="T21" fmla="*/ 2682 h 8213"/>
                <a:gd name="T22" fmla="*/ 35 w 5193"/>
                <a:gd name="T23" fmla="*/ 2826 h 8213"/>
                <a:gd name="T24" fmla="*/ 131 w 5193"/>
                <a:gd name="T25" fmla="*/ 3300 h 8213"/>
                <a:gd name="T26" fmla="*/ 190 w 5193"/>
                <a:gd name="T27" fmla="*/ 3945 h 8213"/>
                <a:gd name="T28" fmla="*/ 190 w 5193"/>
                <a:gd name="T29" fmla="*/ 4269 h 8213"/>
                <a:gd name="T30" fmla="*/ 131 w 5193"/>
                <a:gd name="T31" fmla="*/ 4913 h 8213"/>
                <a:gd name="T32" fmla="*/ 35 w 5193"/>
                <a:gd name="T33" fmla="*/ 5387 h 8213"/>
                <a:gd name="T34" fmla="*/ 8 w 5193"/>
                <a:gd name="T35" fmla="*/ 5531 h 8213"/>
                <a:gd name="T36" fmla="*/ 0 w 5193"/>
                <a:gd name="T37" fmla="*/ 5723 h 8213"/>
                <a:gd name="T38" fmla="*/ 24 w 5193"/>
                <a:gd name="T39" fmla="*/ 5912 h 8213"/>
                <a:gd name="T40" fmla="*/ 78 w 5193"/>
                <a:gd name="T41" fmla="*/ 6094 h 8213"/>
                <a:gd name="T42" fmla="*/ 159 w 5193"/>
                <a:gd name="T43" fmla="*/ 6264 h 8213"/>
                <a:gd name="T44" fmla="*/ 266 w 5193"/>
                <a:gd name="T45" fmla="*/ 6421 h 8213"/>
                <a:gd name="T46" fmla="*/ 398 w 5193"/>
                <a:gd name="T47" fmla="*/ 6560 h 8213"/>
                <a:gd name="T48" fmla="*/ 554 w 5193"/>
                <a:gd name="T49" fmla="*/ 6678 h 8213"/>
                <a:gd name="T50" fmla="*/ 2934 w 5193"/>
                <a:gd name="T51" fmla="*/ 8054 h 8213"/>
                <a:gd name="T52" fmla="*/ 3114 w 5193"/>
                <a:gd name="T53" fmla="*/ 8138 h 8213"/>
                <a:gd name="T54" fmla="*/ 3366 w 5193"/>
                <a:gd name="T55" fmla="*/ 8202 h 8213"/>
                <a:gd name="T56" fmla="*/ 3626 w 5193"/>
                <a:gd name="T57" fmla="*/ 8210 h 8213"/>
                <a:gd name="T58" fmla="*/ 3883 w 5193"/>
                <a:gd name="T59" fmla="*/ 8159 h 8213"/>
                <a:gd name="T60" fmla="*/ 4008 w 5193"/>
                <a:gd name="T61" fmla="*/ 8112 h 8213"/>
                <a:gd name="T62" fmla="*/ 4234 w 5193"/>
                <a:gd name="T63" fmla="*/ 7981 h 8213"/>
                <a:gd name="T64" fmla="*/ 4423 w 5193"/>
                <a:gd name="T65" fmla="*/ 7806 h 8213"/>
                <a:gd name="T66" fmla="*/ 4571 w 5193"/>
                <a:gd name="T67" fmla="*/ 7593 h 8213"/>
                <a:gd name="T68" fmla="*/ 4649 w 5193"/>
                <a:gd name="T69" fmla="*/ 7412 h 8213"/>
                <a:gd name="T70" fmla="*/ 4833 w 5193"/>
                <a:gd name="T71" fmla="*/ 6810 h 8213"/>
                <a:gd name="T72" fmla="*/ 5021 w 5193"/>
                <a:gd name="T73" fmla="*/ 5992 h 8213"/>
                <a:gd name="T74" fmla="*/ 5140 w 5193"/>
                <a:gd name="T75" fmla="*/ 5161 h 8213"/>
                <a:gd name="T76" fmla="*/ 5192 w 5193"/>
                <a:gd name="T77" fmla="*/ 4318 h 8213"/>
                <a:gd name="T78" fmla="*/ 5192 w 5193"/>
                <a:gd name="T79" fmla="*/ 3895 h 8213"/>
                <a:gd name="T80" fmla="*/ 5140 w 5193"/>
                <a:gd name="T81" fmla="*/ 3052 h 8213"/>
                <a:gd name="T82" fmla="*/ 5021 w 5193"/>
                <a:gd name="T83" fmla="*/ 2221 h 8213"/>
                <a:gd name="T84" fmla="*/ 4833 w 5193"/>
                <a:gd name="T85" fmla="*/ 1403 h 8213"/>
                <a:gd name="T86" fmla="*/ 4649 w 5193"/>
                <a:gd name="T87" fmla="*/ 802 h 8213"/>
                <a:gd name="T88" fmla="*/ 4571 w 5193"/>
                <a:gd name="T89" fmla="*/ 620 h 8213"/>
                <a:gd name="T90" fmla="*/ 4423 w 5193"/>
                <a:gd name="T91" fmla="*/ 407 h 8213"/>
                <a:gd name="T92" fmla="*/ 4234 w 5193"/>
                <a:gd name="T93" fmla="*/ 231 h 8213"/>
                <a:gd name="T94" fmla="*/ 4008 w 5193"/>
                <a:gd name="T95" fmla="*/ 101 h 8213"/>
                <a:gd name="T96" fmla="*/ 3895 w 5193"/>
                <a:gd name="T97" fmla="*/ 58 h 8213"/>
                <a:gd name="T98" fmla="*/ 3686 w 5193"/>
                <a:gd name="T99" fmla="*/ 10 h 8213"/>
                <a:gd name="T100" fmla="*/ 3527 w 5193"/>
                <a:gd name="T101" fmla="*/ 0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93" h="8213">
                  <a:moveTo>
                    <a:pt x="3527" y="0"/>
                  </a:moveTo>
                  <a:lnTo>
                    <a:pt x="3451" y="2"/>
                  </a:lnTo>
                  <a:lnTo>
                    <a:pt x="3297" y="22"/>
                  </a:lnTo>
                  <a:lnTo>
                    <a:pt x="3148" y="62"/>
                  </a:lnTo>
                  <a:lnTo>
                    <a:pt x="3004" y="121"/>
                  </a:lnTo>
                  <a:lnTo>
                    <a:pt x="2934" y="160"/>
                  </a:lnTo>
                  <a:lnTo>
                    <a:pt x="596" y="1509"/>
                  </a:lnTo>
                  <a:lnTo>
                    <a:pt x="554" y="1535"/>
                  </a:lnTo>
                  <a:lnTo>
                    <a:pt x="473" y="1591"/>
                  </a:lnTo>
                  <a:lnTo>
                    <a:pt x="398" y="1653"/>
                  </a:lnTo>
                  <a:lnTo>
                    <a:pt x="329" y="1720"/>
                  </a:lnTo>
                  <a:lnTo>
                    <a:pt x="266" y="1792"/>
                  </a:lnTo>
                  <a:lnTo>
                    <a:pt x="209" y="1868"/>
                  </a:lnTo>
                  <a:lnTo>
                    <a:pt x="159" y="1949"/>
                  </a:lnTo>
                  <a:lnTo>
                    <a:pt x="114" y="2033"/>
                  </a:lnTo>
                  <a:lnTo>
                    <a:pt x="78" y="2119"/>
                  </a:lnTo>
                  <a:lnTo>
                    <a:pt x="47" y="2209"/>
                  </a:lnTo>
                  <a:lnTo>
                    <a:pt x="24" y="2301"/>
                  </a:lnTo>
                  <a:lnTo>
                    <a:pt x="9" y="2395"/>
                  </a:lnTo>
                  <a:lnTo>
                    <a:pt x="0" y="2490"/>
                  </a:lnTo>
                  <a:lnTo>
                    <a:pt x="0" y="2586"/>
                  </a:lnTo>
                  <a:lnTo>
                    <a:pt x="8" y="2682"/>
                  </a:lnTo>
                  <a:lnTo>
                    <a:pt x="23" y="2778"/>
                  </a:lnTo>
                  <a:lnTo>
                    <a:pt x="35" y="2826"/>
                  </a:lnTo>
                  <a:lnTo>
                    <a:pt x="71" y="2982"/>
                  </a:lnTo>
                  <a:lnTo>
                    <a:pt x="131" y="3300"/>
                  </a:lnTo>
                  <a:lnTo>
                    <a:pt x="170" y="3621"/>
                  </a:lnTo>
                  <a:lnTo>
                    <a:pt x="190" y="3945"/>
                  </a:lnTo>
                  <a:lnTo>
                    <a:pt x="191" y="4107"/>
                  </a:lnTo>
                  <a:lnTo>
                    <a:pt x="190" y="4269"/>
                  </a:lnTo>
                  <a:lnTo>
                    <a:pt x="170" y="4593"/>
                  </a:lnTo>
                  <a:lnTo>
                    <a:pt x="131" y="4913"/>
                  </a:lnTo>
                  <a:lnTo>
                    <a:pt x="71" y="5231"/>
                  </a:lnTo>
                  <a:lnTo>
                    <a:pt x="35" y="5387"/>
                  </a:lnTo>
                  <a:lnTo>
                    <a:pt x="23" y="5435"/>
                  </a:lnTo>
                  <a:lnTo>
                    <a:pt x="8" y="5531"/>
                  </a:lnTo>
                  <a:lnTo>
                    <a:pt x="0" y="5627"/>
                  </a:lnTo>
                  <a:lnTo>
                    <a:pt x="0" y="5723"/>
                  </a:lnTo>
                  <a:lnTo>
                    <a:pt x="9" y="5818"/>
                  </a:lnTo>
                  <a:lnTo>
                    <a:pt x="24" y="5912"/>
                  </a:lnTo>
                  <a:lnTo>
                    <a:pt x="47" y="6004"/>
                  </a:lnTo>
                  <a:lnTo>
                    <a:pt x="78" y="6094"/>
                  </a:lnTo>
                  <a:lnTo>
                    <a:pt x="114" y="6180"/>
                  </a:lnTo>
                  <a:lnTo>
                    <a:pt x="159" y="6264"/>
                  </a:lnTo>
                  <a:lnTo>
                    <a:pt x="209" y="6345"/>
                  </a:lnTo>
                  <a:lnTo>
                    <a:pt x="266" y="6421"/>
                  </a:lnTo>
                  <a:lnTo>
                    <a:pt x="329" y="6493"/>
                  </a:lnTo>
                  <a:lnTo>
                    <a:pt x="398" y="6560"/>
                  </a:lnTo>
                  <a:lnTo>
                    <a:pt x="473" y="6622"/>
                  </a:lnTo>
                  <a:lnTo>
                    <a:pt x="554" y="6678"/>
                  </a:lnTo>
                  <a:lnTo>
                    <a:pt x="596" y="6704"/>
                  </a:lnTo>
                  <a:lnTo>
                    <a:pt x="2934" y="8054"/>
                  </a:lnTo>
                  <a:lnTo>
                    <a:pt x="2993" y="8085"/>
                  </a:lnTo>
                  <a:lnTo>
                    <a:pt x="3114" y="8138"/>
                  </a:lnTo>
                  <a:lnTo>
                    <a:pt x="3239" y="8177"/>
                  </a:lnTo>
                  <a:lnTo>
                    <a:pt x="3366" y="8202"/>
                  </a:lnTo>
                  <a:lnTo>
                    <a:pt x="3496" y="8213"/>
                  </a:lnTo>
                  <a:lnTo>
                    <a:pt x="3626" y="8210"/>
                  </a:lnTo>
                  <a:lnTo>
                    <a:pt x="3755" y="8191"/>
                  </a:lnTo>
                  <a:lnTo>
                    <a:pt x="3883" y="8159"/>
                  </a:lnTo>
                  <a:lnTo>
                    <a:pt x="3945" y="8136"/>
                  </a:lnTo>
                  <a:lnTo>
                    <a:pt x="4008" y="8112"/>
                  </a:lnTo>
                  <a:lnTo>
                    <a:pt x="4125" y="8053"/>
                  </a:lnTo>
                  <a:lnTo>
                    <a:pt x="4234" y="7981"/>
                  </a:lnTo>
                  <a:lnTo>
                    <a:pt x="4333" y="7899"/>
                  </a:lnTo>
                  <a:lnTo>
                    <a:pt x="4423" y="7806"/>
                  </a:lnTo>
                  <a:lnTo>
                    <a:pt x="4503" y="7704"/>
                  </a:lnTo>
                  <a:lnTo>
                    <a:pt x="4571" y="7593"/>
                  </a:lnTo>
                  <a:lnTo>
                    <a:pt x="4626" y="7474"/>
                  </a:lnTo>
                  <a:lnTo>
                    <a:pt x="4649" y="7412"/>
                  </a:lnTo>
                  <a:lnTo>
                    <a:pt x="4714" y="7213"/>
                  </a:lnTo>
                  <a:lnTo>
                    <a:pt x="4833" y="6810"/>
                  </a:lnTo>
                  <a:lnTo>
                    <a:pt x="4936" y="6403"/>
                  </a:lnTo>
                  <a:lnTo>
                    <a:pt x="5021" y="5992"/>
                  </a:lnTo>
                  <a:lnTo>
                    <a:pt x="5089" y="5579"/>
                  </a:lnTo>
                  <a:lnTo>
                    <a:pt x="5140" y="5161"/>
                  </a:lnTo>
                  <a:lnTo>
                    <a:pt x="5174" y="4741"/>
                  </a:lnTo>
                  <a:lnTo>
                    <a:pt x="5192" y="4318"/>
                  </a:lnTo>
                  <a:lnTo>
                    <a:pt x="5193" y="4107"/>
                  </a:lnTo>
                  <a:lnTo>
                    <a:pt x="5192" y="3895"/>
                  </a:lnTo>
                  <a:lnTo>
                    <a:pt x="5174" y="3473"/>
                  </a:lnTo>
                  <a:lnTo>
                    <a:pt x="5140" y="3052"/>
                  </a:lnTo>
                  <a:lnTo>
                    <a:pt x="5089" y="2634"/>
                  </a:lnTo>
                  <a:lnTo>
                    <a:pt x="5021" y="2221"/>
                  </a:lnTo>
                  <a:lnTo>
                    <a:pt x="4936" y="1810"/>
                  </a:lnTo>
                  <a:lnTo>
                    <a:pt x="4833" y="1403"/>
                  </a:lnTo>
                  <a:lnTo>
                    <a:pt x="4714" y="1000"/>
                  </a:lnTo>
                  <a:lnTo>
                    <a:pt x="4649" y="802"/>
                  </a:lnTo>
                  <a:lnTo>
                    <a:pt x="4626" y="739"/>
                  </a:lnTo>
                  <a:lnTo>
                    <a:pt x="4571" y="620"/>
                  </a:lnTo>
                  <a:lnTo>
                    <a:pt x="4503" y="509"/>
                  </a:lnTo>
                  <a:lnTo>
                    <a:pt x="4423" y="407"/>
                  </a:lnTo>
                  <a:lnTo>
                    <a:pt x="4333" y="314"/>
                  </a:lnTo>
                  <a:lnTo>
                    <a:pt x="4234" y="231"/>
                  </a:lnTo>
                  <a:lnTo>
                    <a:pt x="4125" y="160"/>
                  </a:lnTo>
                  <a:lnTo>
                    <a:pt x="4008" y="101"/>
                  </a:lnTo>
                  <a:lnTo>
                    <a:pt x="3945" y="77"/>
                  </a:lnTo>
                  <a:lnTo>
                    <a:pt x="3895" y="58"/>
                  </a:lnTo>
                  <a:lnTo>
                    <a:pt x="3791" y="29"/>
                  </a:lnTo>
                  <a:lnTo>
                    <a:pt x="3686" y="10"/>
                  </a:lnTo>
                  <a:lnTo>
                    <a:pt x="3580" y="1"/>
                  </a:lnTo>
                  <a:lnTo>
                    <a:pt x="3527" y="0"/>
                  </a:lnTo>
                  <a:lnTo>
                    <a:pt x="352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6BC80F4E-CC34-4CA7-B0A8-DB0AD653A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8898" y="2615762"/>
              <a:ext cx="1218801" cy="1926150"/>
            </a:xfrm>
            <a:custGeom>
              <a:avLst/>
              <a:gdLst>
                <a:gd name="T0" fmla="*/ 1612 w 5193"/>
                <a:gd name="T1" fmla="*/ 1 h 8213"/>
                <a:gd name="T2" fmla="*/ 1402 w 5193"/>
                <a:gd name="T3" fmla="*/ 29 h 8213"/>
                <a:gd name="T4" fmla="*/ 1246 w 5193"/>
                <a:gd name="T5" fmla="*/ 77 h 8213"/>
                <a:gd name="T6" fmla="*/ 1068 w 5193"/>
                <a:gd name="T7" fmla="*/ 160 h 8213"/>
                <a:gd name="T8" fmla="*/ 860 w 5193"/>
                <a:gd name="T9" fmla="*/ 314 h 8213"/>
                <a:gd name="T10" fmla="*/ 690 w 5193"/>
                <a:gd name="T11" fmla="*/ 509 h 8213"/>
                <a:gd name="T12" fmla="*/ 567 w 5193"/>
                <a:gd name="T13" fmla="*/ 739 h 8213"/>
                <a:gd name="T14" fmla="*/ 477 w 5193"/>
                <a:gd name="T15" fmla="*/ 1000 h 8213"/>
                <a:gd name="T16" fmla="*/ 257 w 5193"/>
                <a:gd name="T17" fmla="*/ 1810 h 8213"/>
                <a:gd name="T18" fmla="*/ 104 w 5193"/>
                <a:gd name="T19" fmla="*/ 2634 h 8213"/>
                <a:gd name="T20" fmla="*/ 18 w 5193"/>
                <a:gd name="T21" fmla="*/ 3473 h 8213"/>
                <a:gd name="T22" fmla="*/ 0 w 5193"/>
                <a:gd name="T23" fmla="*/ 4107 h 8213"/>
                <a:gd name="T24" fmla="*/ 18 w 5193"/>
                <a:gd name="T25" fmla="*/ 4741 h 8213"/>
                <a:gd name="T26" fmla="*/ 104 w 5193"/>
                <a:gd name="T27" fmla="*/ 5579 h 8213"/>
                <a:gd name="T28" fmla="*/ 257 w 5193"/>
                <a:gd name="T29" fmla="*/ 6403 h 8213"/>
                <a:gd name="T30" fmla="*/ 477 w 5193"/>
                <a:gd name="T31" fmla="*/ 7213 h 8213"/>
                <a:gd name="T32" fmla="*/ 567 w 5193"/>
                <a:gd name="T33" fmla="*/ 7474 h 8213"/>
                <a:gd name="T34" fmla="*/ 690 w 5193"/>
                <a:gd name="T35" fmla="*/ 7704 h 8213"/>
                <a:gd name="T36" fmla="*/ 860 w 5193"/>
                <a:gd name="T37" fmla="*/ 7899 h 8213"/>
                <a:gd name="T38" fmla="*/ 1068 w 5193"/>
                <a:gd name="T39" fmla="*/ 8053 h 8213"/>
                <a:gd name="T40" fmla="*/ 1246 w 5193"/>
                <a:gd name="T41" fmla="*/ 8136 h 8213"/>
                <a:gd name="T42" fmla="*/ 1437 w 5193"/>
                <a:gd name="T43" fmla="*/ 8191 h 8213"/>
                <a:gd name="T44" fmla="*/ 1697 w 5193"/>
                <a:gd name="T45" fmla="*/ 8213 h 8213"/>
                <a:gd name="T46" fmla="*/ 1954 w 5193"/>
                <a:gd name="T47" fmla="*/ 8177 h 8213"/>
                <a:gd name="T48" fmla="*/ 2200 w 5193"/>
                <a:gd name="T49" fmla="*/ 8085 h 8213"/>
                <a:gd name="T50" fmla="*/ 4595 w 5193"/>
                <a:gd name="T51" fmla="*/ 6704 h 8213"/>
                <a:gd name="T52" fmla="*/ 4719 w 5193"/>
                <a:gd name="T53" fmla="*/ 6622 h 8213"/>
                <a:gd name="T54" fmla="*/ 4863 w 5193"/>
                <a:gd name="T55" fmla="*/ 6493 h 8213"/>
                <a:gd name="T56" fmla="*/ 4983 w 5193"/>
                <a:gd name="T57" fmla="*/ 6345 h 8213"/>
                <a:gd name="T58" fmla="*/ 5078 w 5193"/>
                <a:gd name="T59" fmla="*/ 6180 h 8213"/>
                <a:gd name="T60" fmla="*/ 5145 w 5193"/>
                <a:gd name="T61" fmla="*/ 6004 h 8213"/>
                <a:gd name="T62" fmla="*/ 5184 w 5193"/>
                <a:gd name="T63" fmla="*/ 5818 h 8213"/>
                <a:gd name="T64" fmla="*/ 5193 w 5193"/>
                <a:gd name="T65" fmla="*/ 5627 h 8213"/>
                <a:gd name="T66" fmla="*/ 5170 w 5193"/>
                <a:gd name="T67" fmla="*/ 5435 h 8213"/>
                <a:gd name="T68" fmla="*/ 5120 w 5193"/>
                <a:gd name="T69" fmla="*/ 5231 h 8213"/>
                <a:gd name="T70" fmla="*/ 5022 w 5193"/>
                <a:gd name="T71" fmla="*/ 4593 h 8213"/>
                <a:gd name="T72" fmla="*/ 5001 w 5193"/>
                <a:gd name="T73" fmla="*/ 4107 h 8213"/>
                <a:gd name="T74" fmla="*/ 5022 w 5193"/>
                <a:gd name="T75" fmla="*/ 3621 h 8213"/>
                <a:gd name="T76" fmla="*/ 5120 w 5193"/>
                <a:gd name="T77" fmla="*/ 2982 h 8213"/>
                <a:gd name="T78" fmla="*/ 5170 w 5193"/>
                <a:gd name="T79" fmla="*/ 2778 h 8213"/>
                <a:gd name="T80" fmla="*/ 5193 w 5193"/>
                <a:gd name="T81" fmla="*/ 2586 h 8213"/>
                <a:gd name="T82" fmla="*/ 5184 w 5193"/>
                <a:gd name="T83" fmla="*/ 2395 h 8213"/>
                <a:gd name="T84" fmla="*/ 5145 w 5193"/>
                <a:gd name="T85" fmla="*/ 2209 h 8213"/>
                <a:gd name="T86" fmla="*/ 5078 w 5193"/>
                <a:gd name="T87" fmla="*/ 2033 h 8213"/>
                <a:gd name="T88" fmla="*/ 4983 w 5193"/>
                <a:gd name="T89" fmla="*/ 1868 h 8213"/>
                <a:gd name="T90" fmla="*/ 4863 w 5193"/>
                <a:gd name="T91" fmla="*/ 1720 h 8213"/>
                <a:gd name="T92" fmla="*/ 4719 w 5193"/>
                <a:gd name="T93" fmla="*/ 1591 h 8213"/>
                <a:gd name="T94" fmla="*/ 4595 w 5193"/>
                <a:gd name="T95" fmla="*/ 1509 h 8213"/>
                <a:gd name="T96" fmla="*/ 2188 w 5193"/>
                <a:gd name="T97" fmla="*/ 121 h 8213"/>
                <a:gd name="T98" fmla="*/ 1894 w 5193"/>
                <a:gd name="T99" fmla="*/ 22 h 8213"/>
                <a:gd name="T100" fmla="*/ 1665 w 5193"/>
                <a:gd name="T101" fmla="*/ 0 h 8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93" h="8213">
                  <a:moveTo>
                    <a:pt x="1665" y="0"/>
                  </a:moveTo>
                  <a:lnTo>
                    <a:pt x="1612" y="1"/>
                  </a:lnTo>
                  <a:lnTo>
                    <a:pt x="1507" y="10"/>
                  </a:lnTo>
                  <a:lnTo>
                    <a:pt x="1402" y="29"/>
                  </a:lnTo>
                  <a:lnTo>
                    <a:pt x="1298" y="58"/>
                  </a:lnTo>
                  <a:lnTo>
                    <a:pt x="1246" y="77"/>
                  </a:lnTo>
                  <a:lnTo>
                    <a:pt x="1185" y="101"/>
                  </a:lnTo>
                  <a:lnTo>
                    <a:pt x="1068" y="160"/>
                  </a:lnTo>
                  <a:lnTo>
                    <a:pt x="959" y="231"/>
                  </a:lnTo>
                  <a:lnTo>
                    <a:pt x="860" y="314"/>
                  </a:lnTo>
                  <a:lnTo>
                    <a:pt x="770" y="407"/>
                  </a:lnTo>
                  <a:lnTo>
                    <a:pt x="690" y="509"/>
                  </a:lnTo>
                  <a:lnTo>
                    <a:pt x="622" y="620"/>
                  </a:lnTo>
                  <a:lnTo>
                    <a:pt x="567" y="739"/>
                  </a:lnTo>
                  <a:lnTo>
                    <a:pt x="544" y="802"/>
                  </a:lnTo>
                  <a:lnTo>
                    <a:pt x="477" y="1000"/>
                  </a:lnTo>
                  <a:lnTo>
                    <a:pt x="358" y="1403"/>
                  </a:lnTo>
                  <a:lnTo>
                    <a:pt x="257" y="1810"/>
                  </a:lnTo>
                  <a:lnTo>
                    <a:pt x="172" y="2221"/>
                  </a:lnTo>
                  <a:lnTo>
                    <a:pt x="104" y="2634"/>
                  </a:lnTo>
                  <a:lnTo>
                    <a:pt x="52" y="3052"/>
                  </a:lnTo>
                  <a:lnTo>
                    <a:pt x="18" y="3473"/>
                  </a:lnTo>
                  <a:lnTo>
                    <a:pt x="1" y="3895"/>
                  </a:lnTo>
                  <a:lnTo>
                    <a:pt x="0" y="4107"/>
                  </a:lnTo>
                  <a:lnTo>
                    <a:pt x="1" y="4318"/>
                  </a:lnTo>
                  <a:lnTo>
                    <a:pt x="18" y="4741"/>
                  </a:lnTo>
                  <a:lnTo>
                    <a:pt x="52" y="5161"/>
                  </a:lnTo>
                  <a:lnTo>
                    <a:pt x="104" y="5579"/>
                  </a:lnTo>
                  <a:lnTo>
                    <a:pt x="172" y="5992"/>
                  </a:lnTo>
                  <a:lnTo>
                    <a:pt x="257" y="6403"/>
                  </a:lnTo>
                  <a:lnTo>
                    <a:pt x="358" y="6810"/>
                  </a:lnTo>
                  <a:lnTo>
                    <a:pt x="477" y="7213"/>
                  </a:lnTo>
                  <a:lnTo>
                    <a:pt x="544" y="7412"/>
                  </a:lnTo>
                  <a:lnTo>
                    <a:pt x="567" y="7474"/>
                  </a:lnTo>
                  <a:lnTo>
                    <a:pt x="622" y="7593"/>
                  </a:lnTo>
                  <a:lnTo>
                    <a:pt x="690" y="7704"/>
                  </a:lnTo>
                  <a:lnTo>
                    <a:pt x="770" y="7806"/>
                  </a:lnTo>
                  <a:lnTo>
                    <a:pt x="860" y="7899"/>
                  </a:lnTo>
                  <a:lnTo>
                    <a:pt x="959" y="7982"/>
                  </a:lnTo>
                  <a:lnTo>
                    <a:pt x="1068" y="8053"/>
                  </a:lnTo>
                  <a:lnTo>
                    <a:pt x="1185" y="8112"/>
                  </a:lnTo>
                  <a:lnTo>
                    <a:pt x="1246" y="8136"/>
                  </a:lnTo>
                  <a:lnTo>
                    <a:pt x="1310" y="8159"/>
                  </a:lnTo>
                  <a:lnTo>
                    <a:pt x="1437" y="8191"/>
                  </a:lnTo>
                  <a:lnTo>
                    <a:pt x="1567" y="8210"/>
                  </a:lnTo>
                  <a:lnTo>
                    <a:pt x="1697" y="8213"/>
                  </a:lnTo>
                  <a:lnTo>
                    <a:pt x="1826" y="8202"/>
                  </a:lnTo>
                  <a:lnTo>
                    <a:pt x="1954" y="8177"/>
                  </a:lnTo>
                  <a:lnTo>
                    <a:pt x="2079" y="8138"/>
                  </a:lnTo>
                  <a:lnTo>
                    <a:pt x="2200" y="8085"/>
                  </a:lnTo>
                  <a:lnTo>
                    <a:pt x="2258" y="8054"/>
                  </a:lnTo>
                  <a:lnTo>
                    <a:pt x="4595" y="6704"/>
                  </a:lnTo>
                  <a:lnTo>
                    <a:pt x="4639" y="6678"/>
                  </a:lnTo>
                  <a:lnTo>
                    <a:pt x="4719" y="6622"/>
                  </a:lnTo>
                  <a:lnTo>
                    <a:pt x="4794" y="6560"/>
                  </a:lnTo>
                  <a:lnTo>
                    <a:pt x="4863" y="6493"/>
                  </a:lnTo>
                  <a:lnTo>
                    <a:pt x="4926" y="6421"/>
                  </a:lnTo>
                  <a:lnTo>
                    <a:pt x="4983" y="6345"/>
                  </a:lnTo>
                  <a:lnTo>
                    <a:pt x="5034" y="6264"/>
                  </a:lnTo>
                  <a:lnTo>
                    <a:pt x="5078" y="6180"/>
                  </a:lnTo>
                  <a:lnTo>
                    <a:pt x="5115" y="6094"/>
                  </a:lnTo>
                  <a:lnTo>
                    <a:pt x="5145" y="6004"/>
                  </a:lnTo>
                  <a:lnTo>
                    <a:pt x="5169" y="5912"/>
                  </a:lnTo>
                  <a:lnTo>
                    <a:pt x="5184" y="5818"/>
                  </a:lnTo>
                  <a:lnTo>
                    <a:pt x="5193" y="5723"/>
                  </a:lnTo>
                  <a:lnTo>
                    <a:pt x="5193" y="5627"/>
                  </a:lnTo>
                  <a:lnTo>
                    <a:pt x="5185" y="5531"/>
                  </a:lnTo>
                  <a:lnTo>
                    <a:pt x="5170" y="5435"/>
                  </a:lnTo>
                  <a:lnTo>
                    <a:pt x="5158" y="5387"/>
                  </a:lnTo>
                  <a:lnTo>
                    <a:pt x="5120" y="5231"/>
                  </a:lnTo>
                  <a:lnTo>
                    <a:pt x="5062" y="4913"/>
                  </a:lnTo>
                  <a:lnTo>
                    <a:pt x="5022" y="4593"/>
                  </a:lnTo>
                  <a:lnTo>
                    <a:pt x="5003" y="4269"/>
                  </a:lnTo>
                  <a:lnTo>
                    <a:pt x="5001" y="4107"/>
                  </a:lnTo>
                  <a:lnTo>
                    <a:pt x="5003" y="3945"/>
                  </a:lnTo>
                  <a:lnTo>
                    <a:pt x="5022" y="3621"/>
                  </a:lnTo>
                  <a:lnTo>
                    <a:pt x="5062" y="3300"/>
                  </a:lnTo>
                  <a:lnTo>
                    <a:pt x="5120" y="2982"/>
                  </a:lnTo>
                  <a:lnTo>
                    <a:pt x="5158" y="2826"/>
                  </a:lnTo>
                  <a:lnTo>
                    <a:pt x="5170" y="2778"/>
                  </a:lnTo>
                  <a:lnTo>
                    <a:pt x="5185" y="2682"/>
                  </a:lnTo>
                  <a:lnTo>
                    <a:pt x="5193" y="2586"/>
                  </a:lnTo>
                  <a:lnTo>
                    <a:pt x="5193" y="2490"/>
                  </a:lnTo>
                  <a:lnTo>
                    <a:pt x="5184" y="2395"/>
                  </a:lnTo>
                  <a:lnTo>
                    <a:pt x="5169" y="2302"/>
                  </a:lnTo>
                  <a:lnTo>
                    <a:pt x="5145" y="2209"/>
                  </a:lnTo>
                  <a:lnTo>
                    <a:pt x="5115" y="2119"/>
                  </a:lnTo>
                  <a:lnTo>
                    <a:pt x="5078" y="2033"/>
                  </a:lnTo>
                  <a:lnTo>
                    <a:pt x="5034" y="1949"/>
                  </a:lnTo>
                  <a:lnTo>
                    <a:pt x="4983" y="1868"/>
                  </a:lnTo>
                  <a:lnTo>
                    <a:pt x="4926" y="1792"/>
                  </a:lnTo>
                  <a:lnTo>
                    <a:pt x="4863" y="1720"/>
                  </a:lnTo>
                  <a:lnTo>
                    <a:pt x="4794" y="1653"/>
                  </a:lnTo>
                  <a:lnTo>
                    <a:pt x="4719" y="1591"/>
                  </a:lnTo>
                  <a:lnTo>
                    <a:pt x="4639" y="1535"/>
                  </a:lnTo>
                  <a:lnTo>
                    <a:pt x="4595" y="1509"/>
                  </a:lnTo>
                  <a:lnTo>
                    <a:pt x="2258" y="159"/>
                  </a:lnTo>
                  <a:lnTo>
                    <a:pt x="2188" y="121"/>
                  </a:lnTo>
                  <a:lnTo>
                    <a:pt x="2044" y="62"/>
                  </a:lnTo>
                  <a:lnTo>
                    <a:pt x="1894" y="22"/>
                  </a:lnTo>
                  <a:lnTo>
                    <a:pt x="1742" y="2"/>
                  </a:lnTo>
                  <a:lnTo>
                    <a:pt x="1665" y="0"/>
                  </a:lnTo>
                  <a:lnTo>
                    <a:pt x="1665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B2FFFEB6-E29E-43F3-A10B-B1C634EB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773" y="1213966"/>
              <a:ext cx="1743154" cy="1557812"/>
            </a:xfrm>
            <a:custGeom>
              <a:avLst/>
              <a:gdLst>
                <a:gd name="T0" fmla="*/ 6187 w 7429"/>
                <a:gd name="T1" fmla="*/ 1 h 6644"/>
                <a:gd name="T2" fmla="*/ 6013 w 7429"/>
                <a:gd name="T3" fmla="*/ 23 h 6644"/>
                <a:gd name="T4" fmla="*/ 5398 w 7429"/>
                <a:gd name="T5" fmla="*/ 163 h 6644"/>
                <a:gd name="T6" fmla="*/ 4597 w 7429"/>
                <a:gd name="T7" fmla="*/ 411 h 6644"/>
                <a:gd name="T8" fmla="*/ 3819 w 7429"/>
                <a:gd name="T9" fmla="*/ 723 h 6644"/>
                <a:gd name="T10" fmla="*/ 3069 w 7429"/>
                <a:gd name="T11" fmla="*/ 1098 h 6644"/>
                <a:gd name="T12" fmla="*/ 2350 w 7429"/>
                <a:gd name="T13" fmla="*/ 1532 h 6644"/>
                <a:gd name="T14" fmla="*/ 1670 w 7429"/>
                <a:gd name="T15" fmla="*/ 2023 h 6644"/>
                <a:gd name="T16" fmla="*/ 1030 w 7429"/>
                <a:gd name="T17" fmla="*/ 2570 h 6644"/>
                <a:gd name="T18" fmla="*/ 434 w 7429"/>
                <a:gd name="T19" fmla="*/ 3169 h 6644"/>
                <a:gd name="T20" fmla="*/ 252 w 7429"/>
                <a:gd name="T21" fmla="*/ 3378 h 6644"/>
                <a:gd name="T22" fmla="*/ 115 w 7429"/>
                <a:gd name="T23" fmla="*/ 3600 h 6644"/>
                <a:gd name="T24" fmla="*/ 29 w 7429"/>
                <a:gd name="T25" fmla="*/ 3844 h 6644"/>
                <a:gd name="T26" fmla="*/ 0 w 7429"/>
                <a:gd name="T27" fmla="*/ 4102 h 6644"/>
                <a:gd name="T28" fmla="*/ 18 w 7429"/>
                <a:gd name="T29" fmla="*/ 4299 h 6644"/>
                <a:gd name="T30" fmla="*/ 65 w 7429"/>
                <a:gd name="T31" fmla="*/ 4492 h 6644"/>
                <a:gd name="T32" fmla="*/ 176 w 7429"/>
                <a:gd name="T33" fmla="*/ 4728 h 6644"/>
                <a:gd name="T34" fmla="*/ 335 w 7429"/>
                <a:gd name="T35" fmla="*/ 4932 h 6644"/>
                <a:gd name="T36" fmla="*/ 537 w 7429"/>
                <a:gd name="T37" fmla="*/ 5099 h 6644"/>
                <a:gd name="T38" fmla="*/ 2935 w 7429"/>
                <a:gd name="T39" fmla="*/ 6485 h 6644"/>
                <a:gd name="T40" fmla="*/ 3067 w 7429"/>
                <a:gd name="T41" fmla="*/ 6551 h 6644"/>
                <a:gd name="T42" fmla="*/ 3250 w 7429"/>
                <a:gd name="T43" fmla="*/ 6610 h 6644"/>
                <a:gd name="T44" fmla="*/ 3438 w 7429"/>
                <a:gd name="T45" fmla="*/ 6640 h 6644"/>
                <a:gd name="T46" fmla="*/ 3626 w 7429"/>
                <a:gd name="T47" fmla="*/ 6640 h 6644"/>
                <a:gd name="T48" fmla="*/ 3812 w 7429"/>
                <a:gd name="T49" fmla="*/ 6610 h 6644"/>
                <a:gd name="T50" fmla="*/ 3991 w 7429"/>
                <a:gd name="T51" fmla="*/ 6552 h 6644"/>
                <a:gd name="T52" fmla="*/ 4160 w 7429"/>
                <a:gd name="T53" fmla="*/ 6463 h 6644"/>
                <a:gd name="T54" fmla="*/ 4314 w 7429"/>
                <a:gd name="T55" fmla="*/ 6348 h 6644"/>
                <a:gd name="T56" fmla="*/ 4467 w 7429"/>
                <a:gd name="T57" fmla="*/ 6203 h 6644"/>
                <a:gd name="T58" fmla="*/ 4972 w 7429"/>
                <a:gd name="T59" fmla="*/ 5797 h 6644"/>
                <a:gd name="T60" fmla="*/ 5520 w 7429"/>
                <a:gd name="T61" fmla="*/ 5456 h 6644"/>
                <a:gd name="T62" fmla="*/ 6106 w 7429"/>
                <a:gd name="T63" fmla="*/ 5184 h 6644"/>
                <a:gd name="T64" fmla="*/ 6565 w 7429"/>
                <a:gd name="T65" fmla="*/ 5031 h 6644"/>
                <a:gd name="T66" fmla="*/ 6704 w 7429"/>
                <a:gd name="T67" fmla="*/ 4983 h 6644"/>
                <a:gd name="T68" fmla="*/ 6875 w 7429"/>
                <a:gd name="T69" fmla="*/ 4893 h 6644"/>
                <a:gd name="T70" fmla="*/ 7027 w 7429"/>
                <a:gd name="T71" fmla="*/ 4778 h 6644"/>
                <a:gd name="T72" fmla="*/ 7159 w 7429"/>
                <a:gd name="T73" fmla="*/ 4641 h 6644"/>
                <a:gd name="T74" fmla="*/ 7267 w 7429"/>
                <a:gd name="T75" fmla="*/ 4487 h 6644"/>
                <a:gd name="T76" fmla="*/ 7349 w 7429"/>
                <a:gd name="T77" fmla="*/ 4316 h 6644"/>
                <a:gd name="T78" fmla="*/ 7404 w 7429"/>
                <a:gd name="T79" fmla="*/ 4133 h 6644"/>
                <a:gd name="T80" fmla="*/ 7428 w 7429"/>
                <a:gd name="T81" fmla="*/ 3940 h 6644"/>
                <a:gd name="T82" fmla="*/ 7429 w 7429"/>
                <a:gd name="T83" fmla="*/ 1185 h 6644"/>
                <a:gd name="T84" fmla="*/ 7413 w 7429"/>
                <a:gd name="T85" fmla="*/ 988 h 6644"/>
                <a:gd name="T86" fmla="*/ 7343 w 7429"/>
                <a:gd name="T87" fmla="*/ 738 h 6644"/>
                <a:gd name="T88" fmla="*/ 7219 w 7429"/>
                <a:gd name="T89" fmla="*/ 511 h 6644"/>
                <a:gd name="T90" fmla="*/ 7047 w 7429"/>
                <a:gd name="T91" fmla="*/ 313 h 6644"/>
                <a:gd name="T92" fmla="*/ 6956 w 7429"/>
                <a:gd name="T93" fmla="*/ 238 h 6644"/>
                <a:gd name="T94" fmla="*/ 6782 w 7429"/>
                <a:gd name="T95" fmla="*/ 129 h 6644"/>
                <a:gd name="T96" fmla="*/ 6594 w 7429"/>
                <a:gd name="T97" fmla="*/ 53 h 6644"/>
                <a:gd name="T98" fmla="*/ 6396 w 7429"/>
                <a:gd name="T99" fmla="*/ 10 h 6644"/>
                <a:gd name="T100" fmla="*/ 6244 w 7429"/>
                <a:gd name="T101" fmla="*/ 0 h 6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429" h="6644">
                  <a:moveTo>
                    <a:pt x="6244" y="0"/>
                  </a:moveTo>
                  <a:lnTo>
                    <a:pt x="6187" y="1"/>
                  </a:lnTo>
                  <a:lnTo>
                    <a:pt x="6071" y="12"/>
                  </a:lnTo>
                  <a:lnTo>
                    <a:pt x="6013" y="23"/>
                  </a:lnTo>
                  <a:lnTo>
                    <a:pt x="5808" y="65"/>
                  </a:lnTo>
                  <a:lnTo>
                    <a:pt x="5398" y="163"/>
                  </a:lnTo>
                  <a:lnTo>
                    <a:pt x="4996" y="279"/>
                  </a:lnTo>
                  <a:lnTo>
                    <a:pt x="4597" y="411"/>
                  </a:lnTo>
                  <a:lnTo>
                    <a:pt x="4205" y="559"/>
                  </a:lnTo>
                  <a:lnTo>
                    <a:pt x="3819" y="723"/>
                  </a:lnTo>
                  <a:lnTo>
                    <a:pt x="3440" y="902"/>
                  </a:lnTo>
                  <a:lnTo>
                    <a:pt x="3069" y="1098"/>
                  </a:lnTo>
                  <a:lnTo>
                    <a:pt x="2706" y="1307"/>
                  </a:lnTo>
                  <a:lnTo>
                    <a:pt x="2350" y="1532"/>
                  </a:lnTo>
                  <a:lnTo>
                    <a:pt x="2005" y="1770"/>
                  </a:lnTo>
                  <a:lnTo>
                    <a:pt x="1670" y="2023"/>
                  </a:lnTo>
                  <a:lnTo>
                    <a:pt x="1344" y="2290"/>
                  </a:lnTo>
                  <a:lnTo>
                    <a:pt x="1030" y="2570"/>
                  </a:lnTo>
                  <a:lnTo>
                    <a:pt x="726" y="2863"/>
                  </a:lnTo>
                  <a:lnTo>
                    <a:pt x="434" y="3169"/>
                  </a:lnTo>
                  <a:lnTo>
                    <a:pt x="294" y="3327"/>
                  </a:lnTo>
                  <a:lnTo>
                    <a:pt x="252" y="3378"/>
                  </a:lnTo>
                  <a:lnTo>
                    <a:pt x="176" y="3486"/>
                  </a:lnTo>
                  <a:lnTo>
                    <a:pt x="115" y="3600"/>
                  </a:lnTo>
                  <a:lnTo>
                    <a:pt x="65" y="3720"/>
                  </a:lnTo>
                  <a:lnTo>
                    <a:pt x="29" y="3844"/>
                  </a:lnTo>
                  <a:lnTo>
                    <a:pt x="8" y="3972"/>
                  </a:lnTo>
                  <a:lnTo>
                    <a:pt x="0" y="4102"/>
                  </a:lnTo>
                  <a:lnTo>
                    <a:pt x="8" y="4233"/>
                  </a:lnTo>
                  <a:lnTo>
                    <a:pt x="18" y="4299"/>
                  </a:lnTo>
                  <a:lnTo>
                    <a:pt x="29" y="4365"/>
                  </a:lnTo>
                  <a:lnTo>
                    <a:pt x="65" y="4492"/>
                  </a:lnTo>
                  <a:lnTo>
                    <a:pt x="115" y="4613"/>
                  </a:lnTo>
                  <a:lnTo>
                    <a:pt x="176" y="4728"/>
                  </a:lnTo>
                  <a:lnTo>
                    <a:pt x="250" y="4833"/>
                  </a:lnTo>
                  <a:lnTo>
                    <a:pt x="335" y="4932"/>
                  </a:lnTo>
                  <a:lnTo>
                    <a:pt x="431" y="5020"/>
                  </a:lnTo>
                  <a:lnTo>
                    <a:pt x="537" y="5099"/>
                  </a:lnTo>
                  <a:lnTo>
                    <a:pt x="594" y="5133"/>
                  </a:lnTo>
                  <a:lnTo>
                    <a:pt x="2935" y="6485"/>
                  </a:lnTo>
                  <a:lnTo>
                    <a:pt x="2978" y="6509"/>
                  </a:lnTo>
                  <a:lnTo>
                    <a:pt x="3067" y="6551"/>
                  </a:lnTo>
                  <a:lnTo>
                    <a:pt x="3157" y="6584"/>
                  </a:lnTo>
                  <a:lnTo>
                    <a:pt x="3250" y="6610"/>
                  </a:lnTo>
                  <a:lnTo>
                    <a:pt x="3343" y="6630"/>
                  </a:lnTo>
                  <a:lnTo>
                    <a:pt x="3438" y="6640"/>
                  </a:lnTo>
                  <a:lnTo>
                    <a:pt x="3532" y="6644"/>
                  </a:lnTo>
                  <a:lnTo>
                    <a:pt x="3626" y="6640"/>
                  </a:lnTo>
                  <a:lnTo>
                    <a:pt x="3720" y="6629"/>
                  </a:lnTo>
                  <a:lnTo>
                    <a:pt x="3812" y="6610"/>
                  </a:lnTo>
                  <a:lnTo>
                    <a:pt x="3903" y="6584"/>
                  </a:lnTo>
                  <a:lnTo>
                    <a:pt x="3991" y="6552"/>
                  </a:lnTo>
                  <a:lnTo>
                    <a:pt x="4078" y="6511"/>
                  </a:lnTo>
                  <a:lnTo>
                    <a:pt x="4160" y="6463"/>
                  </a:lnTo>
                  <a:lnTo>
                    <a:pt x="4240" y="6409"/>
                  </a:lnTo>
                  <a:lnTo>
                    <a:pt x="4314" y="6348"/>
                  </a:lnTo>
                  <a:lnTo>
                    <a:pt x="4350" y="6314"/>
                  </a:lnTo>
                  <a:lnTo>
                    <a:pt x="4467" y="6203"/>
                  </a:lnTo>
                  <a:lnTo>
                    <a:pt x="4714" y="5991"/>
                  </a:lnTo>
                  <a:lnTo>
                    <a:pt x="4972" y="5797"/>
                  </a:lnTo>
                  <a:lnTo>
                    <a:pt x="5241" y="5618"/>
                  </a:lnTo>
                  <a:lnTo>
                    <a:pt x="5520" y="5456"/>
                  </a:lnTo>
                  <a:lnTo>
                    <a:pt x="5809" y="5311"/>
                  </a:lnTo>
                  <a:lnTo>
                    <a:pt x="6106" y="5184"/>
                  </a:lnTo>
                  <a:lnTo>
                    <a:pt x="6410" y="5078"/>
                  </a:lnTo>
                  <a:lnTo>
                    <a:pt x="6565" y="5031"/>
                  </a:lnTo>
                  <a:lnTo>
                    <a:pt x="6612" y="5017"/>
                  </a:lnTo>
                  <a:lnTo>
                    <a:pt x="6704" y="4983"/>
                  </a:lnTo>
                  <a:lnTo>
                    <a:pt x="6792" y="4941"/>
                  </a:lnTo>
                  <a:lnTo>
                    <a:pt x="6875" y="4893"/>
                  </a:lnTo>
                  <a:lnTo>
                    <a:pt x="6954" y="4838"/>
                  </a:lnTo>
                  <a:lnTo>
                    <a:pt x="7027" y="4778"/>
                  </a:lnTo>
                  <a:lnTo>
                    <a:pt x="7095" y="4713"/>
                  </a:lnTo>
                  <a:lnTo>
                    <a:pt x="7159" y="4641"/>
                  </a:lnTo>
                  <a:lnTo>
                    <a:pt x="7216" y="4566"/>
                  </a:lnTo>
                  <a:lnTo>
                    <a:pt x="7267" y="4487"/>
                  </a:lnTo>
                  <a:lnTo>
                    <a:pt x="7311" y="4403"/>
                  </a:lnTo>
                  <a:lnTo>
                    <a:pt x="7349" y="4316"/>
                  </a:lnTo>
                  <a:lnTo>
                    <a:pt x="7380" y="4225"/>
                  </a:lnTo>
                  <a:lnTo>
                    <a:pt x="7404" y="4133"/>
                  </a:lnTo>
                  <a:lnTo>
                    <a:pt x="7420" y="4037"/>
                  </a:lnTo>
                  <a:lnTo>
                    <a:pt x="7428" y="3940"/>
                  </a:lnTo>
                  <a:lnTo>
                    <a:pt x="7429" y="3891"/>
                  </a:lnTo>
                  <a:lnTo>
                    <a:pt x="7429" y="1185"/>
                  </a:lnTo>
                  <a:lnTo>
                    <a:pt x="7428" y="1119"/>
                  </a:lnTo>
                  <a:lnTo>
                    <a:pt x="7413" y="988"/>
                  </a:lnTo>
                  <a:lnTo>
                    <a:pt x="7385" y="861"/>
                  </a:lnTo>
                  <a:lnTo>
                    <a:pt x="7343" y="738"/>
                  </a:lnTo>
                  <a:lnTo>
                    <a:pt x="7286" y="621"/>
                  </a:lnTo>
                  <a:lnTo>
                    <a:pt x="7219" y="511"/>
                  </a:lnTo>
                  <a:lnTo>
                    <a:pt x="7138" y="407"/>
                  </a:lnTo>
                  <a:lnTo>
                    <a:pt x="7047" y="313"/>
                  </a:lnTo>
                  <a:lnTo>
                    <a:pt x="6996" y="270"/>
                  </a:lnTo>
                  <a:lnTo>
                    <a:pt x="6956" y="238"/>
                  </a:lnTo>
                  <a:lnTo>
                    <a:pt x="6871" y="180"/>
                  </a:lnTo>
                  <a:lnTo>
                    <a:pt x="6782" y="129"/>
                  </a:lnTo>
                  <a:lnTo>
                    <a:pt x="6689" y="87"/>
                  </a:lnTo>
                  <a:lnTo>
                    <a:pt x="6594" y="53"/>
                  </a:lnTo>
                  <a:lnTo>
                    <a:pt x="6496" y="27"/>
                  </a:lnTo>
                  <a:lnTo>
                    <a:pt x="6396" y="10"/>
                  </a:lnTo>
                  <a:lnTo>
                    <a:pt x="6295" y="1"/>
                  </a:lnTo>
                  <a:lnTo>
                    <a:pt x="6244" y="0"/>
                  </a:lnTo>
                  <a:lnTo>
                    <a:pt x="624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B6C6C346-E244-46EF-A0FA-786F8BF9F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075" y="4385896"/>
              <a:ext cx="1741981" cy="1558986"/>
            </a:xfrm>
            <a:custGeom>
              <a:avLst/>
              <a:gdLst>
                <a:gd name="T0" fmla="*/ 2961 w 7427"/>
                <a:gd name="T1" fmla="*/ 441 h 6644"/>
                <a:gd name="T2" fmla="*/ 2457 w 7427"/>
                <a:gd name="T3" fmla="*/ 847 h 6644"/>
                <a:gd name="T4" fmla="*/ 1908 w 7427"/>
                <a:gd name="T5" fmla="*/ 1188 h 6644"/>
                <a:gd name="T6" fmla="*/ 1322 w 7427"/>
                <a:gd name="T7" fmla="*/ 1460 h 6644"/>
                <a:gd name="T8" fmla="*/ 863 w 7427"/>
                <a:gd name="T9" fmla="*/ 1613 h 6644"/>
                <a:gd name="T10" fmla="*/ 725 w 7427"/>
                <a:gd name="T11" fmla="*/ 1662 h 6644"/>
                <a:gd name="T12" fmla="*/ 554 w 7427"/>
                <a:gd name="T13" fmla="*/ 1751 h 6644"/>
                <a:gd name="T14" fmla="*/ 402 w 7427"/>
                <a:gd name="T15" fmla="*/ 1866 h 6644"/>
                <a:gd name="T16" fmla="*/ 270 w 7427"/>
                <a:gd name="T17" fmla="*/ 2003 h 6644"/>
                <a:gd name="T18" fmla="*/ 162 w 7427"/>
                <a:gd name="T19" fmla="*/ 2157 h 6644"/>
                <a:gd name="T20" fmla="*/ 80 w 7427"/>
                <a:gd name="T21" fmla="*/ 2328 h 6644"/>
                <a:gd name="T22" fmla="*/ 25 w 7427"/>
                <a:gd name="T23" fmla="*/ 2512 h 6644"/>
                <a:gd name="T24" fmla="*/ 1 w 7427"/>
                <a:gd name="T25" fmla="*/ 2704 h 6644"/>
                <a:gd name="T26" fmla="*/ 0 w 7427"/>
                <a:gd name="T27" fmla="*/ 5459 h 6644"/>
                <a:gd name="T28" fmla="*/ 16 w 7427"/>
                <a:gd name="T29" fmla="*/ 5656 h 6644"/>
                <a:gd name="T30" fmla="*/ 86 w 7427"/>
                <a:gd name="T31" fmla="*/ 5906 h 6644"/>
                <a:gd name="T32" fmla="*/ 209 w 7427"/>
                <a:gd name="T33" fmla="*/ 6133 h 6644"/>
                <a:gd name="T34" fmla="*/ 381 w 7427"/>
                <a:gd name="T35" fmla="*/ 6331 h 6644"/>
                <a:gd name="T36" fmla="*/ 485 w 7427"/>
                <a:gd name="T37" fmla="*/ 6415 h 6644"/>
                <a:gd name="T38" fmla="*/ 712 w 7427"/>
                <a:gd name="T39" fmla="*/ 6546 h 6644"/>
                <a:gd name="T40" fmla="*/ 959 w 7427"/>
                <a:gd name="T41" fmla="*/ 6623 h 6644"/>
                <a:gd name="T42" fmla="*/ 1218 w 7427"/>
                <a:gd name="T43" fmla="*/ 6644 h 6644"/>
                <a:gd name="T44" fmla="*/ 1416 w 7427"/>
                <a:gd name="T45" fmla="*/ 6621 h 6644"/>
                <a:gd name="T46" fmla="*/ 2029 w 7427"/>
                <a:gd name="T47" fmla="*/ 6481 h 6644"/>
                <a:gd name="T48" fmla="*/ 2832 w 7427"/>
                <a:gd name="T49" fmla="*/ 6233 h 6644"/>
                <a:gd name="T50" fmla="*/ 3609 w 7427"/>
                <a:gd name="T51" fmla="*/ 5921 h 6644"/>
                <a:gd name="T52" fmla="*/ 4360 w 7427"/>
                <a:gd name="T53" fmla="*/ 5547 h 6644"/>
                <a:gd name="T54" fmla="*/ 5077 w 7427"/>
                <a:gd name="T55" fmla="*/ 5112 h 6644"/>
                <a:gd name="T56" fmla="*/ 5759 w 7427"/>
                <a:gd name="T57" fmla="*/ 4621 h 6644"/>
                <a:gd name="T58" fmla="*/ 6399 w 7427"/>
                <a:gd name="T59" fmla="*/ 4074 h 6644"/>
                <a:gd name="T60" fmla="*/ 6993 w 7427"/>
                <a:gd name="T61" fmla="*/ 3475 h 6644"/>
                <a:gd name="T62" fmla="*/ 7177 w 7427"/>
                <a:gd name="T63" fmla="*/ 3267 h 6644"/>
                <a:gd name="T64" fmla="*/ 7314 w 7427"/>
                <a:gd name="T65" fmla="*/ 3044 h 6644"/>
                <a:gd name="T66" fmla="*/ 7398 w 7427"/>
                <a:gd name="T67" fmla="*/ 2800 h 6644"/>
                <a:gd name="T68" fmla="*/ 7427 w 7427"/>
                <a:gd name="T69" fmla="*/ 2542 h 6644"/>
                <a:gd name="T70" fmla="*/ 7411 w 7427"/>
                <a:gd name="T71" fmla="*/ 2345 h 6644"/>
                <a:gd name="T72" fmla="*/ 7364 w 7427"/>
                <a:gd name="T73" fmla="*/ 2152 h 6644"/>
                <a:gd name="T74" fmla="*/ 7252 w 7427"/>
                <a:gd name="T75" fmla="*/ 1916 h 6644"/>
                <a:gd name="T76" fmla="*/ 7094 w 7427"/>
                <a:gd name="T77" fmla="*/ 1712 h 6644"/>
                <a:gd name="T78" fmla="*/ 6891 w 7427"/>
                <a:gd name="T79" fmla="*/ 1545 h 6644"/>
                <a:gd name="T80" fmla="*/ 4493 w 7427"/>
                <a:gd name="T81" fmla="*/ 159 h 6644"/>
                <a:gd name="T82" fmla="*/ 4362 w 7427"/>
                <a:gd name="T83" fmla="*/ 93 h 6644"/>
                <a:gd name="T84" fmla="*/ 4179 w 7427"/>
                <a:gd name="T85" fmla="*/ 34 h 6644"/>
                <a:gd name="T86" fmla="*/ 3991 w 7427"/>
                <a:gd name="T87" fmla="*/ 4 h 6644"/>
                <a:gd name="T88" fmla="*/ 3802 w 7427"/>
                <a:gd name="T89" fmla="*/ 4 h 6644"/>
                <a:gd name="T90" fmla="*/ 3616 w 7427"/>
                <a:gd name="T91" fmla="*/ 34 h 6644"/>
                <a:gd name="T92" fmla="*/ 3437 w 7427"/>
                <a:gd name="T93" fmla="*/ 92 h 6644"/>
                <a:gd name="T94" fmla="*/ 3268 w 7427"/>
                <a:gd name="T95" fmla="*/ 181 h 6644"/>
                <a:gd name="T96" fmla="*/ 3115 w 7427"/>
                <a:gd name="T97" fmla="*/ 296 h 6644"/>
                <a:gd name="T98" fmla="*/ 3079 w 7427"/>
                <a:gd name="T99" fmla="*/ 330 h 6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427" h="6644">
                  <a:moveTo>
                    <a:pt x="3079" y="330"/>
                  </a:moveTo>
                  <a:lnTo>
                    <a:pt x="2961" y="441"/>
                  </a:lnTo>
                  <a:lnTo>
                    <a:pt x="2715" y="653"/>
                  </a:lnTo>
                  <a:lnTo>
                    <a:pt x="2457" y="847"/>
                  </a:lnTo>
                  <a:lnTo>
                    <a:pt x="2188" y="1026"/>
                  </a:lnTo>
                  <a:lnTo>
                    <a:pt x="1908" y="1188"/>
                  </a:lnTo>
                  <a:lnTo>
                    <a:pt x="1619" y="1333"/>
                  </a:lnTo>
                  <a:lnTo>
                    <a:pt x="1322" y="1460"/>
                  </a:lnTo>
                  <a:lnTo>
                    <a:pt x="1018" y="1567"/>
                  </a:lnTo>
                  <a:lnTo>
                    <a:pt x="863" y="1613"/>
                  </a:lnTo>
                  <a:lnTo>
                    <a:pt x="815" y="1627"/>
                  </a:lnTo>
                  <a:lnTo>
                    <a:pt x="725" y="1662"/>
                  </a:lnTo>
                  <a:lnTo>
                    <a:pt x="637" y="1703"/>
                  </a:lnTo>
                  <a:lnTo>
                    <a:pt x="554" y="1751"/>
                  </a:lnTo>
                  <a:lnTo>
                    <a:pt x="475" y="1806"/>
                  </a:lnTo>
                  <a:lnTo>
                    <a:pt x="402" y="1866"/>
                  </a:lnTo>
                  <a:lnTo>
                    <a:pt x="332" y="1932"/>
                  </a:lnTo>
                  <a:lnTo>
                    <a:pt x="270" y="2003"/>
                  </a:lnTo>
                  <a:lnTo>
                    <a:pt x="213" y="2078"/>
                  </a:lnTo>
                  <a:lnTo>
                    <a:pt x="162" y="2157"/>
                  </a:lnTo>
                  <a:lnTo>
                    <a:pt x="118" y="2242"/>
                  </a:lnTo>
                  <a:lnTo>
                    <a:pt x="80" y="2328"/>
                  </a:lnTo>
                  <a:lnTo>
                    <a:pt x="48" y="2419"/>
                  </a:lnTo>
                  <a:lnTo>
                    <a:pt x="25" y="2512"/>
                  </a:lnTo>
                  <a:lnTo>
                    <a:pt x="8" y="2607"/>
                  </a:lnTo>
                  <a:lnTo>
                    <a:pt x="1" y="2704"/>
                  </a:lnTo>
                  <a:lnTo>
                    <a:pt x="0" y="2753"/>
                  </a:lnTo>
                  <a:lnTo>
                    <a:pt x="0" y="5459"/>
                  </a:lnTo>
                  <a:lnTo>
                    <a:pt x="1" y="5525"/>
                  </a:lnTo>
                  <a:lnTo>
                    <a:pt x="16" y="5656"/>
                  </a:lnTo>
                  <a:lnTo>
                    <a:pt x="44" y="5783"/>
                  </a:lnTo>
                  <a:lnTo>
                    <a:pt x="86" y="5906"/>
                  </a:lnTo>
                  <a:lnTo>
                    <a:pt x="141" y="6023"/>
                  </a:lnTo>
                  <a:lnTo>
                    <a:pt x="209" y="6133"/>
                  </a:lnTo>
                  <a:lnTo>
                    <a:pt x="289" y="6237"/>
                  </a:lnTo>
                  <a:lnTo>
                    <a:pt x="381" y="6331"/>
                  </a:lnTo>
                  <a:lnTo>
                    <a:pt x="432" y="6374"/>
                  </a:lnTo>
                  <a:lnTo>
                    <a:pt x="485" y="6415"/>
                  </a:lnTo>
                  <a:lnTo>
                    <a:pt x="595" y="6487"/>
                  </a:lnTo>
                  <a:lnTo>
                    <a:pt x="712" y="6546"/>
                  </a:lnTo>
                  <a:lnTo>
                    <a:pt x="834" y="6591"/>
                  </a:lnTo>
                  <a:lnTo>
                    <a:pt x="959" y="6623"/>
                  </a:lnTo>
                  <a:lnTo>
                    <a:pt x="1087" y="6641"/>
                  </a:lnTo>
                  <a:lnTo>
                    <a:pt x="1218" y="6644"/>
                  </a:lnTo>
                  <a:lnTo>
                    <a:pt x="1350" y="6633"/>
                  </a:lnTo>
                  <a:lnTo>
                    <a:pt x="1416" y="6621"/>
                  </a:lnTo>
                  <a:lnTo>
                    <a:pt x="1621" y="6579"/>
                  </a:lnTo>
                  <a:lnTo>
                    <a:pt x="2029" y="6481"/>
                  </a:lnTo>
                  <a:lnTo>
                    <a:pt x="2433" y="6365"/>
                  </a:lnTo>
                  <a:lnTo>
                    <a:pt x="2832" y="6233"/>
                  </a:lnTo>
                  <a:lnTo>
                    <a:pt x="3224" y="6085"/>
                  </a:lnTo>
                  <a:lnTo>
                    <a:pt x="3609" y="5921"/>
                  </a:lnTo>
                  <a:lnTo>
                    <a:pt x="3988" y="5741"/>
                  </a:lnTo>
                  <a:lnTo>
                    <a:pt x="4360" y="5547"/>
                  </a:lnTo>
                  <a:lnTo>
                    <a:pt x="4723" y="5337"/>
                  </a:lnTo>
                  <a:lnTo>
                    <a:pt x="5077" y="5112"/>
                  </a:lnTo>
                  <a:lnTo>
                    <a:pt x="5423" y="4874"/>
                  </a:lnTo>
                  <a:lnTo>
                    <a:pt x="5759" y="4621"/>
                  </a:lnTo>
                  <a:lnTo>
                    <a:pt x="6084" y="4354"/>
                  </a:lnTo>
                  <a:lnTo>
                    <a:pt x="6399" y="4074"/>
                  </a:lnTo>
                  <a:lnTo>
                    <a:pt x="6703" y="3781"/>
                  </a:lnTo>
                  <a:lnTo>
                    <a:pt x="6993" y="3475"/>
                  </a:lnTo>
                  <a:lnTo>
                    <a:pt x="7134" y="3317"/>
                  </a:lnTo>
                  <a:lnTo>
                    <a:pt x="7177" y="3267"/>
                  </a:lnTo>
                  <a:lnTo>
                    <a:pt x="7252" y="3159"/>
                  </a:lnTo>
                  <a:lnTo>
                    <a:pt x="7314" y="3044"/>
                  </a:lnTo>
                  <a:lnTo>
                    <a:pt x="7364" y="2924"/>
                  </a:lnTo>
                  <a:lnTo>
                    <a:pt x="7398" y="2800"/>
                  </a:lnTo>
                  <a:lnTo>
                    <a:pt x="7420" y="2672"/>
                  </a:lnTo>
                  <a:lnTo>
                    <a:pt x="7427" y="2542"/>
                  </a:lnTo>
                  <a:lnTo>
                    <a:pt x="7421" y="2411"/>
                  </a:lnTo>
                  <a:lnTo>
                    <a:pt x="7411" y="2345"/>
                  </a:lnTo>
                  <a:lnTo>
                    <a:pt x="7399" y="2279"/>
                  </a:lnTo>
                  <a:lnTo>
                    <a:pt x="7364" y="2152"/>
                  </a:lnTo>
                  <a:lnTo>
                    <a:pt x="7314" y="2031"/>
                  </a:lnTo>
                  <a:lnTo>
                    <a:pt x="7252" y="1916"/>
                  </a:lnTo>
                  <a:lnTo>
                    <a:pt x="7179" y="1811"/>
                  </a:lnTo>
                  <a:lnTo>
                    <a:pt x="7094" y="1712"/>
                  </a:lnTo>
                  <a:lnTo>
                    <a:pt x="6997" y="1624"/>
                  </a:lnTo>
                  <a:lnTo>
                    <a:pt x="6891" y="1545"/>
                  </a:lnTo>
                  <a:lnTo>
                    <a:pt x="6834" y="1511"/>
                  </a:lnTo>
                  <a:lnTo>
                    <a:pt x="4493" y="159"/>
                  </a:lnTo>
                  <a:lnTo>
                    <a:pt x="4450" y="135"/>
                  </a:lnTo>
                  <a:lnTo>
                    <a:pt x="4362" y="93"/>
                  </a:lnTo>
                  <a:lnTo>
                    <a:pt x="4271" y="60"/>
                  </a:lnTo>
                  <a:lnTo>
                    <a:pt x="4179" y="34"/>
                  </a:lnTo>
                  <a:lnTo>
                    <a:pt x="4086" y="14"/>
                  </a:lnTo>
                  <a:lnTo>
                    <a:pt x="3991" y="4"/>
                  </a:lnTo>
                  <a:lnTo>
                    <a:pt x="3897" y="0"/>
                  </a:lnTo>
                  <a:lnTo>
                    <a:pt x="3802" y="4"/>
                  </a:lnTo>
                  <a:lnTo>
                    <a:pt x="3709" y="16"/>
                  </a:lnTo>
                  <a:lnTo>
                    <a:pt x="3616" y="34"/>
                  </a:lnTo>
                  <a:lnTo>
                    <a:pt x="3525" y="60"/>
                  </a:lnTo>
                  <a:lnTo>
                    <a:pt x="3437" y="92"/>
                  </a:lnTo>
                  <a:lnTo>
                    <a:pt x="3351" y="133"/>
                  </a:lnTo>
                  <a:lnTo>
                    <a:pt x="3268" y="181"/>
                  </a:lnTo>
                  <a:lnTo>
                    <a:pt x="3189" y="235"/>
                  </a:lnTo>
                  <a:lnTo>
                    <a:pt x="3115" y="296"/>
                  </a:lnTo>
                  <a:lnTo>
                    <a:pt x="3079" y="330"/>
                  </a:lnTo>
                  <a:lnTo>
                    <a:pt x="3079" y="3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>
              <a:extLst>
                <a:ext uri="{FF2B5EF4-FFF2-40B4-BE49-F238E27FC236}">
                  <a16:creationId xmlns:a16="http://schemas.microsoft.com/office/drawing/2014/main" id="{AB5FC855-8F86-4622-A307-944EBF31A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773" y="4385896"/>
              <a:ext cx="1743154" cy="1558986"/>
            </a:xfrm>
            <a:custGeom>
              <a:avLst/>
              <a:gdLst>
                <a:gd name="T0" fmla="*/ 3454 w 7429"/>
                <a:gd name="T1" fmla="*/ 2 h 6644"/>
                <a:gd name="T2" fmla="*/ 3151 w 7429"/>
                <a:gd name="T3" fmla="*/ 61 h 6644"/>
                <a:gd name="T4" fmla="*/ 2935 w 7429"/>
                <a:gd name="T5" fmla="*/ 159 h 6644"/>
                <a:gd name="T6" fmla="*/ 537 w 7429"/>
                <a:gd name="T7" fmla="*/ 1545 h 6644"/>
                <a:gd name="T8" fmla="*/ 335 w 7429"/>
                <a:gd name="T9" fmla="*/ 1712 h 6644"/>
                <a:gd name="T10" fmla="*/ 176 w 7429"/>
                <a:gd name="T11" fmla="*/ 1916 h 6644"/>
                <a:gd name="T12" fmla="*/ 65 w 7429"/>
                <a:gd name="T13" fmla="*/ 2152 h 6644"/>
                <a:gd name="T14" fmla="*/ 18 w 7429"/>
                <a:gd name="T15" fmla="*/ 2345 h 6644"/>
                <a:gd name="T16" fmla="*/ 0 w 7429"/>
                <a:gd name="T17" fmla="*/ 2542 h 6644"/>
                <a:gd name="T18" fmla="*/ 29 w 7429"/>
                <a:gd name="T19" fmla="*/ 2800 h 6644"/>
                <a:gd name="T20" fmla="*/ 115 w 7429"/>
                <a:gd name="T21" fmla="*/ 3044 h 6644"/>
                <a:gd name="T22" fmla="*/ 252 w 7429"/>
                <a:gd name="T23" fmla="*/ 3267 h 6644"/>
                <a:gd name="T24" fmla="*/ 434 w 7429"/>
                <a:gd name="T25" fmla="*/ 3475 h 6644"/>
                <a:gd name="T26" fmla="*/ 1030 w 7429"/>
                <a:gd name="T27" fmla="*/ 4074 h 6644"/>
                <a:gd name="T28" fmla="*/ 1670 w 7429"/>
                <a:gd name="T29" fmla="*/ 4621 h 6644"/>
                <a:gd name="T30" fmla="*/ 2350 w 7429"/>
                <a:gd name="T31" fmla="*/ 5112 h 6644"/>
                <a:gd name="T32" fmla="*/ 3069 w 7429"/>
                <a:gd name="T33" fmla="*/ 5547 h 6644"/>
                <a:gd name="T34" fmla="*/ 3819 w 7429"/>
                <a:gd name="T35" fmla="*/ 5921 h 6644"/>
                <a:gd name="T36" fmla="*/ 4597 w 7429"/>
                <a:gd name="T37" fmla="*/ 6233 h 6644"/>
                <a:gd name="T38" fmla="*/ 5398 w 7429"/>
                <a:gd name="T39" fmla="*/ 6481 h 6644"/>
                <a:gd name="T40" fmla="*/ 6013 w 7429"/>
                <a:gd name="T41" fmla="*/ 6621 h 6644"/>
                <a:gd name="T42" fmla="*/ 6211 w 7429"/>
                <a:gd name="T43" fmla="*/ 6644 h 6644"/>
                <a:gd name="T44" fmla="*/ 6470 w 7429"/>
                <a:gd name="T45" fmla="*/ 6623 h 6644"/>
                <a:gd name="T46" fmla="*/ 6717 w 7429"/>
                <a:gd name="T47" fmla="*/ 6546 h 6644"/>
                <a:gd name="T48" fmla="*/ 6944 w 7429"/>
                <a:gd name="T49" fmla="*/ 6415 h 6644"/>
                <a:gd name="T50" fmla="*/ 7047 w 7429"/>
                <a:gd name="T51" fmla="*/ 6331 h 6644"/>
                <a:gd name="T52" fmla="*/ 7219 w 7429"/>
                <a:gd name="T53" fmla="*/ 6133 h 6644"/>
                <a:gd name="T54" fmla="*/ 7343 w 7429"/>
                <a:gd name="T55" fmla="*/ 5906 h 6644"/>
                <a:gd name="T56" fmla="*/ 7413 w 7429"/>
                <a:gd name="T57" fmla="*/ 5656 h 6644"/>
                <a:gd name="T58" fmla="*/ 7429 w 7429"/>
                <a:gd name="T59" fmla="*/ 5459 h 6644"/>
                <a:gd name="T60" fmla="*/ 7428 w 7429"/>
                <a:gd name="T61" fmla="*/ 2704 h 6644"/>
                <a:gd name="T62" fmla="*/ 7404 w 7429"/>
                <a:gd name="T63" fmla="*/ 2512 h 6644"/>
                <a:gd name="T64" fmla="*/ 7349 w 7429"/>
                <a:gd name="T65" fmla="*/ 2328 h 6644"/>
                <a:gd name="T66" fmla="*/ 7267 w 7429"/>
                <a:gd name="T67" fmla="*/ 2157 h 6644"/>
                <a:gd name="T68" fmla="*/ 7159 w 7429"/>
                <a:gd name="T69" fmla="*/ 2003 h 6644"/>
                <a:gd name="T70" fmla="*/ 7027 w 7429"/>
                <a:gd name="T71" fmla="*/ 1866 h 6644"/>
                <a:gd name="T72" fmla="*/ 6875 w 7429"/>
                <a:gd name="T73" fmla="*/ 1751 h 6644"/>
                <a:gd name="T74" fmla="*/ 6704 w 7429"/>
                <a:gd name="T75" fmla="*/ 1662 h 6644"/>
                <a:gd name="T76" fmla="*/ 6565 w 7429"/>
                <a:gd name="T77" fmla="*/ 1613 h 6644"/>
                <a:gd name="T78" fmla="*/ 6106 w 7429"/>
                <a:gd name="T79" fmla="*/ 1460 h 6644"/>
                <a:gd name="T80" fmla="*/ 5520 w 7429"/>
                <a:gd name="T81" fmla="*/ 1188 h 6644"/>
                <a:gd name="T82" fmla="*/ 4972 w 7429"/>
                <a:gd name="T83" fmla="*/ 847 h 6644"/>
                <a:gd name="T84" fmla="*/ 4467 w 7429"/>
                <a:gd name="T85" fmla="*/ 441 h 6644"/>
                <a:gd name="T86" fmla="*/ 4308 w 7429"/>
                <a:gd name="T87" fmla="*/ 290 h 6644"/>
                <a:gd name="T88" fmla="*/ 4121 w 7429"/>
                <a:gd name="T89" fmla="*/ 157 h 6644"/>
                <a:gd name="T90" fmla="*/ 3917 w 7429"/>
                <a:gd name="T91" fmla="*/ 64 h 6644"/>
                <a:gd name="T92" fmla="*/ 3698 w 7429"/>
                <a:gd name="T93" fmla="*/ 12 h 6644"/>
                <a:gd name="T94" fmla="*/ 3530 w 7429"/>
                <a:gd name="T95" fmla="*/ 0 h 6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29" h="6644">
                  <a:moveTo>
                    <a:pt x="3530" y="0"/>
                  </a:moveTo>
                  <a:lnTo>
                    <a:pt x="3454" y="2"/>
                  </a:lnTo>
                  <a:lnTo>
                    <a:pt x="3301" y="22"/>
                  </a:lnTo>
                  <a:lnTo>
                    <a:pt x="3151" y="61"/>
                  </a:lnTo>
                  <a:lnTo>
                    <a:pt x="3005" y="121"/>
                  </a:lnTo>
                  <a:lnTo>
                    <a:pt x="2935" y="159"/>
                  </a:lnTo>
                  <a:lnTo>
                    <a:pt x="594" y="1511"/>
                  </a:lnTo>
                  <a:lnTo>
                    <a:pt x="537" y="1545"/>
                  </a:lnTo>
                  <a:lnTo>
                    <a:pt x="431" y="1624"/>
                  </a:lnTo>
                  <a:lnTo>
                    <a:pt x="335" y="1712"/>
                  </a:lnTo>
                  <a:lnTo>
                    <a:pt x="250" y="1811"/>
                  </a:lnTo>
                  <a:lnTo>
                    <a:pt x="176" y="1916"/>
                  </a:lnTo>
                  <a:lnTo>
                    <a:pt x="115" y="2031"/>
                  </a:lnTo>
                  <a:lnTo>
                    <a:pt x="65" y="2152"/>
                  </a:lnTo>
                  <a:lnTo>
                    <a:pt x="29" y="2279"/>
                  </a:lnTo>
                  <a:lnTo>
                    <a:pt x="18" y="2345"/>
                  </a:lnTo>
                  <a:lnTo>
                    <a:pt x="8" y="2411"/>
                  </a:lnTo>
                  <a:lnTo>
                    <a:pt x="0" y="2542"/>
                  </a:lnTo>
                  <a:lnTo>
                    <a:pt x="8" y="2672"/>
                  </a:lnTo>
                  <a:lnTo>
                    <a:pt x="29" y="2800"/>
                  </a:lnTo>
                  <a:lnTo>
                    <a:pt x="65" y="2924"/>
                  </a:lnTo>
                  <a:lnTo>
                    <a:pt x="115" y="3044"/>
                  </a:lnTo>
                  <a:lnTo>
                    <a:pt x="176" y="3159"/>
                  </a:lnTo>
                  <a:lnTo>
                    <a:pt x="252" y="3267"/>
                  </a:lnTo>
                  <a:lnTo>
                    <a:pt x="294" y="3317"/>
                  </a:lnTo>
                  <a:lnTo>
                    <a:pt x="434" y="3475"/>
                  </a:lnTo>
                  <a:lnTo>
                    <a:pt x="726" y="3781"/>
                  </a:lnTo>
                  <a:lnTo>
                    <a:pt x="1030" y="4074"/>
                  </a:lnTo>
                  <a:lnTo>
                    <a:pt x="1344" y="4354"/>
                  </a:lnTo>
                  <a:lnTo>
                    <a:pt x="1670" y="4621"/>
                  </a:lnTo>
                  <a:lnTo>
                    <a:pt x="2005" y="4874"/>
                  </a:lnTo>
                  <a:lnTo>
                    <a:pt x="2350" y="5112"/>
                  </a:lnTo>
                  <a:lnTo>
                    <a:pt x="2706" y="5337"/>
                  </a:lnTo>
                  <a:lnTo>
                    <a:pt x="3069" y="5547"/>
                  </a:lnTo>
                  <a:lnTo>
                    <a:pt x="3440" y="5741"/>
                  </a:lnTo>
                  <a:lnTo>
                    <a:pt x="3819" y="5921"/>
                  </a:lnTo>
                  <a:lnTo>
                    <a:pt x="4205" y="6085"/>
                  </a:lnTo>
                  <a:lnTo>
                    <a:pt x="4597" y="6233"/>
                  </a:lnTo>
                  <a:lnTo>
                    <a:pt x="4996" y="6365"/>
                  </a:lnTo>
                  <a:lnTo>
                    <a:pt x="5398" y="6481"/>
                  </a:lnTo>
                  <a:lnTo>
                    <a:pt x="5808" y="6579"/>
                  </a:lnTo>
                  <a:lnTo>
                    <a:pt x="6013" y="6621"/>
                  </a:lnTo>
                  <a:lnTo>
                    <a:pt x="6079" y="6633"/>
                  </a:lnTo>
                  <a:lnTo>
                    <a:pt x="6211" y="6644"/>
                  </a:lnTo>
                  <a:lnTo>
                    <a:pt x="6341" y="6641"/>
                  </a:lnTo>
                  <a:lnTo>
                    <a:pt x="6470" y="6623"/>
                  </a:lnTo>
                  <a:lnTo>
                    <a:pt x="6595" y="6591"/>
                  </a:lnTo>
                  <a:lnTo>
                    <a:pt x="6717" y="6546"/>
                  </a:lnTo>
                  <a:lnTo>
                    <a:pt x="6834" y="6487"/>
                  </a:lnTo>
                  <a:lnTo>
                    <a:pt x="6944" y="6415"/>
                  </a:lnTo>
                  <a:lnTo>
                    <a:pt x="6996" y="6374"/>
                  </a:lnTo>
                  <a:lnTo>
                    <a:pt x="7047" y="6331"/>
                  </a:lnTo>
                  <a:lnTo>
                    <a:pt x="7138" y="6237"/>
                  </a:lnTo>
                  <a:lnTo>
                    <a:pt x="7219" y="6133"/>
                  </a:lnTo>
                  <a:lnTo>
                    <a:pt x="7286" y="6023"/>
                  </a:lnTo>
                  <a:lnTo>
                    <a:pt x="7343" y="5906"/>
                  </a:lnTo>
                  <a:lnTo>
                    <a:pt x="7385" y="5783"/>
                  </a:lnTo>
                  <a:lnTo>
                    <a:pt x="7413" y="5656"/>
                  </a:lnTo>
                  <a:lnTo>
                    <a:pt x="7428" y="5525"/>
                  </a:lnTo>
                  <a:lnTo>
                    <a:pt x="7429" y="5459"/>
                  </a:lnTo>
                  <a:lnTo>
                    <a:pt x="7429" y="2753"/>
                  </a:lnTo>
                  <a:lnTo>
                    <a:pt x="7428" y="2704"/>
                  </a:lnTo>
                  <a:lnTo>
                    <a:pt x="7420" y="2607"/>
                  </a:lnTo>
                  <a:lnTo>
                    <a:pt x="7404" y="2512"/>
                  </a:lnTo>
                  <a:lnTo>
                    <a:pt x="7380" y="2419"/>
                  </a:lnTo>
                  <a:lnTo>
                    <a:pt x="7349" y="2328"/>
                  </a:lnTo>
                  <a:lnTo>
                    <a:pt x="7311" y="2242"/>
                  </a:lnTo>
                  <a:lnTo>
                    <a:pt x="7267" y="2157"/>
                  </a:lnTo>
                  <a:lnTo>
                    <a:pt x="7216" y="2078"/>
                  </a:lnTo>
                  <a:lnTo>
                    <a:pt x="7159" y="2003"/>
                  </a:lnTo>
                  <a:lnTo>
                    <a:pt x="7095" y="1932"/>
                  </a:lnTo>
                  <a:lnTo>
                    <a:pt x="7027" y="1866"/>
                  </a:lnTo>
                  <a:lnTo>
                    <a:pt x="6954" y="1806"/>
                  </a:lnTo>
                  <a:lnTo>
                    <a:pt x="6875" y="1751"/>
                  </a:lnTo>
                  <a:lnTo>
                    <a:pt x="6792" y="1703"/>
                  </a:lnTo>
                  <a:lnTo>
                    <a:pt x="6704" y="1662"/>
                  </a:lnTo>
                  <a:lnTo>
                    <a:pt x="6612" y="1627"/>
                  </a:lnTo>
                  <a:lnTo>
                    <a:pt x="6565" y="1613"/>
                  </a:lnTo>
                  <a:lnTo>
                    <a:pt x="6410" y="1567"/>
                  </a:lnTo>
                  <a:lnTo>
                    <a:pt x="6106" y="1460"/>
                  </a:lnTo>
                  <a:lnTo>
                    <a:pt x="5809" y="1333"/>
                  </a:lnTo>
                  <a:lnTo>
                    <a:pt x="5520" y="1188"/>
                  </a:lnTo>
                  <a:lnTo>
                    <a:pt x="5241" y="1026"/>
                  </a:lnTo>
                  <a:lnTo>
                    <a:pt x="4972" y="847"/>
                  </a:lnTo>
                  <a:lnTo>
                    <a:pt x="4714" y="653"/>
                  </a:lnTo>
                  <a:lnTo>
                    <a:pt x="4467" y="441"/>
                  </a:lnTo>
                  <a:lnTo>
                    <a:pt x="4350" y="330"/>
                  </a:lnTo>
                  <a:lnTo>
                    <a:pt x="4308" y="290"/>
                  </a:lnTo>
                  <a:lnTo>
                    <a:pt x="4217" y="219"/>
                  </a:lnTo>
                  <a:lnTo>
                    <a:pt x="4121" y="157"/>
                  </a:lnTo>
                  <a:lnTo>
                    <a:pt x="4020" y="105"/>
                  </a:lnTo>
                  <a:lnTo>
                    <a:pt x="3917" y="64"/>
                  </a:lnTo>
                  <a:lnTo>
                    <a:pt x="3809" y="33"/>
                  </a:lnTo>
                  <a:lnTo>
                    <a:pt x="3698" y="12"/>
                  </a:lnTo>
                  <a:lnTo>
                    <a:pt x="3586" y="2"/>
                  </a:lnTo>
                  <a:lnTo>
                    <a:pt x="3530" y="0"/>
                  </a:lnTo>
                  <a:lnTo>
                    <a:pt x="353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14" name="Graphic 113" descr="Handshake">
              <a:extLst>
                <a:ext uri="{FF2B5EF4-FFF2-40B4-BE49-F238E27FC236}">
                  <a16:creationId xmlns:a16="http://schemas.microsoft.com/office/drawing/2014/main" id="{C24C8557-0E40-4D7C-9D52-3DEA011CC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76523" y="1499149"/>
              <a:ext cx="1028852" cy="1028852"/>
            </a:xfrm>
            <a:prstGeom prst="rect">
              <a:avLst/>
            </a:prstGeom>
          </p:spPr>
        </p:pic>
        <p:pic>
          <p:nvPicPr>
            <p:cNvPr id="115" name="Graphic 114" descr="Money with solid fill">
              <a:extLst>
                <a:ext uri="{FF2B5EF4-FFF2-40B4-BE49-F238E27FC236}">
                  <a16:creationId xmlns:a16="http://schemas.microsoft.com/office/drawing/2014/main" id="{D896798F-6C19-42F3-B977-5228248041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3868678" y="3167333"/>
              <a:ext cx="744831" cy="744831"/>
            </a:xfrm>
            <a:prstGeom prst="rect">
              <a:avLst/>
            </a:prstGeom>
          </p:spPr>
        </p:pic>
        <p:pic>
          <p:nvPicPr>
            <p:cNvPr id="116" name="Graphic 115" descr="Boardroom with solid fill">
              <a:extLst>
                <a:ext uri="{FF2B5EF4-FFF2-40B4-BE49-F238E27FC236}">
                  <a16:creationId xmlns:a16="http://schemas.microsoft.com/office/drawing/2014/main" id="{D83F4F9B-E539-407E-86CC-73D27698B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745808" y="4679857"/>
              <a:ext cx="914400" cy="914400"/>
            </a:xfrm>
            <a:prstGeom prst="rect">
              <a:avLst/>
            </a:prstGeom>
          </p:spPr>
        </p:pic>
        <p:pic>
          <p:nvPicPr>
            <p:cNvPr id="117" name="Graphic 116" descr="Badge Tick with solid fill">
              <a:extLst>
                <a:ext uri="{FF2B5EF4-FFF2-40B4-BE49-F238E27FC236}">
                  <a16:creationId xmlns:a16="http://schemas.microsoft.com/office/drawing/2014/main" id="{7227E5FD-4458-4DEB-BF91-817A59724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62492" y="1535672"/>
              <a:ext cx="914400" cy="914400"/>
            </a:xfrm>
            <a:prstGeom prst="rect">
              <a:avLst/>
            </a:prstGeom>
          </p:spPr>
        </p:pic>
        <p:pic>
          <p:nvPicPr>
            <p:cNvPr id="118" name="Graphic 117" descr="Delivery with solid fill">
              <a:extLst>
                <a:ext uri="{FF2B5EF4-FFF2-40B4-BE49-F238E27FC236}">
                  <a16:creationId xmlns:a16="http://schemas.microsoft.com/office/drawing/2014/main" id="{9240F5E1-121D-4043-870B-A6C9595BA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7438364" y="3101960"/>
              <a:ext cx="914400" cy="914400"/>
            </a:xfrm>
            <a:prstGeom prst="rect">
              <a:avLst/>
            </a:prstGeom>
          </p:spPr>
        </p:pic>
        <p:pic>
          <p:nvPicPr>
            <p:cNvPr id="8" name="Graphic 7" descr="Internet Banking with solid fill">
              <a:extLst>
                <a:ext uri="{FF2B5EF4-FFF2-40B4-BE49-F238E27FC236}">
                  <a16:creationId xmlns:a16="http://schemas.microsoft.com/office/drawing/2014/main" id="{C8B21689-B6D2-44EE-8F76-26DD6743C2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597354" y="4707601"/>
              <a:ext cx="879537" cy="879537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B78A885D-9B55-4BF6-8849-3E7E7F78D52B}"/>
              </a:ext>
            </a:extLst>
          </p:cNvPr>
          <p:cNvSpPr txBox="1"/>
          <p:nvPr/>
        </p:nvSpPr>
        <p:spPr>
          <a:xfrm>
            <a:off x="830187" y="1048182"/>
            <a:ext cx="42390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ique Feature only available with </a:t>
            </a:r>
            <a:r>
              <a:rPr lang="en-US" sz="1600" dirty="0" err="1"/>
              <a:t>SuFin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iscovery feature for better price realiz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aling with multiple unknown suppli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ulti product RFQ on both credit &amp; immediate payment terms </a:t>
            </a:r>
            <a:endParaRPr lang="en-IN" sz="1600" dirty="0"/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39469B7-3087-4D4B-9748-4D4106A142FB}"/>
              </a:ext>
            </a:extLst>
          </p:cNvPr>
          <p:cNvSpPr txBox="1"/>
          <p:nvPr/>
        </p:nvSpPr>
        <p:spPr>
          <a:xfrm>
            <a:off x="98117" y="3313892"/>
            <a:ext cx="36530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ultiple Lenders on a single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secured Financing enabled through a gamut of banking produc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petitive Interest rate in comparison to Market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C52CD13-F882-46B2-A591-96D63F2C48E1}"/>
              </a:ext>
            </a:extLst>
          </p:cNvPr>
          <p:cNvSpPr txBox="1"/>
          <p:nvPr/>
        </p:nvSpPr>
        <p:spPr>
          <a:xfrm>
            <a:off x="1242169" y="5726112"/>
            <a:ext cx="434706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reates a digital channel or digital front for the Mid-corpora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ables Channel Financing solutions for their dealers and vendors. 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05FAC48F-EE5D-4A85-B8F8-C52F6E5C2A44}"/>
              </a:ext>
            </a:extLst>
          </p:cNvPr>
          <p:cNvSpPr txBox="1"/>
          <p:nvPr/>
        </p:nvSpPr>
        <p:spPr>
          <a:xfrm>
            <a:off x="7835333" y="963200"/>
            <a:ext cx="4362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reates Trust and Confidence amongst the unknown entities transacting on the platfor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elps Buyers to know the Qualitative Aspects of the Sell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ellers are kept aware of the Creditworthiness of the Buyers.</a:t>
            </a:r>
            <a:endParaRPr lang="en-IN" sz="1600" dirty="0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BD33AF4C-FE5F-474F-8688-CC697D2474A0}"/>
              </a:ext>
            </a:extLst>
          </p:cNvPr>
          <p:cNvSpPr txBox="1"/>
          <p:nvPr/>
        </p:nvSpPr>
        <p:spPr>
          <a:xfrm>
            <a:off x="8629172" y="3225149"/>
            <a:ext cx="37947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quipped to handle courier services, Part-truck, and Full-truck loa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sure on-time order delivery and convenience to the entities</a:t>
            </a:r>
            <a:endParaRPr lang="en-IN" sz="1600" dirty="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D446A66D-4FB8-4F17-B93B-11165249134D}"/>
              </a:ext>
            </a:extLst>
          </p:cNvPr>
          <p:cNvSpPr txBox="1"/>
          <p:nvPr/>
        </p:nvSpPr>
        <p:spPr>
          <a:xfrm>
            <a:off x="7239834" y="5589186"/>
            <a:ext cx="474668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ovides Integrated seamless services from product search to delivery from a single platform and a payment settlement solution between the buying and the Selling entities enabling convenience for them.</a:t>
            </a:r>
          </a:p>
        </p:txBody>
      </p:sp>
      <p:sp>
        <p:nvSpPr>
          <p:cNvPr id="30" name="Slide Number Placeholder 2">
            <a:extLst>
              <a:ext uri="{FF2B5EF4-FFF2-40B4-BE49-F238E27FC236}">
                <a16:creationId xmlns:a16="http://schemas.microsoft.com/office/drawing/2014/main" id="{6F38FBE0-3308-4F42-8CCC-02FA8C802B17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11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176740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>
            <a:extLst>
              <a:ext uri="{FF2B5EF4-FFF2-40B4-BE49-F238E27FC236}">
                <a16:creationId xmlns:a16="http://schemas.microsoft.com/office/drawing/2014/main" id="{0961F49E-99FE-A9E2-4D91-9C5792C66AB5}"/>
              </a:ext>
            </a:extLst>
          </p:cNvPr>
          <p:cNvSpPr/>
          <p:nvPr/>
        </p:nvSpPr>
        <p:spPr>
          <a:xfrm>
            <a:off x="-23813" y="0"/>
            <a:ext cx="1220311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891" name="Title 1">
            <a:extLst>
              <a:ext uri="{FF2B5EF4-FFF2-40B4-BE49-F238E27FC236}">
                <a16:creationId xmlns:a16="http://schemas.microsoft.com/office/drawing/2014/main" id="{7AA441B7-2138-386A-6915-C09D123690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3025"/>
            <a:ext cx="121793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72 Condensed" panose="020B0506030000000003" pitchFamily="34" charset="0"/>
              </a:rPr>
              <a:t>L&amp;T-SuFin Financing Solutions</a:t>
            </a:r>
            <a:endParaRPr kumimoji="0" lang="fr-FR" altLang="en-US" sz="3600" b="0" i="0" u="none" strike="noStrike" kern="1200" cap="none" spc="0" normalizeH="0" baseline="0" noProof="0">
              <a:ln>
                <a:noFill/>
              </a:ln>
              <a:solidFill>
                <a:srgbClr val="212529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37892" name="Slide Number Placeholder 2">
            <a:extLst>
              <a:ext uri="{FF2B5EF4-FFF2-40B4-BE49-F238E27FC236}">
                <a16:creationId xmlns:a16="http://schemas.microsoft.com/office/drawing/2014/main" id="{4DB51338-A251-14B8-2CD1-20CAB3FC36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381750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6DCAC6-75E8-448B-BD5B-BF1C2EFB6752}" type="slidenum">
              <a:rPr kumimoji="0" lang="en-I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IN" alt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37893" name="Group 6">
            <a:extLst>
              <a:ext uri="{FF2B5EF4-FFF2-40B4-BE49-F238E27FC236}">
                <a16:creationId xmlns:a16="http://schemas.microsoft.com/office/drawing/2014/main" id="{26FC04F8-6F17-7E60-ADC2-00E714D3EC31}"/>
              </a:ext>
            </a:extLst>
          </p:cNvPr>
          <p:cNvGrpSpPr>
            <a:grpSpLocks/>
          </p:cNvGrpSpPr>
          <p:nvPr/>
        </p:nvGrpSpPr>
        <p:grpSpPr bwMode="auto">
          <a:xfrm>
            <a:off x="271463" y="752475"/>
            <a:ext cx="2628900" cy="2671763"/>
            <a:chOff x="8724900" y="1234477"/>
            <a:chExt cx="2628900" cy="3267175"/>
          </a:xfrm>
        </p:grpSpPr>
        <p:grpSp>
          <p:nvGrpSpPr>
            <p:cNvPr id="37943" name="Group 193">
              <a:extLst>
                <a:ext uri="{FF2B5EF4-FFF2-40B4-BE49-F238E27FC236}">
                  <a16:creationId xmlns:a16="http://schemas.microsoft.com/office/drawing/2014/main" id="{A417A700-46CA-4F0D-6A08-3D3FFAA42B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724900" y="1234477"/>
              <a:ext cx="2628900" cy="3267175"/>
              <a:chOff x="497608" y="1388616"/>
              <a:chExt cx="3020291" cy="3267175"/>
            </a:xfrm>
          </p:grpSpPr>
          <p:sp>
            <p:nvSpPr>
              <p:cNvPr id="195" name="Rectangle 194">
                <a:extLst>
                  <a:ext uri="{FF2B5EF4-FFF2-40B4-BE49-F238E27FC236}">
                    <a16:creationId xmlns:a16="http://schemas.microsoft.com/office/drawing/2014/main" id="{8216D1EE-EB41-AA2C-96F7-AA22B08AB0A1}"/>
                  </a:ext>
                </a:extLst>
              </p:cNvPr>
              <p:cNvSpPr/>
              <p:nvPr/>
            </p:nvSpPr>
            <p:spPr>
              <a:xfrm>
                <a:off x="497608" y="1388616"/>
                <a:ext cx="3020291" cy="1388016"/>
              </a:xfrm>
              <a:prstGeom prst="rect">
                <a:avLst/>
              </a:prstGeom>
              <a:solidFill>
                <a:srgbClr val="3B6DC7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WIDE RANGE OF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DUCT OFFERINGS</a:t>
                </a:r>
              </a:p>
            </p:txBody>
          </p:sp>
          <p:sp>
            <p:nvSpPr>
              <p:cNvPr id="196" name="Rectangle 195">
                <a:extLst>
                  <a:ext uri="{FF2B5EF4-FFF2-40B4-BE49-F238E27FC236}">
                    <a16:creationId xmlns:a16="http://schemas.microsoft.com/office/drawing/2014/main" id="{0F6DB48E-FC26-2D15-D2EC-E7D0AC55B794}"/>
                  </a:ext>
                </a:extLst>
              </p:cNvPr>
              <p:cNvSpPr/>
              <p:nvPr/>
            </p:nvSpPr>
            <p:spPr>
              <a:xfrm>
                <a:off x="497608" y="2764984"/>
                <a:ext cx="3020291" cy="171997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96E78782-3CE5-484D-8DD1-FEDD252377EB}"/>
                  </a:ext>
                </a:extLst>
              </p:cNvPr>
              <p:cNvSpPr/>
              <p:nvPr/>
            </p:nvSpPr>
            <p:spPr>
              <a:xfrm>
                <a:off x="497608" y="4502429"/>
                <a:ext cx="3020291" cy="153362"/>
              </a:xfrm>
              <a:prstGeom prst="rect">
                <a:avLst/>
              </a:prstGeom>
              <a:solidFill>
                <a:srgbClr val="3B6DC7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944" name="TextBox 224">
              <a:extLst>
                <a:ext uri="{FF2B5EF4-FFF2-40B4-BE49-F238E27FC236}">
                  <a16:creationId xmlns:a16="http://schemas.microsoft.com/office/drawing/2014/main" id="{87FF55C7-EB1A-A054-E4C8-AF4B4D61F1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87258" y="2699907"/>
              <a:ext cx="2525911" cy="1505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omprehensive financing option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ollateral free facilities available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Multiple lender options for right financing partner fit</a:t>
              </a:r>
            </a:p>
          </p:txBody>
        </p:sp>
      </p:grpSp>
      <p:grpSp>
        <p:nvGrpSpPr>
          <p:cNvPr id="37894" name="Group 243">
            <a:extLst>
              <a:ext uri="{FF2B5EF4-FFF2-40B4-BE49-F238E27FC236}">
                <a16:creationId xmlns:a16="http://schemas.microsoft.com/office/drawing/2014/main" id="{3CC1F32D-ABC9-E864-90FD-407D6A45867D}"/>
              </a:ext>
            </a:extLst>
          </p:cNvPr>
          <p:cNvGrpSpPr>
            <a:grpSpLocks/>
          </p:cNvGrpSpPr>
          <p:nvPr/>
        </p:nvGrpSpPr>
        <p:grpSpPr bwMode="auto">
          <a:xfrm>
            <a:off x="6337300" y="739775"/>
            <a:ext cx="2628900" cy="2697163"/>
            <a:chOff x="8724900" y="1234477"/>
            <a:chExt cx="2628900" cy="3299595"/>
          </a:xfrm>
        </p:grpSpPr>
        <p:grpSp>
          <p:nvGrpSpPr>
            <p:cNvPr id="37938" name="Group 244">
              <a:extLst>
                <a:ext uri="{FF2B5EF4-FFF2-40B4-BE49-F238E27FC236}">
                  <a16:creationId xmlns:a16="http://schemas.microsoft.com/office/drawing/2014/main" id="{ABA974CC-F8B9-3B0B-E39A-0D1D4A4FBD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724900" y="1234477"/>
              <a:ext cx="2628900" cy="3299595"/>
              <a:chOff x="497608" y="1388616"/>
              <a:chExt cx="3020291" cy="3299595"/>
            </a:xfrm>
          </p:grpSpPr>
          <p:sp>
            <p:nvSpPr>
              <p:cNvPr id="247" name="Rectangle 246">
                <a:extLst>
                  <a:ext uri="{FF2B5EF4-FFF2-40B4-BE49-F238E27FC236}">
                    <a16:creationId xmlns:a16="http://schemas.microsoft.com/office/drawing/2014/main" id="{844519CD-551C-C449-44E2-B46C17C6EBE8}"/>
                  </a:ext>
                </a:extLst>
              </p:cNvPr>
              <p:cNvSpPr/>
              <p:nvPr/>
            </p:nvSpPr>
            <p:spPr>
              <a:xfrm>
                <a:off x="497608" y="1388616"/>
                <a:ext cx="3020291" cy="1355572"/>
              </a:xfrm>
              <a:prstGeom prst="rect">
                <a:avLst/>
              </a:prstGeom>
              <a:solidFill>
                <a:srgbClr val="FFC000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TTRACTIV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RMS</a:t>
                </a:r>
              </a:p>
            </p:txBody>
          </p:sp>
          <p:sp>
            <p:nvSpPr>
              <p:cNvPr id="248" name="Rectangle 247">
                <a:extLst>
                  <a:ext uri="{FF2B5EF4-FFF2-40B4-BE49-F238E27FC236}">
                    <a16:creationId xmlns:a16="http://schemas.microsoft.com/office/drawing/2014/main" id="{9556DDE3-01C2-A7CA-BCD1-979D8D91A7B7}"/>
                  </a:ext>
                </a:extLst>
              </p:cNvPr>
              <p:cNvSpPr/>
              <p:nvPr/>
            </p:nvSpPr>
            <p:spPr>
              <a:xfrm>
                <a:off x="497608" y="2748072"/>
                <a:ext cx="3020291" cy="1777004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9" name="Rectangle 248">
                <a:extLst>
                  <a:ext uri="{FF2B5EF4-FFF2-40B4-BE49-F238E27FC236}">
                    <a16:creationId xmlns:a16="http://schemas.microsoft.com/office/drawing/2014/main" id="{A8637B2D-8CF5-5F98-F0A4-3AC7FF968AE4}"/>
                  </a:ext>
                </a:extLst>
              </p:cNvPr>
              <p:cNvSpPr/>
              <p:nvPr/>
            </p:nvSpPr>
            <p:spPr>
              <a:xfrm>
                <a:off x="497608" y="4536729"/>
                <a:ext cx="3020291" cy="151482"/>
              </a:xfrm>
              <a:prstGeom prst="rect">
                <a:avLst/>
              </a:prstGeom>
              <a:solidFill>
                <a:srgbClr val="FFC000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939" name="TextBox 245">
              <a:extLst>
                <a:ext uri="{FF2B5EF4-FFF2-40B4-BE49-F238E27FC236}">
                  <a16:creationId xmlns:a16="http://schemas.microsoft.com/office/drawing/2014/main" id="{7A117D10-E608-035F-F94F-2AF00C721D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76509" y="2654094"/>
              <a:ext cx="2525911" cy="1167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ompetitive interest rate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Flexible tenor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Preferential offers from Leading Banks &amp; NBFCs.</a:t>
              </a:r>
            </a:p>
          </p:txBody>
        </p:sp>
      </p:grpSp>
      <p:grpSp>
        <p:nvGrpSpPr>
          <p:cNvPr id="37895" name="Group 249">
            <a:extLst>
              <a:ext uri="{FF2B5EF4-FFF2-40B4-BE49-F238E27FC236}">
                <a16:creationId xmlns:a16="http://schemas.microsoft.com/office/drawing/2014/main" id="{0E73388B-F5DF-4223-FFEB-5F8E62843A1A}"/>
              </a:ext>
            </a:extLst>
          </p:cNvPr>
          <p:cNvGrpSpPr>
            <a:grpSpLocks/>
          </p:cNvGrpSpPr>
          <p:nvPr/>
        </p:nvGrpSpPr>
        <p:grpSpPr bwMode="auto">
          <a:xfrm>
            <a:off x="3284538" y="733425"/>
            <a:ext cx="2628900" cy="2709863"/>
            <a:chOff x="8724900" y="1234477"/>
            <a:chExt cx="2628900" cy="3315805"/>
          </a:xfrm>
        </p:grpSpPr>
        <p:grpSp>
          <p:nvGrpSpPr>
            <p:cNvPr id="37933" name="Group 250">
              <a:extLst>
                <a:ext uri="{FF2B5EF4-FFF2-40B4-BE49-F238E27FC236}">
                  <a16:creationId xmlns:a16="http://schemas.microsoft.com/office/drawing/2014/main" id="{680D6E57-4548-132F-353D-102F4266ED0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724900" y="1234477"/>
              <a:ext cx="2628900" cy="3315805"/>
              <a:chOff x="497608" y="1388616"/>
              <a:chExt cx="3020291" cy="3315805"/>
            </a:xfrm>
          </p:grpSpPr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2E02206A-89F2-50DC-47A1-A228A5EE206E}"/>
                  </a:ext>
                </a:extLst>
              </p:cNvPr>
              <p:cNvSpPr/>
              <p:nvPr/>
            </p:nvSpPr>
            <p:spPr>
              <a:xfrm>
                <a:off x="497608" y="1388616"/>
                <a:ext cx="3020291" cy="1361675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UICK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PPROVALS</a:t>
                </a:r>
              </a:p>
            </p:txBody>
          </p:sp>
          <p:sp>
            <p:nvSpPr>
              <p:cNvPr id="254" name="Rectangle 253">
                <a:extLst>
                  <a:ext uri="{FF2B5EF4-FFF2-40B4-BE49-F238E27FC236}">
                    <a16:creationId xmlns:a16="http://schemas.microsoft.com/office/drawing/2014/main" id="{45682C48-DF10-B5F4-2B67-8E8147D434D3}"/>
                  </a:ext>
                </a:extLst>
              </p:cNvPr>
              <p:cNvSpPr/>
              <p:nvPr/>
            </p:nvSpPr>
            <p:spPr>
              <a:xfrm>
                <a:off x="497608" y="2748348"/>
                <a:ext cx="3020291" cy="1796790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5B7A91F3-DBC5-4489-7B4A-CA4162C8C036}"/>
                  </a:ext>
                </a:extLst>
              </p:cNvPr>
              <p:cNvSpPr/>
              <p:nvPr/>
            </p:nvSpPr>
            <p:spPr>
              <a:xfrm>
                <a:off x="497608" y="4552908"/>
                <a:ext cx="3020291" cy="151513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934" name="TextBox 251">
              <a:extLst>
                <a:ext uri="{FF2B5EF4-FFF2-40B4-BE49-F238E27FC236}">
                  <a16:creationId xmlns:a16="http://schemas.microsoft.com/office/drawing/2014/main" id="{08BDBCCB-6342-A0BF-0050-B6D3BDF791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89889" y="2616027"/>
              <a:ext cx="2525911" cy="1694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Simplified online and paperless application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Quick processing for sanction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Digital process for Transaction Financing</a:t>
              </a:r>
            </a:p>
          </p:txBody>
        </p:sp>
      </p:grpSp>
      <p:grpSp>
        <p:nvGrpSpPr>
          <p:cNvPr id="37896" name="Group 255">
            <a:extLst>
              <a:ext uri="{FF2B5EF4-FFF2-40B4-BE49-F238E27FC236}">
                <a16:creationId xmlns:a16="http://schemas.microsoft.com/office/drawing/2014/main" id="{DD2FE446-62F1-F4E8-DA2D-DE4985143363}"/>
              </a:ext>
            </a:extLst>
          </p:cNvPr>
          <p:cNvGrpSpPr>
            <a:grpSpLocks/>
          </p:cNvGrpSpPr>
          <p:nvPr/>
        </p:nvGrpSpPr>
        <p:grpSpPr bwMode="auto">
          <a:xfrm>
            <a:off x="9348788" y="739775"/>
            <a:ext cx="2628900" cy="2697163"/>
            <a:chOff x="8724900" y="1234477"/>
            <a:chExt cx="2628900" cy="3299593"/>
          </a:xfrm>
        </p:grpSpPr>
        <p:grpSp>
          <p:nvGrpSpPr>
            <p:cNvPr id="37928" name="Group 256">
              <a:extLst>
                <a:ext uri="{FF2B5EF4-FFF2-40B4-BE49-F238E27FC236}">
                  <a16:creationId xmlns:a16="http://schemas.microsoft.com/office/drawing/2014/main" id="{1310445E-F7D8-F94D-26ED-2FBA5D1128F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724900" y="1234477"/>
              <a:ext cx="2628900" cy="3299593"/>
              <a:chOff x="497608" y="1388616"/>
              <a:chExt cx="3020291" cy="3299593"/>
            </a:xfrm>
          </p:grpSpPr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78EB3BE5-7E0B-37B8-C8A4-BC2E5A774388}"/>
                  </a:ext>
                </a:extLst>
              </p:cNvPr>
              <p:cNvSpPr/>
              <p:nvPr/>
            </p:nvSpPr>
            <p:spPr>
              <a:xfrm>
                <a:off x="497608" y="1388616"/>
                <a:ext cx="3020291" cy="1355571"/>
              </a:xfrm>
              <a:prstGeom prst="rect">
                <a:avLst/>
              </a:prstGeom>
              <a:solidFill>
                <a:srgbClr val="73B34A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RVIC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QUALITY</a:t>
                </a:r>
              </a:p>
            </p:txBody>
          </p:sp>
          <p:sp>
            <p:nvSpPr>
              <p:cNvPr id="260" name="Rectangle 259">
                <a:extLst>
                  <a:ext uri="{FF2B5EF4-FFF2-40B4-BE49-F238E27FC236}">
                    <a16:creationId xmlns:a16="http://schemas.microsoft.com/office/drawing/2014/main" id="{A7F70D8E-9A58-56EA-F544-78AA5AB42A9D}"/>
                  </a:ext>
                </a:extLst>
              </p:cNvPr>
              <p:cNvSpPr/>
              <p:nvPr/>
            </p:nvSpPr>
            <p:spPr>
              <a:xfrm>
                <a:off x="497608" y="2748071"/>
                <a:ext cx="3020291" cy="177700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76235C29-85BE-114B-848E-B569617E7662}"/>
                  </a:ext>
                </a:extLst>
              </p:cNvPr>
              <p:cNvSpPr/>
              <p:nvPr/>
            </p:nvSpPr>
            <p:spPr>
              <a:xfrm>
                <a:off x="497608" y="4536727"/>
                <a:ext cx="3020291" cy="151482"/>
              </a:xfrm>
              <a:prstGeom prst="rect">
                <a:avLst/>
              </a:prstGeom>
              <a:solidFill>
                <a:srgbClr val="73B34A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7929" name="TextBox 257">
              <a:extLst>
                <a:ext uri="{FF2B5EF4-FFF2-40B4-BE49-F238E27FC236}">
                  <a16:creationId xmlns:a16="http://schemas.microsoft.com/office/drawing/2014/main" id="{A37092FD-D6ED-AE8F-3F30-7F3545778B7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01385" y="2660331"/>
              <a:ext cx="2525911" cy="903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Dedicated Relationship Manager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Online Customer Support</a:t>
              </a:r>
            </a:p>
          </p:txBody>
        </p:sp>
      </p:grpSp>
      <p:grpSp>
        <p:nvGrpSpPr>
          <p:cNvPr id="37897" name="Group 64">
            <a:extLst>
              <a:ext uri="{FF2B5EF4-FFF2-40B4-BE49-F238E27FC236}">
                <a16:creationId xmlns:a16="http://schemas.microsoft.com/office/drawing/2014/main" id="{C4D5A6C7-DAC3-41A3-17DE-8D0675F577E3}"/>
              </a:ext>
            </a:extLst>
          </p:cNvPr>
          <p:cNvGrpSpPr>
            <a:grpSpLocks/>
          </p:cNvGrpSpPr>
          <p:nvPr/>
        </p:nvGrpSpPr>
        <p:grpSpPr bwMode="auto">
          <a:xfrm>
            <a:off x="152400" y="4216400"/>
            <a:ext cx="3927475" cy="1154113"/>
            <a:chOff x="497404" y="1263520"/>
            <a:chExt cx="3926837" cy="1154036"/>
          </a:xfrm>
        </p:grpSpPr>
        <p:grpSp>
          <p:nvGrpSpPr>
            <p:cNvPr id="37924" name="Group 65">
              <a:extLst>
                <a:ext uri="{FF2B5EF4-FFF2-40B4-BE49-F238E27FC236}">
                  <a16:creationId xmlns:a16="http://schemas.microsoft.com/office/drawing/2014/main" id="{A62669D1-6BEF-6D6E-6385-3C59FE168A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57853" y="1263520"/>
              <a:ext cx="3366388" cy="1154036"/>
              <a:chOff x="7800486" y="1245071"/>
              <a:chExt cx="3606395" cy="996988"/>
            </a:xfrm>
          </p:grpSpPr>
          <p:sp>
            <p:nvSpPr>
              <p:cNvPr id="37926" name="TextBox 67">
                <a:extLst>
                  <a:ext uri="{FF2B5EF4-FFF2-40B4-BE49-F238E27FC236}">
                    <a16:creationId xmlns:a16="http://schemas.microsoft.com/office/drawing/2014/main" id="{D3FA7D69-04BB-992C-9CEC-06A44C0C4FE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81041" y="1245071"/>
                <a:ext cx="3504490" cy="558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altLang="en-US" sz="1800" b="1" i="0" u="sng" strike="noStrike" kern="1200" cap="none" spc="0" normalizeH="0" baseline="0" noProof="0">
                    <a:ln>
                      <a:noFill/>
                    </a:ln>
                    <a:solidFill>
                      <a:srgbClr val="063951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WORKING CAPITAL FACILITIES</a:t>
                </a:r>
              </a:p>
            </p:txBody>
          </p:sp>
          <p:sp>
            <p:nvSpPr>
              <p:cNvPr id="37927" name="TextBox 68">
                <a:extLst>
                  <a:ext uri="{FF2B5EF4-FFF2-40B4-BE49-F238E27FC236}">
                    <a16:creationId xmlns:a16="http://schemas.microsoft.com/office/drawing/2014/main" id="{4057B730-21AE-42D6-17F6-1729443E57A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00486" y="1790042"/>
                <a:ext cx="3606395" cy="4520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For your day-to-day working</a:t>
                </a:r>
                <a:b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</a:b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capital requirements</a:t>
                </a:r>
              </a:p>
            </p:txBody>
          </p:sp>
        </p:grpSp>
        <p:pic>
          <p:nvPicPr>
            <p:cNvPr id="37925" name="Picture 66">
              <a:extLst>
                <a:ext uri="{FF2B5EF4-FFF2-40B4-BE49-F238E27FC236}">
                  <a16:creationId xmlns:a16="http://schemas.microsoft.com/office/drawing/2014/main" id="{326FE5EA-8978-065D-C7E8-5AE15DBD5E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404" y="1383122"/>
              <a:ext cx="792279" cy="895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898" name="Group 69">
            <a:extLst>
              <a:ext uri="{FF2B5EF4-FFF2-40B4-BE49-F238E27FC236}">
                <a16:creationId xmlns:a16="http://schemas.microsoft.com/office/drawing/2014/main" id="{705975CC-AD55-0671-CDC7-90EB943EF2E1}"/>
              </a:ext>
            </a:extLst>
          </p:cNvPr>
          <p:cNvGrpSpPr>
            <a:grpSpLocks/>
          </p:cNvGrpSpPr>
          <p:nvPr/>
        </p:nvGrpSpPr>
        <p:grpSpPr bwMode="auto">
          <a:xfrm>
            <a:off x="144463" y="5616575"/>
            <a:ext cx="3894137" cy="977900"/>
            <a:chOff x="7032337" y="1278229"/>
            <a:chExt cx="3895014" cy="977503"/>
          </a:xfrm>
        </p:grpSpPr>
        <p:grpSp>
          <p:nvGrpSpPr>
            <p:cNvPr id="37920" name="Group 70">
              <a:extLst>
                <a:ext uri="{FF2B5EF4-FFF2-40B4-BE49-F238E27FC236}">
                  <a16:creationId xmlns:a16="http://schemas.microsoft.com/office/drawing/2014/main" id="{12D69924-9BFE-9D2C-89D6-7EC7373AA0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47531" y="1314020"/>
              <a:ext cx="2879820" cy="875787"/>
              <a:chOff x="7430896" y="1356211"/>
              <a:chExt cx="3085137" cy="756605"/>
            </a:xfrm>
          </p:grpSpPr>
          <p:sp>
            <p:nvSpPr>
              <p:cNvPr id="37922" name="TextBox 72">
                <a:extLst>
                  <a:ext uri="{FF2B5EF4-FFF2-40B4-BE49-F238E27FC236}">
                    <a16:creationId xmlns:a16="http://schemas.microsoft.com/office/drawing/2014/main" id="{C74DD7A9-BA11-4263-E3F3-5CD05162B25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78945" y="1356211"/>
                <a:ext cx="2937088" cy="3190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altLang="en-US" sz="1800" b="1" i="0" u="sng" strike="noStrike" kern="1200" cap="none" spc="0" normalizeH="0" baseline="0" noProof="0">
                    <a:ln>
                      <a:noFill/>
                    </a:ln>
                    <a:solidFill>
                      <a:srgbClr val="C13018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CHANNEL FINANCE</a:t>
                </a:r>
              </a:p>
            </p:txBody>
          </p:sp>
          <p:sp>
            <p:nvSpPr>
              <p:cNvPr id="37923" name="TextBox 73">
                <a:extLst>
                  <a:ext uri="{FF2B5EF4-FFF2-40B4-BE49-F238E27FC236}">
                    <a16:creationId xmlns:a16="http://schemas.microsoft.com/office/drawing/2014/main" id="{CEDD1EAE-6017-1FD5-3FCC-A27FE6E151A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30896" y="1660799"/>
                <a:ext cx="2937088" cy="4520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For Vendors/Dealers/Distributors</a:t>
                </a:r>
                <a:b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</a:b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in need of finance</a:t>
                </a:r>
              </a:p>
            </p:txBody>
          </p:sp>
        </p:grpSp>
        <p:pic>
          <p:nvPicPr>
            <p:cNvPr id="37921" name="Picture 71">
              <a:extLst>
                <a:ext uri="{FF2B5EF4-FFF2-40B4-BE49-F238E27FC236}">
                  <a16:creationId xmlns:a16="http://schemas.microsoft.com/office/drawing/2014/main" id="{85307EB1-910E-B45F-F973-52E363C38A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2337" y="1278229"/>
              <a:ext cx="917455" cy="977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899" name="Group 74">
            <a:extLst>
              <a:ext uri="{FF2B5EF4-FFF2-40B4-BE49-F238E27FC236}">
                <a16:creationId xmlns:a16="http://schemas.microsoft.com/office/drawing/2014/main" id="{19124DC1-CD02-9F60-BC2B-CF2216C4FEE4}"/>
              </a:ext>
            </a:extLst>
          </p:cNvPr>
          <p:cNvGrpSpPr>
            <a:grpSpLocks/>
          </p:cNvGrpSpPr>
          <p:nvPr/>
        </p:nvGrpSpPr>
        <p:grpSpPr bwMode="auto">
          <a:xfrm>
            <a:off x="4384675" y="4237038"/>
            <a:ext cx="3406775" cy="1114425"/>
            <a:chOff x="312452" y="3135679"/>
            <a:chExt cx="3406853" cy="1114442"/>
          </a:xfrm>
        </p:grpSpPr>
        <p:grpSp>
          <p:nvGrpSpPr>
            <p:cNvPr id="37916" name="Group 75">
              <a:extLst>
                <a:ext uri="{FF2B5EF4-FFF2-40B4-BE49-F238E27FC236}">
                  <a16:creationId xmlns:a16="http://schemas.microsoft.com/office/drawing/2014/main" id="{86E85A84-29BE-E84F-6AE7-A25C8996982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6931" y="3135679"/>
              <a:ext cx="2802374" cy="1114442"/>
              <a:chOff x="7647297" y="1377850"/>
              <a:chExt cx="3515994" cy="962782"/>
            </a:xfrm>
          </p:grpSpPr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69EA8353-3B72-49B7-54E7-28628FDC6688}"/>
                  </a:ext>
                </a:extLst>
              </p:cNvPr>
              <p:cNvSpPr txBox="1"/>
              <p:nvPr/>
            </p:nvSpPr>
            <p:spPr>
              <a:xfrm>
                <a:off x="7647765" y="1377850"/>
                <a:ext cx="3515526" cy="558194"/>
              </a:xfrm>
              <a:prstGeom prst="rect">
                <a:avLst/>
              </a:prstGeom>
              <a:noFill/>
            </p:spPr>
            <p:txBody>
              <a:bodyPr lIns="0" anchor="ctr">
                <a:spAutoFit/>
              </a:bodyPr>
              <a:lstStyle>
                <a:defPPr>
                  <a:defRPr lang="en-US"/>
                </a:defPPr>
                <a:lvl1pPr algn="ctr">
                  <a:defRPr sz="2400" b="1" i="0" u="sng">
                    <a:effectLst/>
                    <a:latin typeface="Roboto" panose="02000000000000000000" pitchFamily="2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8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DISCOUNTING FACILITIES</a:t>
                </a:r>
              </a:p>
            </p:txBody>
          </p:sp>
          <p:sp>
            <p:nvSpPr>
              <p:cNvPr id="37919" name="TextBox 78">
                <a:extLst>
                  <a:ext uri="{FF2B5EF4-FFF2-40B4-BE49-F238E27FC236}">
                    <a16:creationId xmlns:a16="http://schemas.microsoft.com/office/drawing/2014/main" id="{62719245-22A8-2F13-5367-982F9C137F5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90060" y="1888615"/>
                <a:ext cx="3195955" cy="4520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Avail instant funding for orders on our platform</a:t>
                </a:r>
              </a:p>
            </p:txBody>
          </p:sp>
        </p:grpSp>
        <p:pic>
          <p:nvPicPr>
            <p:cNvPr id="37917" name="Picture 76">
              <a:extLst>
                <a:ext uri="{FF2B5EF4-FFF2-40B4-BE49-F238E27FC236}">
                  <a16:creationId xmlns:a16="http://schemas.microsoft.com/office/drawing/2014/main" id="{2C051563-DB0A-8E7F-25F9-46D9B301CE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52" y="3262440"/>
              <a:ext cx="759743" cy="914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900" name="Group 79">
            <a:extLst>
              <a:ext uri="{FF2B5EF4-FFF2-40B4-BE49-F238E27FC236}">
                <a16:creationId xmlns:a16="http://schemas.microsoft.com/office/drawing/2014/main" id="{EFF07908-B28E-4693-19DC-5C76ABC85C90}"/>
              </a:ext>
            </a:extLst>
          </p:cNvPr>
          <p:cNvGrpSpPr>
            <a:grpSpLocks/>
          </p:cNvGrpSpPr>
          <p:nvPr/>
        </p:nvGrpSpPr>
        <p:grpSpPr bwMode="auto">
          <a:xfrm>
            <a:off x="4365625" y="5637213"/>
            <a:ext cx="3511550" cy="936625"/>
            <a:chOff x="129278" y="5185921"/>
            <a:chExt cx="3511985" cy="935431"/>
          </a:xfrm>
        </p:grpSpPr>
        <p:grpSp>
          <p:nvGrpSpPr>
            <p:cNvPr id="37912" name="Group 80">
              <a:extLst>
                <a:ext uri="{FF2B5EF4-FFF2-40B4-BE49-F238E27FC236}">
                  <a16:creationId xmlns:a16="http://schemas.microsoft.com/office/drawing/2014/main" id="{A9F7A281-22FA-53B3-3FE6-F8A13251C6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65212" y="5185921"/>
              <a:ext cx="2776051" cy="850659"/>
              <a:chOff x="7844159" y="1364722"/>
              <a:chExt cx="2973970" cy="734896"/>
            </a:xfrm>
          </p:grpSpPr>
          <p:sp>
            <p:nvSpPr>
              <p:cNvPr id="37914" name="TextBox 82">
                <a:extLst>
                  <a:ext uri="{FF2B5EF4-FFF2-40B4-BE49-F238E27FC236}">
                    <a16:creationId xmlns:a16="http://schemas.microsoft.com/office/drawing/2014/main" id="{92F1BE3B-5612-CF03-FEFF-016C480F4D8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81040" y="1364722"/>
                <a:ext cx="2937089" cy="3190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altLang="en-US" sz="1800" b="1" i="0" u="sng" strike="noStrike" kern="1200" cap="none" spc="0" normalizeH="0" baseline="0" noProof="0">
                    <a:ln>
                      <a:noFill/>
                    </a:ln>
                    <a:solidFill>
                      <a:srgbClr val="00B09B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BUSINESS LOANS</a:t>
                </a:r>
              </a:p>
            </p:txBody>
          </p:sp>
          <p:sp>
            <p:nvSpPr>
              <p:cNvPr id="37915" name="TextBox 83">
                <a:extLst>
                  <a:ext uri="{FF2B5EF4-FFF2-40B4-BE49-F238E27FC236}">
                    <a16:creationId xmlns:a16="http://schemas.microsoft.com/office/drawing/2014/main" id="{7932D8D7-46E4-7941-E529-3EE171D1D60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44159" y="1647601"/>
                <a:ext cx="2929293" cy="4520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Unsecured loans for your</a:t>
                </a:r>
                <a:b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</a:b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business needs</a:t>
                </a:r>
              </a:p>
            </p:txBody>
          </p:sp>
        </p:grpSp>
        <p:pic>
          <p:nvPicPr>
            <p:cNvPr id="37913" name="Picture 81">
              <a:extLst>
                <a:ext uri="{FF2B5EF4-FFF2-40B4-BE49-F238E27FC236}">
                  <a16:creationId xmlns:a16="http://schemas.microsoft.com/office/drawing/2014/main" id="{3B07C44B-EF6C-1B5A-FD1D-EDC67F608E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278" y="5206952"/>
              <a:ext cx="928575" cy="914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901" name="Group 84">
            <a:extLst>
              <a:ext uri="{FF2B5EF4-FFF2-40B4-BE49-F238E27FC236}">
                <a16:creationId xmlns:a16="http://schemas.microsoft.com/office/drawing/2014/main" id="{DE6529EE-8106-1CDC-7FAD-76A7BF0BE4CC}"/>
              </a:ext>
            </a:extLst>
          </p:cNvPr>
          <p:cNvGrpSpPr>
            <a:grpSpLocks/>
          </p:cNvGrpSpPr>
          <p:nvPr/>
        </p:nvGrpSpPr>
        <p:grpSpPr bwMode="auto">
          <a:xfrm>
            <a:off x="8097838" y="4256088"/>
            <a:ext cx="3975100" cy="1076325"/>
            <a:chOff x="8499268" y="3111756"/>
            <a:chExt cx="3975155" cy="1076741"/>
          </a:xfrm>
        </p:grpSpPr>
        <p:grpSp>
          <p:nvGrpSpPr>
            <p:cNvPr id="37908" name="Group 85">
              <a:extLst>
                <a:ext uri="{FF2B5EF4-FFF2-40B4-BE49-F238E27FC236}">
                  <a16:creationId xmlns:a16="http://schemas.microsoft.com/office/drawing/2014/main" id="{A00C858C-744B-336D-0E87-AEA07EE0F2F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894559" y="3111756"/>
              <a:ext cx="3579864" cy="918746"/>
              <a:chOff x="7488587" y="1044208"/>
              <a:chExt cx="4141814" cy="793718"/>
            </a:xfrm>
          </p:grpSpPr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33FFDB9D-3634-6EAF-C0CC-F9E9F426D298}"/>
                  </a:ext>
                </a:extLst>
              </p:cNvPr>
              <p:cNvSpPr txBox="1"/>
              <p:nvPr/>
            </p:nvSpPr>
            <p:spPr>
              <a:xfrm>
                <a:off x="7488588" y="1044208"/>
                <a:ext cx="4141813" cy="558401"/>
              </a:xfrm>
              <a:prstGeom prst="rect">
                <a:avLst/>
              </a:prstGeom>
              <a:noFill/>
            </p:spPr>
            <p:txBody>
              <a:bodyPr lIns="0" anchor="ctr">
                <a:spAutoFit/>
              </a:bodyPr>
              <a:lstStyle>
                <a:defPPr>
                  <a:defRPr lang="en-US"/>
                </a:defPPr>
                <a:lvl1pPr algn="ctr">
                  <a:defRPr sz="2400" b="1" i="0" u="sng">
                    <a:effectLst/>
                    <a:latin typeface="Roboto" panose="02000000000000000000" pitchFamily="2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FFC000">
                        <a:lumMod val="75000"/>
                      </a:srgbClr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TERM LOAN / LOAN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FFC000">
                        <a:lumMod val="75000"/>
                      </a:srgbClr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AGAINST PROPERTY</a:t>
                </a:r>
              </a:p>
            </p:txBody>
          </p:sp>
          <p:sp>
            <p:nvSpPr>
              <p:cNvPr id="37911" name="TextBox 88">
                <a:extLst>
                  <a:ext uri="{FF2B5EF4-FFF2-40B4-BE49-F238E27FC236}">
                    <a16:creationId xmlns:a16="http://schemas.microsoft.com/office/drawing/2014/main" id="{29974CCB-70DE-B739-FBF0-AAB4873D2DC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26591" y="1572033"/>
                <a:ext cx="3614546" cy="2658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Avail Loans for business expansion</a:t>
                </a:r>
              </a:p>
            </p:txBody>
          </p:sp>
        </p:grpSp>
        <p:pic>
          <p:nvPicPr>
            <p:cNvPr id="37909" name="Picture 86">
              <a:extLst>
                <a:ext uri="{FF2B5EF4-FFF2-40B4-BE49-F238E27FC236}">
                  <a16:creationId xmlns:a16="http://schemas.microsoft.com/office/drawing/2014/main" id="{52F24CDB-6814-02F8-69D2-39AB9D9B72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99268" y="3244642"/>
              <a:ext cx="864218" cy="9438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7902" name="Group 89">
            <a:extLst>
              <a:ext uri="{FF2B5EF4-FFF2-40B4-BE49-F238E27FC236}">
                <a16:creationId xmlns:a16="http://schemas.microsoft.com/office/drawing/2014/main" id="{4D19D3D5-86AD-45E4-FA5E-7359A3FDEB10}"/>
              </a:ext>
            </a:extLst>
          </p:cNvPr>
          <p:cNvGrpSpPr>
            <a:grpSpLocks/>
          </p:cNvGrpSpPr>
          <p:nvPr/>
        </p:nvGrpSpPr>
        <p:grpSpPr bwMode="auto">
          <a:xfrm>
            <a:off x="8204200" y="5661025"/>
            <a:ext cx="3543300" cy="889000"/>
            <a:chOff x="8385245" y="5138689"/>
            <a:chExt cx="3544544" cy="887814"/>
          </a:xfrm>
        </p:grpSpPr>
        <p:grpSp>
          <p:nvGrpSpPr>
            <p:cNvPr id="37904" name="Group 90">
              <a:extLst>
                <a:ext uri="{FF2B5EF4-FFF2-40B4-BE49-F238E27FC236}">
                  <a16:creationId xmlns:a16="http://schemas.microsoft.com/office/drawing/2014/main" id="{99432D96-0C0F-680D-8D70-1F3BC61F7EE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63123" y="5147070"/>
              <a:ext cx="2766666" cy="879433"/>
              <a:chOff x="7831699" y="1044488"/>
              <a:chExt cx="2963916" cy="759755"/>
            </a:xfrm>
          </p:grpSpPr>
          <p:sp>
            <p:nvSpPr>
              <p:cNvPr id="37906" name="TextBox 92">
                <a:extLst>
                  <a:ext uri="{FF2B5EF4-FFF2-40B4-BE49-F238E27FC236}">
                    <a16:creationId xmlns:a16="http://schemas.microsoft.com/office/drawing/2014/main" id="{1FEF2153-2C36-DBE7-F91F-C1DFFC51168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31699" y="1044488"/>
                <a:ext cx="2937088" cy="3190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anchor="ctr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altLang="en-US" sz="1800" b="1" i="0" u="sng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EQUIPMENT FINANCE</a:t>
                </a:r>
              </a:p>
            </p:txBody>
          </p:sp>
          <p:sp>
            <p:nvSpPr>
              <p:cNvPr id="37907" name="TextBox 93">
                <a:extLst>
                  <a:ext uri="{FF2B5EF4-FFF2-40B4-BE49-F238E27FC236}">
                    <a16:creationId xmlns:a16="http://schemas.microsoft.com/office/drawing/2014/main" id="{7FF785D2-2ABA-B824-BB69-356DF5469D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66322" y="1352225"/>
                <a:ext cx="2929293" cy="4520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Get funds for purchasing</a:t>
                </a:r>
                <a:b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</a:br>
                <a:r>
                  <a:rPr kumimoji="0" lang="en-US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+mn-ea"/>
                    <a:cs typeface="+mn-cs"/>
                  </a:rPr>
                  <a:t>Machinery/Equipment</a:t>
                </a:r>
              </a:p>
            </p:txBody>
          </p:sp>
        </p:grpSp>
        <p:pic>
          <p:nvPicPr>
            <p:cNvPr id="37905" name="Picture 91">
              <a:extLst>
                <a:ext uri="{FF2B5EF4-FFF2-40B4-BE49-F238E27FC236}">
                  <a16:creationId xmlns:a16="http://schemas.microsoft.com/office/drawing/2014/main" id="{FA00CE01-16BD-E36E-5563-EE0F976DB4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5245" y="5138689"/>
              <a:ext cx="806641" cy="876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5" name="Title 1">
            <a:extLst>
              <a:ext uri="{FF2B5EF4-FFF2-40B4-BE49-F238E27FC236}">
                <a16:creationId xmlns:a16="http://schemas.microsoft.com/office/drawing/2014/main" id="{F32467DF-9522-EDB1-E9A1-267F1B156EB2}"/>
              </a:ext>
            </a:extLst>
          </p:cNvPr>
          <p:cNvSpPr txBox="1">
            <a:spLocks/>
          </p:cNvSpPr>
          <p:nvPr/>
        </p:nvSpPr>
        <p:spPr>
          <a:xfrm>
            <a:off x="284163" y="3624263"/>
            <a:ext cx="4275137" cy="4143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anchor="ctr"/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latin typeface="72 Condensed" panose="020B0506030000000003" pitchFamily="34" charset="0"/>
                <a:ea typeface="+mj-ea"/>
                <a:cs typeface="72 Condensed" panose="020B05060300000000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j-ea"/>
                <a:cs typeface="72 Condensed" panose="020B0506030000000003" pitchFamily="34" charset="0"/>
              </a:rPr>
              <a:t>Our Financing Products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>
            <a:extLst>
              <a:ext uri="{FF2B5EF4-FFF2-40B4-BE49-F238E27FC236}">
                <a16:creationId xmlns:a16="http://schemas.microsoft.com/office/drawing/2014/main" id="{B29EBA42-A22A-07AE-3F35-94C1FCFDE68B}"/>
              </a:ext>
            </a:extLst>
          </p:cNvPr>
          <p:cNvSpPr/>
          <p:nvPr/>
        </p:nvSpPr>
        <p:spPr>
          <a:xfrm>
            <a:off x="-9525" y="-12700"/>
            <a:ext cx="12201525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915" name="Title 1">
            <a:extLst>
              <a:ext uri="{FF2B5EF4-FFF2-40B4-BE49-F238E27FC236}">
                <a16:creationId xmlns:a16="http://schemas.microsoft.com/office/drawing/2014/main" id="{3199736B-4DC0-5B6B-A378-854F764AAA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3025"/>
            <a:ext cx="121793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72 Condensed" panose="020B0506030000000003" pitchFamily="34" charset="0"/>
              </a:rPr>
              <a:t>End to End Delivery Solution</a:t>
            </a:r>
            <a:endParaRPr kumimoji="0" lang="fr-FR" altLang="en-US" sz="3600" b="0" i="0" u="none" strike="noStrike" kern="1200" cap="none" spc="0" normalizeH="0" baseline="0" noProof="0">
              <a:ln>
                <a:noFill/>
              </a:ln>
              <a:solidFill>
                <a:srgbClr val="212529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38916" name="Slide Number Placeholder 2">
            <a:extLst>
              <a:ext uri="{FF2B5EF4-FFF2-40B4-BE49-F238E27FC236}">
                <a16:creationId xmlns:a16="http://schemas.microsoft.com/office/drawing/2014/main" id="{41FF2D9D-BEE1-D668-61B0-8934C3D3BA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4E4DB7-7CF2-4B6A-93E3-C2027E178712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38917" name="Picture 2">
            <a:extLst>
              <a:ext uri="{FF2B5EF4-FFF2-40B4-BE49-F238E27FC236}">
                <a16:creationId xmlns:a16="http://schemas.microsoft.com/office/drawing/2014/main" id="{484A7476-96B9-18B9-1367-5F1083FBA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75" y="966788"/>
            <a:ext cx="14763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75D8BE0A-23C9-5B93-CA20-D9C093F3AB28}"/>
              </a:ext>
            </a:extLst>
          </p:cNvPr>
          <p:cNvSpPr txBox="1"/>
          <p:nvPr/>
        </p:nvSpPr>
        <p:spPr>
          <a:xfrm>
            <a:off x="228600" y="1922463"/>
            <a:ext cx="3592513" cy="6477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EXPRESS COURIER SERVICE for Small shipments</a:t>
            </a:r>
          </a:p>
        </p:txBody>
      </p:sp>
      <p:pic>
        <p:nvPicPr>
          <p:cNvPr id="38919" name="Picture 8">
            <a:extLst>
              <a:ext uri="{FF2B5EF4-FFF2-40B4-BE49-F238E27FC236}">
                <a16:creationId xmlns:a16="http://schemas.microsoft.com/office/drawing/2014/main" id="{D5BB75DA-835B-86B4-CD89-5EB26077C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75" y="2903538"/>
            <a:ext cx="11715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5133E842-4635-E22D-00CB-D3355C6B1441}"/>
              </a:ext>
            </a:extLst>
          </p:cNvPr>
          <p:cNvSpPr txBox="1"/>
          <p:nvPr/>
        </p:nvSpPr>
        <p:spPr>
          <a:xfrm>
            <a:off x="228600" y="3825875"/>
            <a:ext cx="3592513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PART TRUCK LOAD SERVICE for Medium shipments</a:t>
            </a:r>
          </a:p>
        </p:txBody>
      </p:sp>
      <p:pic>
        <p:nvPicPr>
          <p:cNvPr id="38921" name="Picture 9">
            <a:extLst>
              <a:ext uri="{FF2B5EF4-FFF2-40B4-BE49-F238E27FC236}">
                <a16:creationId xmlns:a16="http://schemas.microsoft.com/office/drawing/2014/main" id="{731C2111-D076-2A59-726A-608886B89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413" y="4810125"/>
            <a:ext cx="12573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6C3229CB-574C-FD47-3DF6-24380E3B7DDC}"/>
              </a:ext>
            </a:extLst>
          </p:cNvPr>
          <p:cNvSpPr txBox="1"/>
          <p:nvPr/>
        </p:nvSpPr>
        <p:spPr>
          <a:xfrm>
            <a:off x="228600" y="5740400"/>
            <a:ext cx="3592513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rPr>
              <a:t>FULL TRUCK-LOAD SERVICE for Large shipmen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8285233-B69F-A180-3FD2-41CAEAE0C1F6}"/>
              </a:ext>
            </a:extLst>
          </p:cNvPr>
          <p:cNvCxnSpPr/>
          <p:nvPr/>
        </p:nvCxnSpPr>
        <p:spPr>
          <a:xfrm>
            <a:off x="3821113" y="741363"/>
            <a:ext cx="0" cy="6043612"/>
          </a:xfrm>
          <a:prstGeom prst="line">
            <a:avLst/>
          </a:prstGeom>
          <a:ln w="28575"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24" name="TextBox 13">
            <a:extLst>
              <a:ext uri="{FF2B5EF4-FFF2-40B4-BE49-F238E27FC236}">
                <a16:creationId xmlns:a16="http://schemas.microsoft.com/office/drawing/2014/main" id="{5A5F59FB-0910-0889-F252-C100CEA474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8138" y="649288"/>
            <a:ext cx="7858125" cy="40005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NEFITS</a:t>
            </a:r>
            <a:endParaRPr kumimoji="0" lang="en-IN" altLang="en-US" sz="2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38925" name="Group 17">
            <a:extLst>
              <a:ext uri="{FF2B5EF4-FFF2-40B4-BE49-F238E27FC236}">
                <a16:creationId xmlns:a16="http://schemas.microsoft.com/office/drawing/2014/main" id="{323DFEE2-872E-BEAD-348C-1363F4BD444B}"/>
              </a:ext>
            </a:extLst>
          </p:cNvPr>
          <p:cNvGrpSpPr>
            <a:grpSpLocks/>
          </p:cNvGrpSpPr>
          <p:nvPr/>
        </p:nvGrpSpPr>
        <p:grpSpPr bwMode="auto">
          <a:xfrm>
            <a:off x="4645025" y="1365250"/>
            <a:ext cx="2835275" cy="2278063"/>
            <a:chOff x="4247600" y="1365609"/>
            <a:chExt cx="2835685" cy="227722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DAFAF32-7C87-6D4C-CEAC-40A4D0A47D69}"/>
                </a:ext>
              </a:extLst>
            </p:cNvPr>
            <p:cNvSpPr txBox="1"/>
            <p:nvPr/>
          </p:nvSpPr>
          <p:spPr>
            <a:xfrm>
              <a:off x="5095448" y="1365609"/>
              <a:ext cx="1987837" cy="6458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OST EFFECTIVE</a:t>
              </a:r>
              <a:b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</a:b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LOGISTICS</a:t>
              </a:r>
              <a:endParaRPr kumimoji="0" lang="en-IN" sz="18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944" name="TextBox 16">
              <a:extLst>
                <a:ext uri="{FF2B5EF4-FFF2-40B4-BE49-F238E27FC236}">
                  <a16:creationId xmlns:a16="http://schemas.microsoft.com/office/drawing/2014/main" id="{16685FA1-42D2-EA0F-B79B-AB33FDC805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7600" y="2165508"/>
              <a:ext cx="283568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Partnered with multiple logistics provider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ompetitive pricing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Al based partner selection for best rates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58EC57FF-5DA4-D6B1-7CFA-ADA9A01C800F}"/>
              </a:ext>
            </a:extLst>
          </p:cNvPr>
          <p:cNvSpPr/>
          <p:nvPr/>
        </p:nvSpPr>
        <p:spPr>
          <a:xfrm>
            <a:off x="4545013" y="1225550"/>
            <a:ext cx="3008312" cy="24987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solidFill>
                  <a:sysClr val="windowText" lastClr="000000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927" name="Group 97">
            <a:extLst>
              <a:ext uri="{FF2B5EF4-FFF2-40B4-BE49-F238E27FC236}">
                <a16:creationId xmlns:a16="http://schemas.microsoft.com/office/drawing/2014/main" id="{6A192D6C-6028-BDC6-DAF4-ADC944C1650F}"/>
              </a:ext>
            </a:extLst>
          </p:cNvPr>
          <p:cNvGrpSpPr>
            <a:grpSpLocks/>
          </p:cNvGrpSpPr>
          <p:nvPr/>
        </p:nvGrpSpPr>
        <p:grpSpPr bwMode="auto">
          <a:xfrm>
            <a:off x="8693150" y="1352550"/>
            <a:ext cx="2836863" cy="2276475"/>
            <a:chOff x="4247600" y="1365609"/>
            <a:chExt cx="2835685" cy="2277227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F6D701F-EA5F-E38F-03AF-17D42FEDAA83}"/>
                </a:ext>
              </a:extLst>
            </p:cNvPr>
            <p:cNvSpPr txBox="1"/>
            <p:nvPr/>
          </p:nvSpPr>
          <p:spPr>
            <a:xfrm>
              <a:off x="5094973" y="1365609"/>
              <a:ext cx="1988312" cy="64632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FREE TRANSIT</a:t>
              </a:r>
              <a:b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</a:b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INSURANCE</a:t>
              </a:r>
              <a:endParaRPr kumimoji="0" lang="en-IN" sz="18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942" name="TextBox 100">
              <a:extLst>
                <a:ext uri="{FF2B5EF4-FFF2-40B4-BE49-F238E27FC236}">
                  <a16:creationId xmlns:a16="http://schemas.microsoft.com/office/drawing/2014/main" id="{8F8D2C8D-9D9F-3227-AFBB-2E2E9F2843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7600" y="2165508"/>
              <a:ext cx="283568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Insurance coverage up to ₹5 crore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No premium charge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All platform products are covered</a:t>
              </a:r>
            </a:p>
          </p:txBody>
        </p:sp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C83D169-9549-C03C-A41E-2AE269A15874}"/>
              </a:ext>
            </a:extLst>
          </p:cNvPr>
          <p:cNvSpPr/>
          <p:nvPr/>
        </p:nvSpPr>
        <p:spPr>
          <a:xfrm>
            <a:off x="8594725" y="1211263"/>
            <a:ext cx="3008313" cy="24987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solidFill>
                  <a:sysClr val="windowText" lastClr="000000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929" name="Group 107">
            <a:extLst>
              <a:ext uri="{FF2B5EF4-FFF2-40B4-BE49-F238E27FC236}">
                <a16:creationId xmlns:a16="http://schemas.microsoft.com/office/drawing/2014/main" id="{E8B05DC8-C45A-5A10-1B78-2938730C19D0}"/>
              </a:ext>
            </a:extLst>
          </p:cNvPr>
          <p:cNvGrpSpPr>
            <a:grpSpLocks/>
          </p:cNvGrpSpPr>
          <p:nvPr/>
        </p:nvGrpSpPr>
        <p:grpSpPr bwMode="auto">
          <a:xfrm>
            <a:off x="4651375" y="4181475"/>
            <a:ext cx="2836863" cy="2278063"/>
            <a:chOff x="4247600" y="1365609"/>
            <a:chExt cx="2835685" cy="2277227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24AAABF-1E76-8E97-B627-DC994E3B0BD2}"/>
                </a:ext>
              </a:extLst>
            </p:cNvPr>
            <p:cNvSpPr txBox="1"/>
            <p:nvPr/>
          </p:nvSpPr>
          <p:spPr>
            <a:xfrm>
              <a:off x="5094973" y="1365609"/>
              <a:ext cx="1988312" cy="6458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EXTENSIVE</a:t>
              </a:r>
              <a:b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</a:b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REACH</a:t>
              </a:r>
              <a:endParaRPr kumimoji="0" lang="en-IN" sz="18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940" name="TextBox 110">
              <a:extLst>
                <a:ext uri="{FF2B5EF4-FFF2-40B4-BE49-F238E27FC236}">
                  <a16:creationId xmlns:a16="http://schemas.microsoft.com/office/drawing/2014/main" id="{79C942FE-2439-AEC5-797A-5C07CD1854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7600" y="2165508"/>
              <a:ext cx="2835683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PAN India service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Delivery across 21000+ pin codes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Major industrial clusters covered</a:t>
              </a:r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7151C07-4FB2-CD72-B0F2-61C6EE4AA4E4}"/>
              </a:ext>
            </a:extLst>
          </p:cNvPr>
          <p:cNvSpPr/>
          <p:nvPr/>
        </p:nvSpPr>
        <p:spPr>
          <a:xfrm>
            <a:off x="4551363" y="4041775"/>
            <a:ext cx="3008312" cy="24987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solidFill>
                  <a:sysClr val="windowText" lastClr="000000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931" name="Group 112">
            <a:extLst>
              <a:ext uri="{FF2B5EF4-FFF2-40B4-BE49-F238E27FC236}">
                <a16:creationId xmlns:a16="http://schemas.microsoft.com/office/drawing/2014/main" id="{143A8ADF-FBDE-0847-D12A-3BCB8EBA4261}"/>
              </a:ext>
            </a:extLst>
          </p:cNvPr>
          <p:cNvGrpSpPr>
            <a:grpSpLocks/>
          </p:cNvGrpSpPr>
          <p:nvPr/>
        </p:nvGrpSpPr>
        <p:grpSpPr bwMode="auto">
          <a:xfrm>
            <a:off x="8658225" y="4168775"/>
            <a:ext cx="3008313" cy="2408238"/>
            <a:chOff x="4205079" y="1365609"/>
            <a:chExt cx="3008244" cy="2408241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C3956B68-9B9A-31EE-2A8D-FA1C4A9E2382}"/>
                </a:ext>
              </a:extLst>
            </p:cNvPr>
            <p:cNvSpPr txBox="1"/>
            <p:nvPr/>
          </p:nvSpPr>
          <p:spPr>
            <a:xfrm>
              <a:off x="5055959" y="1365609"/>
              <a:ext cx="2087515" cy="64611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DELIVERING</a:t>
              </a:r>
              <a:b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</a:br>
              <a:r>
                <a:rPr kumimoji="0" lang="en-IN" sz="1800" b="1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SERVICE QUALITY</a:t>
              </a:r>
              <a:endParaRPr kumimoji="0" lang="en-IN" sz="18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938" name="TextBox 115">
              <a:extLst>
                <a:ext uri="{FF2B5EF4-FFF2-40B4-BE49-F238E27FC236}">
                  <a16:creationId xmlns:a16="http://schemas.microsoft.com/office/drawing/2014/main" id="{1BEDAE0D-BFE4-2C2A-2824-01E795B73D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05079" y="2019524"/>
              <a:ext cx="3008244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High on-time performance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Easy tracking of shipment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12529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Customer support during business hours</a:t>
              </a:r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D7DF9BF-FC5A-B889-3A86-91BFFA8F34FA}"/>
              </a:ext>
            </a:extLst>
          </p:cNvPr>
          <p:cNvSpPr/>
          <p:nvPr/>
        </p:nvSpPr>
        <p:spPr>
          <a:xfrm>
            <a:off x="8601075" y="4027488"/>
            <a:ext cx="3008313" cy="24987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solidFill>
                  <a:sysClr val="windowText" lastClr="000000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8933" name="Graphic 20">
            <a:extLst>
              <a:ext uri="{FF2B5EF4-FFF2-40B4-BE49-F238E27FC236}">
                <a16:creationId xmlns:a16="http://schemas.microsoft.com/office/drawing/2014/main" id="{50217695-F816-8894-EDCE-FCDDCE631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9038" y="4092575"/>
            <a:ext cx="67627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4" name="Graphic 22">
            <a:extLst>
              <a:ext uri="{FF2B5EF4-FFF2-40B4-BE49-F238E27FC236}">
                <a16:creationId xmlns:a16="http://schemas.microsoft.com/office/drawing/2014/main" id="{CE4921D5-4E9D-B365-3133-75AD7CDFB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713" y="1365250"/>
            <a:ext cx="70961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5" name="Graphic 24">
            <a:extLst>
              <a:ext uri="{FF2B5EF4-FFF2-40B4-BE49-F238E27FC236}">
                <a16:creationId xmlns:a16="http://schemas.microsoft.com/office/drawing/2014/main" id="{16A14FE7-B4C2-00A5-D5F7-9039DC4CE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350" y="1328738"/>
            <a:ext cx="682625" cy="6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6" name="Graphic 26">
            <a:extLst>
              <a:ext uri="{FF2B5EF4-FFF2-40B4-BE49-F238E27FC236}">
                <a16:creationId xmlns:a16="http://schemas.microsoft.com/office/drawing/2014/main" id="{09B9FD1A-6E12-5F30-742B-45E7A222F7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4088" y="4157663"/>
            <a:ext cx="550862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C842359-524F-0270-9565-70B0F86EB440}"/>
              </a:ext>
            </a:extLst>
          </p:cNvPr>
          <p:cNvSpPr/>
          <p:nvPr/>
        </p:nvSpPr>
        <p:spPr>
          <a:xfrm>
            <a:off x="0" y="0"/>
            <a:ext cx="12179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939" name="Title 1">
            <a:extLst>
              <a:ext uri="{FF2B5EF4-FFF2-40B4-BE49-F238E27FC236}">
                <a16:creationId xmlns:a16="http://schemas.microsoft.com/office/drawing/2014/main" id="{98B2F508-C54D-BDEC-B0DF-CB43E0F3F0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8" y="39688"/>
            <a:ext cx="121793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72 Condensed" panose="020B0506030000000003" pitchFamily="34" charset="0"/>
              </a:rPr>
              <a:t>Do Quick Purchase</a:t>
            </a:r>
            <a:endParaRPr kumimoji="0" lang="fr-FR" alt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39940" name="Slide Number Placeholder 2">
            <a:extLst>
              <a:ext uri="{FF2B5EF4-FFF2-40B4-BE49-F238E27FC236}">
                <a16:creationId xmlns:a16="http://schemas.microsoft.com/office/drawing/2014/main" id="{8C9AE4D5-F688-1D69-5BDE-9EA10B9153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559827-6D9B-40A7-B232-89F3ECF237FB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39941" name="Picture 7">
            <a:extLst>
              <a:ext uri="{FF2B5EF4-FFF2-40B4-BE49-F238E27FC236}">
                <a16:creationId xmlns:a16="http://schemas.microsoft.com/office/drawing/2014/main" id="{FA370E1A-172C-7008-1DCB-6C7871F785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818"/>
          <a:stretch>
            <a:fillRect/>
          </a:stretch>
        </p:blipFill>
        <p:spPr bwMode="auto">
          <a:xfrm>
            <a:off x="1216025" y="588963"/>
            <a:ext cx="10096500" cy="626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962CF8B-9CA9-D50C-E860-AB4C36C53BE9}"/>
              </a:ext>
            </a:extLst>
          </p:cNvPr>
          <p:cNvSpPr/>
          <p:nvPr/>
        </p:nvSpPr>
        <p:spPr>
          <a:xfrm>
            <a:off x="0" y="0"/>
            <a:ext cx="12179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963" name="Title 1">
            <a:extLst>
              <a:ext uri="{FF2B5EF4-FFF2-40B4-BE49-F238E27FC236}">
                <a16:creationId xmlns:a16="http://schemas.microsoft.com/office/drawing/2014/main" id="{1D95D978-22D7-E38A-20FF-6B1B698E0D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8" y="39688"/>
            <a:ext cx="121793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72 Condensed" panose="020B0506030000000003" pitchFamily="34" charset="0"/>
              </a:rPr>
              <a:t>For Bulk Purchase use our RFQ feature</a:t>
            </a:r>
            <a:endParaRPr kumimoji="0" lang="fr-FR" alt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40964" name="Slide Number Placeholder 2">
            <a:extLst>
              <a:ext uri="{FF2B5EF4-FFF2-40B4-BE49-F238E27FC236}">
                <a16:creationId xmlns:a16="http://schemas.microsoft.com/office/drawing/2014/main" id="{9E00197B-3405-02B9-F541-B1488FA435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9063FD-C70E-4D77-ACA9-09021619D8FB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40965" name="Picture 2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5D05DD4-2A4C-9791-33B3-3B0814030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6" t="20082" r="18044" b="7031"/>
          <a:stretch>
            <a:fillRect/>
          </a:stretch>
        </p:blipFill>
        <p:spPr bwMode="auto">
          <a:xfrm>
            <a:off x="1176338" y="615950"/>
            <a:ext cx="9839325" cy="620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D29A54F-38BD-82D9-60B2-D027D0B7FC5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987" name="Slide Number Placeholder 2">
            <a:extLst>
              <a:ext uri="{FF2B5EF4-FFF2-40B4-BE49-F238E27FC236}">
                <a16:creationId xmlns:a16="http://schemas.microsoft.com/office/drawing/2014/main" id="{7657C223-1C0B-3E27-F7B6-61B51914A9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C8E7E6-1EC5-43CC-8675-FD3D9B9F3CB2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41988" name="Group 1">
            <a:extLst>
              <a:ext uri="{FF2B5EF4-FFF2-40B4-BE49-F238E27FC236}">
                <a16:creationId xmlns:a16="http://schemas.microsoft.com/office/drawing/2014/main" id="{D33C82CC-A7A4-AC0A-F3D1-3FD326EEB9E6}"/>
              </a:ext>
            </a:extLst>
          </p:cNvPr>
          <p:cNvGrpSpPr>
            <a:grpSpLocks/>
          </p:cNvGrpSpPr>
          <p:nvPr/>
        </p:nvGrpSpPr>
        <p:grpSpPr bwMode="auto">
          <a:xfrm>
            <a:off x="0" y="344488"/>
            <a:ext cx="12192000" cy="3965575"/>
            <a:chOff x="0" y="6470"/>
            <a:chExt cx="12191998" cy="3966739"/>
          </a:xfrm>
        </p:grpSpPr>
        <p:pic>
          <p:nvPicPr>
            <p:cNvPr id="41991" name="Picture 12" descr="Diagram&#10;&#10;Description automatically generated with medium confidence">
              <a:extLst>
                <a:ext uri="{FF2B5EF4-FFF2-40B4-BE49-F238E27FC236}">
                  <a16:creationId xmlns:a16="http://schemas.microsoft.com/office/drawing/2014/main" id="{A6F8D18D-1D7B-1778-40EF-BDD4C8CFF7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24" r="12376"/>
            <a:stretch>
              <a:fillRect/>
            </a:stretch>
          </p:blipFill>
          <p:spPr bwMode="auto">
            <a:xfrm>
              <a:off x="0" y="6470"/>
              <a:ext cx="12191998" cy="39667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844D53E-5F8C-179A-E540-2C5350352CD5}"/>
                </a:ext>
              </a:extLst>
            </p:cNvPr>
            <p:cNvSpPr/>
            <p:nvPr/>
          </p:nvSpPr>
          <p:spPr>
            <a:xfrm>
              <a:off x="1139825" y="1422936"/>
              <a:ext cx="5614987" cy="1025826"/>
            </a:xfrm>
            <a:prstGeom prst="rect">
              <a:avLst/>
            </a:prstGeom>
            <a:solidFill>
              <a:srgbClr val="E3F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1993" name="Picture 15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B5F21DB2-42E8-E747-3FE4-664477B7BE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5225" y="1488583"/>
              <a:ext cx="3784100" cy="1026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B0A52F58-0C62-4642-130F-85EFF0AF775D}"/>
              </a:ext>
            </a:extLst>
          </p:cNvPr>
          <p:cNvSpPr/>
          <p:nvPr/>
        </p:nvSpPr>
        <p:spPr>
          <a:xfrm>
            <a:off x="5151438" y="4618038"/>
            <a:ext cx="7019925" cy="1566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8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72 Black" panose="020B0A04030603020204" pitchFamily="34" charset="0"/>
                <a:ea typeface="+mn-ea"/>
                <a:cs typeface="72 Black" panose="020B0A04030603020204" pitchFamily="34" charset="0"/>
              </a:rPr>
              <a:t>THANK YOU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18187F3-356A-283F-2A58-AF2277107E4B}"/>
              </a:ext>
            </a:extLst>
          </p:cNvPr>
          <p:cNvSpPr/>
          <p:nvPr/>
        </p:nvSpPr>
        <p:spPr>
          <a:xfrm>
            <a:off x="217488" y="5292725"/>
            <a:ext cx="5705475" cy="1414463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 US A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Mobile: +91 82912114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mail ID: </a:t>
            </a:r>
            <a:r>
              <a:rPr kumimoji="0" lang="en-IN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  <a:hlinkClick r:id="rId4"/>
              </a:rPr>
              <a:t>b2bhelp@larsentoubro.com</a:t>
            </a: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www.Lntsufin.com</a:t>
            </a:r>
          </a:p>
        </p:txBody>
      </p:sp>
    </p:spTree>
  </p:cSld>
  <p:clrMapOvr>
    <a:masterClrMapping/>
  </p:clrMapOvr>
  <p:transition spd="slow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Oval 86">
            <a:extLst>
              <a:ext uri="{FF2B5EF4-FFF2-40B4-BE49-F238E27FC236}">
                <a16:creationId xmlns:a16="http://schemas.microsoft.com/office/drawing/2014/main" id="{3A2C8FAD-C158-473F-8553-001353C3C312}"/>
              </a:ext>
            </a:extLst>
          </p:cNvPr>
          <p:cNvSpPr/>
          <p:nvPr/>
        </p:nvSpPr>
        <p:spPr>
          <a:xfrm>
            <a:off x="10235327" y="5544608"/>
            <a:ext cx="1813002" cy="108415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2972147D-DACF-4D9B-83C5-4BF7A5721E4F}"/>
              </a:ext>
            </a:extLst>
          </p:cNvPr>
          <p:cNvSpPr/>
          <p:nvPr/>
        </p:nvSpPr>
        <p:spPr>
          <a:xfrm>
            <a:off x="2481618" y="5844226"/>
            <a:ext cx="2022265" cy="53932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2" name="Rectangle 1">
            <a:extLst>
              <a:ext uri="{FF2B5EF4-FFF2-40B4-BE49-F238E27FC236}">
                <a16:creationId xmlns:a16="http://schemas.microsoft.com/office/drawing/2014/main" id="{1806F8B9-EAA9-4849-B2F3-B189C9EFC06D}"/>
              </a:ext>
            </a:extLst>
          </p:cNvPr>
          <p:cNvSpPr/>
          <p:nvPr/>
        </p:nvSpPr>
        <p:spPr>
          <a:xfrm>
            <a:off x="-24984" y="0"/>
            <a:ext cx="12231973" cy="65125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39973 w 12231973"/>
              <a:gd name="connsiteY0" fmla="*/ 0 h 6858000"/>
              <a:gd name="connsiteX1" fmla="*/ 12231973 w 12231973"/>
              <a:gd name="connsiteY1" fmla="*/ 0 h 6858000"/>
              <a:gd name="connsiteX2" fmla="*/ 0 w 12231973"/>
              <a:gd name="connsiteY2" fmla="*/ 6858000 h 6858000"/>
              <a:gd name="connsiteX3" fmla="*/ 39973 w 12231973"/>
              <a:gd name="connsiteY3" fmla="*/ 6858000 h 6858000"/>
              <a:gd name="connsiteX4" fmla="*/ 39973 w 1223197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1973" h="6858000">
                <a:moveTo>
                  <a:pt x="39973" y="0"/>
                </a:moveTo>
                <a:lnTo>
                  <a:pt x="12231973" y="0"/>
                </a:lnTo>
                <a:lnTo>
                  <a:pt x="0" y="6858000"/>
                </a:lnTo>
                <a:lnTo>
                  <a:pt x="39973" y="6858000"/>
                </a:lnTo>
                <a:lnTo>
                  <a:pt x="3997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9BC763-44C4-4911-B21B-E6AB0712BC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9BC763-44C4-4911-B21B-E6AB0712BC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1A5DFC7-8959-4791-AC40-D80D643E66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596EC0CC-4CDA-4E51-B4D2-7CA87F95C1AB}"/>
              </a:ext>
            </a:extLst>
          </p:cNvPr>
          <p:cNvSpPr/>
          <p:nvPr/>
        </p:nvSpPr>
        <p:spPr>
          <a:xfrm>
            <a:off x="10510786" y="2745798"/>
            <a:ext cx="1519535" cy="231266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9540BDB-4F5A-49AF-8755-970757233A5E}"/>
              </a:ext>
            </a:extLst>
          </p:cNvPr>
          <p:cNvSpPr/>
          <p:nvPr/>
        </p:nvSpPr>
        <p:spPr>
          <a:xfrm>
            <a:off x="3739079" y="1910203"/>
            <a:ext cx="4476022" cy="4476020"/>
          </a:xfrm>
          <a:prstGeom prst="ellipse">
            <a:avLst/>
          </a:prstGeom>
          <a:noFill/>
          <a:ln w="1270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B57E68D-471D-463C-BA22-8324A5271995}"/>
              </a:ext>
            </a:extLst>
          </p:cNvPr>
          <p:cNvSpPr/>
          <p:nvPr/>
        </p:nvSpPr>
        <p:spPr>
          <a:xfrm rot="6903056">
            <a:off x="6875755" y="2027245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7" name="Isosceles Triangle 126">
            <a:extLst>
              <a:ext uri="{FF2B5EF4-FFF2-40B4-BE49-F238E27FC236}">
                <a16:creationId xmlns:a16="http://schemas.microsoft.com/office/drawing/2014/main" id="{06F47073-5FAA-43C6-984E-CE5FD405680E}"/>
              </a:ext>
            </a:extLst>
          </p:cNvPr>
          <p:cNvSpPr/>
          <p:nvPr/>
        </p:nvSpPr>
        <p:spPr>
          <a:xfrm rot="14038505">
            <a:off x="6938417" y="5926238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Isosceles Triangle 132">
            <a:extLst>
              <a:ext uri="{FF2B5EF4-FFF2-40B4-BE49-F238E27FC236}">
                <a16:creationId xmlns:a16="http://schemas.microsoft.com/office/drawing/2014/main" id="{18752951-0620-409D-A2A1-7037D3D08B89}"/>
              </a:ext>
            </a:extLst>
          </p:cNvPr>
          <p:cNvSpPr/>
          <p:nvPr/>
        </p:nvSpPr>
        <p:spPr>
          <a:xfrm rot="18529242">
            <a:off x="4515475" y="5849649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Isosceles Triangle 145">
            <a:extLst>
              <a:ext uri="{FF2B5EF4-FFF2-40B4-BE49-F238E27FC236}">
                <a16:creationId xmlns:a16="http://schemas.microsoft.com/office/drawing/2014/main" id="{6E132CCD-9A00-4079-8013-E77AD012930D}"/>
              </a:ext>
            </a:extLst>
          </p:cNvPr>
          <p:cNvSpPr/>
          <p:nvPr/>
        </p:nvSpPr>
        <p:spPr>
          <a:xfrm rot="3410244">
            <a:off x="4689535" y="2048134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39A9C1B6-9AE8-4544-8C5F-19D780728FA5}"/>
              </a:ext>
            </a:extLst>
          </p:cNvPr>
          <p:cNvSpPr/>
          <p:nvPr/>
        </p:nvSpPr>
        <p:spPr>
          <a:xfrm>
            <a:off x="4331270" y="173613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47" name="Picture 10" descr="Image result for IT/Technology systems">
            <a:extLst>
              <a:ext uri="{FF2B5EF4-FFF2-40B4-BE49-F238E27FC236}">
                <a16:creationId xmlns:a16="http://schemas.microsoft.com/office/drawing/2014/main" id="{D06C7DDA-D45E-42B2-B475-DF15B0172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462" y="1898802"/>
            <a:ext cx="603644" cy="59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" name="Oval 180">
            <a:extLst>
              <a:ext uri="{FF2B5EF4-FFF2-40B4-BE49-F238E27FC236}">
                <a16:creationId xmlns:a16="http://schemas.microsoft.com/office/drawing/2014/main" id="{BFA9D644-EA5C-402D-8F07-B0EE5C43D139}"/>
              </a:ext>
            </a:extLst>
          </p:cNvPr>
          <p:cNvSpPr/>
          <p:nvPr/>
        </p:nvSpPr>
        <p:spPr>
          <a:xfrm>
            <a:off x="6719403" y="173613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26917EDB-1C6A-4A74-A315-3A1088FCBC79}"/>
              </a:ext>
            </a:extLst>
          </p:cNvPr>
          <p:cNvSpPr/>
          <p:nvPr/>
        </p:nvSpPr>
        <p:spPr>
          <a:xfrm>
            <a:off x="4331270" y="5649057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097EF056-5D58-4688-8BF4-4186ECC82A2B}"/>
              </a:ext>
            </a:extLst>
          </p:cNvPr>
          <p:cNvSpPr/>
          <p:nvPr/>
        </p:nvSpPr>
        <p:spPr>
          <a:xfrm>
            <a:off x="6719403" y="5649057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91" name="Straight Arrow Connector 190">
            <a:extLst>
              <a:ext uri="{FF2B5EF4-FFF2-40B4-BE49-F238E27FC236}">
                <a16:creationId xmlns:a16="http://schemas.microsoft.com/office/drawing/2014/main" id="{60221CB3-7317-4E0C-B5E6-9DAE86BCC150}"/>
              </a:ext>
            </a:extLst>
          </p:cNvPr>
          <p:cNvCxnSpPr>
            <a:cxnSpLocks/>
          </p:cNvCxnSpPr>
          <p:nvPr/>
        </p:nvCxnSpPr>
        <p:spPr>
          <a:xfrm flipH="1">
            <a:off x="4261648" y="4384951"/>
            <a:ext cx="3369843" cy="0"/>
          </a:xfrm>
          <a:prstGeom prst="straightConnector1">
            <a:avLst/>
          </a:prstGeom>
          <a:ln w="57150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F000E3FE-BD2F-46E2-BD18-DD602F4089FE}"/>
              </a:ext>
            </a:extLst>
          </p:cNvPr>
          <p:cNvSpPr txBox="1"/>
          <p:nvPr/>
        </p:nvSpPr>
        <p:spPr>
          <a:xfrm>
            <a:off x="5322144" y="4740316"/>
            <a:ext cx="1627561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oods &amp; Services</a:t>
            </a:r>
          </a:p>
        </p:txBody>
      </p:sp>
      <p:pic>
        <p:nvPicPr>
          <p:cNvPr id="195" name="Graphic 194">
            <a:extLst>
              <a:ext uri="{FF2B5EF4-FFF2-40B4-BE49-F238E27FC236}">
                <a16:creationId xmlns:a16="http://schemas.microsoft.com/office/drawing/2014/main" id="{6DE2EFC1-C408-4B09-9364-5D773C1F8EA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4703572" y="3171441"/>
            <a:ext cx="431495" cy="428599"/>
          </a:xfrm>
          <a:prstGeom prst="rect">
            <a:avLst/>
          </a:prstGeom>
        </p:spPr>
      </p:pic>
      <p:pic>
        <p:nvPicPr>
          <p:cNvPr id="196" name="Picture 195">
            <a:extLst>
              <a:ext uri="{FF2B5EF4-FFF2-40B4-BE49-F238E27FC236}">
                <a16:creationId xmlns:a16="http://schemas.microsoft.com/office/drawing/2014/main" id="{CB37A0EF-AE3F-47A5-A516-495505BBAEA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572" y="4600627"/>
            <a:ext cx="461825" cy="457830"/>
          </a:xfrm>
          <a:prstGeom prst="rect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</p:pic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30F2D84F-E046-4454-B61B-4BEF3535A44E}"/>
              </a:ext>
            </a:extLst>
          </p:cNvPr>
          <p:cNvCxnSpPr>
            <a:cxnSpLocks/>
          </p:cNvCxnSpPr>
          <p:nvPr/>
        </p:nvCxnSpPr>
        <p:spPr>
          <a:xfrm>
            <a:off x="4268609" y="3807066"/>
            <a:ext cx="3418581" cy="0"/>
          </a:xfrm>
          <a:prstGeom prst="straightConnector1">
            <a:avLst/>
          </a:prstGeom>
          <a:ln w="57150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Isosceles Triangle 125">
            <a:extLst>
              <a:ext uri="{FF2B5EF4-FFF2-40B4-BE49-F238E27FC236}">
                <a16:creationId xmlns:a16="http://schemas.microsoft.com/office/drawing/2014/main" id="{7B743215-57E7-41A7-9CAC-EA596735E995}"/>
              </a:ext>
            </a:extLst>
          </p:cNvPr>
          <p:cNvSpPr/>
          <p:nvPr/>
        </p:nvSpPr>
        <p:spPr>
          <a:xfrm rot="11063102">
            <a:off x="8052415" y="3886227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BCCCB4C-C841-455E-99F4-87F32272EC09}"/>
              </a:ext>
            </a:extLst>
          </p:cNvPr>
          <p:cNvSpPr/>
          <p:nvPr/>
        </p:nvSpPr>
        <p:spPr>
          <a:xfrm>
            <a:off x="7680228" y="363689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90" name="Graphic 189">
            <a:extLst>
              <a:ext uri="{FF2B5EF4-FFF2-40B4-BE49-F238E27FC236}">
                <a16:creationId xmlns:a16="http://schemas.microsoft.com/office/drawing/2014/main" id="{42D08AB1-ED40-402F-9261-1EBCC2965AE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70726" y="3783110"/>
            <a:ext cx="555516" cy="551788"/>
          </a:xfrm>
          <a:prstGeom prst="rect">
            <a:avLst/>
          </a:prstGeom>
        </p:spPr>
      </p:pic>
      <p:sp>
        <p:nvSpPr>
          <p:cNvPr id="139" name="Isosceles Triangle 138">
            <a:extLst>
              <a:ext uri="{FF2B5EF4-FFF2-40B4-BE49-F238E27FC236}">
                <a16:creationId xmlns:a16="http://schemas.microsoft.com/office/drawing/2014/main" id="{BF5669E6-532B-4362-9A6E-C3A367B9DD53}"/>
              </a:ext>
            </a:extLst>
          </p:cNvPr>
          <p:cNvSpPr/>
          <p:nvPr/>
        </p:nvSpPr>
        <p:spPr>
          <a:xfrm rot="309747">
            <a:off x="3568576" y="3907116"/>
            <a:ext cx="327891" cy="282665"/>
          </a:xfrm>
          <a:prstGeom prst="triangl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A9166B5E-5980-45C6-AF09-39D92CA64EE0}"/>
              </a:ext>
            </a:extLst>
          </p:cNvPr>
          <p:cNvSpPr/>
          <p:nvPr/>
        </p:nvSpPr>
        <p:spPr>
          <a:xfrm>
            <a:off x="3349561" y="3636899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89" name="Picture 23" descr="Related image">
            <a:extLst>
              <a:ext uri="{FF2B5EF4-FFF2-40B4-BE49-F238E27FC236}">
                <a16:creationId xmlns:a16="http://schemas.microsoft.com/office/drawing/2014/main" id="{16134B9E-AADD-4ED7-B04B-E7009B784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069" y="3727412"/>
            <a:ext cx="721180" cy="716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" name="Picture 13" descr="Image result for Legal">
            <a:extLst>
              <a:ext uri="{FF2B5EF4-FFF2-40B4-BE49-F238E27FC236}">
                <a16:creationId xmlns:a16="http://schemas.microsoft.com/office/drawing/2014/main" id="{175BC71E-E20A-4AF4-9DA3-85996E6532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344" y="1905736"/>
            <a:ext cx="633010" cy="503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1" name="Rectangle 8">
            <a:extLst>
              <a:ext uri="{FF2B5EF4-FFF2-40B4-BE49-F238E27FC236}">
                <a16:creationId xmlns:a16="http://schemas.microsoft.com/office/drawing/2014/main" id="{609A1EFE-D053-42AA-8B62-154EAB702B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78422" y="1641131"/>
            <a:ext cx="124156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Contract/ Legal support </a:t>
            </a:r>
          </a:p>
        </p:txBody>
      </p:sp>
      <p:sp>
        <p:nvSpPr>
          <p:cNvPr id="203" name="Rectangle 8">
            <a:extLst>
              <a:ext uri="{FF2B5EF4-FFF2-40B4-BE49-F238E27FC236}">
                <a16:creationId xmlns:a16="http://schemas.microsoft.com/office/drawing/2014/main" id="{39AE94E9-DB40-4DD8-8FAD-3318E7642A3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915675" y="3808906"/>
            <a:ext cx="129061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BUYER</a:t>
            </a:r>
          </a:p>
        </p:txBody>
      </p:sp>
      <p:sp>
        <p:nvSpPr>
          <p:cNvPr id="204" name="Rectangle 8">
            <a:extLst>
              <a:ext uri="{FF2B5EF4-FFF2-40B4-BE49-F238E27FC236}">
                <a16:creationId xmlns:a16="http://schemas.microsoft.com/office/drawing/2014/main" id="{62615B7C-BD13-41F9-AF50-04811C5700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721897" y="3808906"/>
            <a:ext cx="137981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61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r>
              <a:rPr lang="en-US" altLang="ko-KR" dirty="0">
                <a:sym typeface="Arial" panose="020B0604020202020204" pitchFamily="34" charset="0"/>
              </a:rPr>
              <a:t>SELLER</a:t>
            </a:r>
          </a:p>
        </p:txBody>
      </p:sp>
      <p:pic>
        <p:nvPicPr>
          <p:cNvPr id="205" name="Picture 18" descr="Image result for Manufacturing">
            <a:extLst>
              <a:ext uri="{FF2B5EF4-FFF2-40B4-BE49-F238E27FC236}">
                <a16:creationId xmlns:a16="http://schemas.microsoft.com/office/drawing/2014/main" id="{7E83B5CC-95A2-4F6C-B3CF-967301051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376" y="5898516"/>
            <a:ext cx="735491" cy="41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" name="Graphic 205">
            <a:extLst>
              <a:ext uri="{FF2B5EF4-FFF2-40B4-BE49-F238E27FC236}">
                <a16:creationId xmlns:a16="http://schemas.microsoft.com/office/drawing/2014/main" id="{3FB11ED3-AF51-4162-9013-0965D1C7D71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499876" y="5846136"/>
            <a:ext cx="566986" cy="563180"/>
          </a:xfrm>
          <a:prstGeom prst="rect">
            <a:avLst/>
          </a:prstGeom>
        </p:spPr>
      </p:pic>
      <p:sp>
        <p:nvSpPr>
          <p:cNvPr id="207" name="Rectangle 8">
            <a:extLst>
              <a:ext uri="{FF2B5EF4-FFF2-40B4-BE49-F238E27FC236}">
                <a16:creationId xmlns:a16="http://schemas.microsoft.com/office/drawing/2014/main" id="{B2DF29F6-2CA6-4096-A97B-ECCE824597F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19536" y="5889307"/>
            <a:ext cx="124790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ogistics</a:t>
            </a:r>
          </a:p>
        </p:txBody>
      </p:sp>
      <p:sp>
        <p:nvSpPr>
          <p:cNvPr id="209" name="Rectangle 8">
            <a:extLst>
              <a:ext uri="{FF2B5EF4-FFF2-40B4-BE49-F238E27FC236}">
                <a16:creationId xmlns:a16="http://schemas.microsoft.com/office/drawing/2014/main" id="{1CC471F3-C2D0-4DC7-83BF-C603D632CE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44496" y="5827752"/>
            <a:ext cx="172579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anufacturing / 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Operation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D2679B9-72C2-4140-9850-5D95D6D8D951}"/>
              </a:ext>
            </a:extLst>
          </p:cNvPr>
          <p:cNvSpPr/>
          <p:nvPr/>
        </p:nvSpPr>
        <p:spPr>
          <a:xfrm>
            <a:off x="10583845" y="2882095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id="{9AD6F184-2FC2-4024-9D7D-38DEBABB1EC5}"/>
              </a:ext>
            </a:extLst>
          </p:cNvPr>
          <p:cNvSpPr/>
          <p:nvPr/>
        </p:nvSpPr>
        <p:spPr>
          <a:xfrm>
            <a:off x="10583845" y="3362959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id="{24B85BEF-7988-470D-B842-0C8084DF463A}"/>
              </a:ext>
            </a:extLst>
          </p:cNvPr>
          <p:cNvSpPr/>
          <p:nvPr/>
        </p:nvSpPr>
        <p:spPr>
          <a:xfrm>
            <a:off x="10583845" y="3843824"/>
            <a:ext cx="1377618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1" name="Rectangle 7">
            <a:extLst>
              <a:ext uri="{FF2B5EF4-FFF2-40B4-BE49-F238E27FC236}">
                <a16:creationId xmlns:a16="http://schemas.microsoft.com/office/drawing/2014/main" id="{45C5F864-3931-404C-8E88-74547AE512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12348" y="2938497"/>
            <a:ext cx="120212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Government</a:t>
            </a:r>
          </a:p>
        </p:txBody>
      </p:sp>
      <p:sp>
        <p:nvSpPr>
          <p:cNvPr id="212" name="Rectangle 7">
            <a:extLst>
              <a:ext uri="{FF2B5EF4-FFF2-40B4-BE49-F238E27FC236}">
                <a16:creationId xmlns:a16="http://schemas.microsoft.com/office/drawing/2014/main" id="{06F26F3E-B086-4A1D-B224-CC2E5D3A09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788395" y="3419050"/>
            <a:ext cx="10500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arge corp.</a:t>
            </a:r>
          </a:p>
        </p:txBody>
      </p:sp>
      <p:sp>
        <p:nvSpPr>
          <p:cNvPr id="213" name="Rectangle 7">
            <a:extLst>
              <a:ext uri="{FF2B5EF4-FFF2-40B4-BE49-F238E27FC236}">
                <a16:creationId xmlns:a16="http://schemas.microsoft.com/office/drawing/2014/main" id="{246E4A72-B623-4830-A49A-16C4E603C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53925" y="3899602"/>
            <a:ext cx="91897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d corp.</a:t>
            </a:r>
          </a:p>
        </p:txBody>
      </p:sp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2BB46E6E-8F5A-4419-A4A3-0FF88529F208}"/>
              </a:ext>
            </a:extLst>
          </p:cNvPr>
          <p:cNvSpPr/>
          <p:nvPr/>
        </p:nvSpPr>
        <p:spPr>
          <a:xfrm>
            <a:off x="140645" y="2745798"/>
            <a:ext cx="1450027" cy="233656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1" name="Rectangle: Rounded Corners 220">
            <a:extLst>
              <a:ext uri="{FF2B5EF4-FFF2-40B4-BE49-F238E27FC236}">
                <a16:creationId xmlns:a16="http://schemas.microsoft.com/office/drawing/2014/main" id="{A8A56664-57FF-40FF-8482-D29FE9E7C235}"/>
              </a:ext>
            </a:extLst>
          </p:cNvPr>
          <p:cNvSpPr/>
          <p:nvPr/>
        </p:nvSpPr>
        <p:spPr>
          <a:xfrm>
            <a:off x="212617" y="2882095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2" name="Rectangle: Rounded Corners 221">
            <a:extLst>
              <a:ext uri="{FF2B5EF4-FFF2-40B4-BE49-F238E27FC236}">
                <a16:creationId xmlns:a16="http://schemas.microsoft.com/office/drawing/2014/main" id="{AB95A022-9442-4C25-B19B-95E53C170A46}"/>
              </a:ext>
            </a:extLst>
          </p:cNvPr>
          <p:cNvSpPr/>
          <p:nvPr/>
        </p:nvSpPr>
        <p:spPr>
          <a:xfrm>
            <a:off x="212617" y="3362959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3" name="Rectangle: Rounded Corners 222">
            <a:extLst>
              <a:ext uri="{FF2B5EF4-FFF2-40B4-BE49-F238E27FC236}">
                <a16:creationId xmlns:a16="http://schemas.microsoft.com/office/drawing/2014/main" id="{167D7EC1-A677-4A6B-B591-9D46BE078A4B}"/>
              </a:ext>
            </a:extLst>
          </p:cNvPr>
          <p:cNvSpPr/>
          <p:nvPr/>
        </p:nvSpPr>
        <p:spPr>
          <a:xfrm>
            <a:off x="212617" y="3843824"/>
            <a:ext cx="1188000" cy="389804"/>
          </a:xfrm>
          <a:prstGeom prst="roundRect">
            <a:avLst>
              <a:gd name="adj" fmla="val 1830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6" name="Rectangle 8">
            <a:extLst>
              <a:ext uri="{FF2B5EF4-FFF2-40B4-BE49-F238E27FC236}">
                <a16:creationId xmlns:a16="http://schemas.microsoft.com/office/drawing/2014/main" id="{6A4142BC-4B62-4253-9886-2AB7B5C3283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066526" y="789529"/>
            <a:ext cx="121347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1313" indent="-341313" defTabSz="895350">
              <a:buClr>
                <a:schemeClr val="tx2"/>
              </a:buClr>
              <a:defRPr sz="1800" b="1">
                <a:solidFill>
                  <a:schemeClr val="accent4"/>
                </a:solidFill>
                <a:latin typeface="+mn-lt"/>
                <a:ea typeface="Gulim" pitchFamily="34" charset="-127"/>
                <a:cs typeface="Arial" panose="020B0604020202020204" pitchFamily="34" charset="0"/>
              </a:defRPr>
            </a:lvl1pPr>
            <a:lvl2pPr marL="742950" indent="-285750" defTabSz="892175">
              <a:defRPr sz="2400"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40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Financing</a:t>
            </a:r>
          </a:p>
        </p:txBody>
      </p:sp>
      <p:pic>
        <p:nvPicPr>
          <p:cNvPr id="237" name="Graphic 236">
            <a:extLst>
              <a:ext uri="{FF2B5EF4-FFF2-40B4-BE49-F238E27FC236}">
                <a16:creationId xmlns:a16="http://schemas.microsoft.com/office/drawing/2014/main" id="{104D54A2-3956-4398-8AFA-13142349EB9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20594" y="1119667"/>
            <a:ext cx="564115" cy="560329"/>
          </a:xfrm>
          <a:prstGeom prst="rect">
            <a:avLst/>
          </a:prstGeom>
        </p:spPr>
      </p:pic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48BA971-B88D-4742-BFD9-256BB4D94060}"/>
              </a:ext>
            </a:extLst>
          </p:cNvPr>
          <p:cNvSpPr/>
          <p:nvPr/>
        </p:nvSpPr>
        <p:spPr>
          <a:xfrm flipV="1">
            <a:off x="2519977" y="1381244"/>
            <a:ext cx="3169553" cy="2530529"/>
          </a:xfrm>
          <a:custGeom>
            <a:avLst/>
            <a:gdLst>
              <a:gd name="connsiteX0" fmla="*/ 0 w 3144033"/>
              <a:gd name="connsiteY0" fmla="*/ 0 h 2743200"/>
              <a:gd name="connsiteX1" fmla="*/ 0 w 3144033"/>
              <a:gd name="connsiteY1" fmla="*/ 2743200 h 2743200"/>
              <a:gd name="connsiteX2" fmla="*/ 3144033 w 3144033"/>
              <a:gd name="connsiteY2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44033" h="2743200">
                <a:moveTo>
                  <a:pt x="0" y="0"/>
                </a:moveTo>
                <a:lnTo>
                  <a:pt x="0" y="2743200"/>
                </a:lnTo>
                <a:lnTo>
                  <a:pt x="3144033" y="2743200"/>
                </a:lnTo>
              </a:path>
            </a:pathLst>
          </a:cu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313E8635-DBAF-42EC-AF67-DB143E8C1038}"/>
              </a:ext>
            </a:extLst>
          </p:cNvPr>
          <p:cNvSpPr/>
          <p:nvPr/>
        </p:nvSpPr>
        <p:spPr>
          <a:xfrm flipH="1" flipV="1">
            <a:off x="6296598" y="1381244"/>
            <a:ext cx="3016188" cy="2562480"/>
          </a:xfrm>
          <a:custGeom>
            <a:avLst/>
            <a:gdLst>
              <a:gd name="connsiteX0" fmla="*/ 0 w 3144033"/>
              <a:gd name="connsiteY0" fmla="*/ 0 h 2743200"/>
              <a:gd name="connsiteX1" fmla="*/ 0 w 3144033"/>
              <a:gd name="connsiteY1" fmla="*/ 2743200 h 2743200"/>
              <a:gd name="connsiteX2" fmla="*/ 3144033 w 3144033"/>
              <a:gd name="connsiteY2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44033" h="2743200">
                <a:moveTo>
                  <a:pt x="0" y="0"/>
                </a:moveTo>
                <a:lnTo>
                  <a:pt x="0" y="2743200"/>
                </a:lnTo>
                <a:lnTo>
                  <a:pt x="3144033" y="2743200"/>
                </a:lnTo>
              </a:path>
            </a:pathLst>
          </a:cu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806A7959-7673-491B-8C6E-6119BE9C1C5F}"/>
              </a:ext>
            </a:extLst>
          </p:cNvPr>
          <p:cNvSpPr/>
          <p:nvPr/>
        </p:nvSpPr>
        <p:spPr>
          <a:xfrm>
            <a:off x="10185946" y="2742363"/>
            <a:ext cx="327606" cy="2340000"/>
          </a:xfrm>
          <a:custGeom>
            <a:avLst/>
            <a:gdLst>
              <a:gd name="connsiteX0" fmla="*/ 0 w 375781"/>
              <a:gd name="connsiteY0" fmla="*/ 1208761 h 2530257"/>
              <a:gd name="connsiteX1" fmla="*/ 375781 w 375781"/>
              <a:gd name="connsiteY1" fmla="*/ 0 h 2530257"/>
              <a:gd name="connsiteX2" fmla="*/ 375781 w 375781"/>
              <a:gd name="connsiteY2" fmla="*/ 2530257 h 2530257"/>
              <a:gd name="connsiteX3" fmla="*/ 6263 w 375781"/>
              <a:gd name="connsiteY3" fmla="*/ 1384126 h 2530257"/>
              <a:gd name="connsiteX0" fmla="*/ 62060 w 437841"/>
              <a:gd name="connsiteY0" fmla="*/ 1208761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  <a:gd name="connsiteX0" fmla="*/ 2277 w 437841"/>
              <a:gd name="connsiteY0" fmla="*/ 1296444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841" h="2530257">
                <a:moveTo>
                  <a:pt x="2277" y="1296444"/>
                </a:moveTo>
                <a:lnTo>
                  <a:pt x="437841" y="0"/>
                </a:lnTo>
                <a:lnTo>
                  <a:pt x="437841" y="2530257"/>
                </a:lnTo>
                <a:lnTo>
                  <a:pt x="0" y="1321496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2" name="Freeform: Shape 241">
            <a:extLst>
              <a:ext uri="{FF2B5EF4-FFF2-40B4-BE49-F238E27FC236}">
                <a16:creationId xmlns:a16="http://schemas.microsoft.com/office/drawing/2014/main" id="{94AD8691-47F2-49E6-953E-AD30A2624C0A}"/>
              </a:ext>
            </a:extLst>
          </p:cNvPr>
          <p:cNvSpPr/>
          <p:nvPr/>
        </p:nvSpPr>
        <p:spPr>
          <a:xfrm flipH="1">
            <a:off x="1584817" y="2742363"/>
            <a:ext cx="327606" cy="2340000"/>
          </a:xfrm>
          <a:custGeom>
            <a:avLst/>
            <a:gdLst>
              <a:gd name="connsiteX0" fmla="*/ 0 w 375781"/>
              <a:gd name="connsiteY0" fmla="*/ 1208761 h 2530257"/>
              <a:gd name="connsiteX1" fmla="*/ 375781 w 375781"/>
              <a:gd name="connsiteY1" fmla="*/ 0 h 2530257"/>
              <a:gd name="connsiteX2" fmla="*/ 375781 w 375781"/>
              <a:gd name="connsiteY2" fmla="*/ 2530257 h 2530257"/>
              <a:gd name="connsiteX3" fmla="*/ 6263 w 375781"/>
              <a:gd name="connsiteY3" fmla="*/ 1384126 h 2530257"/>
              <a:gd name="connsiteX0" fmla="*/ 62060 w 437841"/>
              <a:gd name="connsiteY0" fmla="*/ 1208761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  <a:gd name="connsiteX0" fmla="*/ 2277 w 437841"/>
              <a:gd name="connsiteY0" fmla="*/ 1296444 h 2530257"/>
              <a:gd name="connsiteX1" fmla="*/ 437841 w 437841"/>
              <a:gd name="connsiteY1" fmla="*/ 0 h 2530257"/>
              <a:gd name="connsiteX2" fmla="*/ 437841 w 437841"/>
              <a:gd name="connsiteY2" fmla="*/ 2530257 h 2530257"/>
              <a:gd name="connsiteX3" fmla="*/ 0 w 437841"/>
              <a:gd name="connsiteY3" fmla="*/ 1321496 h 253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7841" h="2530257">
                <a:moveTo>
                  <a:pt x="2277" y="1296444"/>
                </a:moveTo>
                <a:lnTo>
                  <a:pt x="437841" y="0"/>
                </a:lnTo>
                <a:lnTo>
                  <a:pt x="437841" y="2530257"/>
                </a:lnTo>
                <a:lnTo>
                  <a:pt x="0" y="1321496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3" name="Rectangle 8">
            <a:extLst>
              <a:ext uri="{FF2B5EF4-FFF2-40B4-BE49-F238E27FC236}">
                <a16:creationId xmlns:a16="http://schemas.microsoft.com/office/drawing/2014/main" id="{32C8D84F-604C-4973-924D-A3B36BCFCC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367340" y="5693604"/>
            <a:ext cx="220749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1313" indent="-341313" defTabSz="895350">
              <a:buClr>
                <a:schemeClr val="tx2"/>
              </a:buClr>
              <a:defRPr sz="1800" b="1">
                <a:solidFill>
                  <a:schemeClr val="accent4"/>
                </a:solidFill>
                <a:latin typeface="+mn-lt"/>
                <a:ea typeface="Gulim" pitchFamily="34" charset="-127"/>
                <a:cs typeface="Arial" panose="020B0604020202020204" pitchFamily="34" charset="0"/>
              </a:defRPr>
            </a:lvl1pPr>
            <a:lvl2pPr marL="742950" indent="-285750" defTabSz="892175">
              <a:defRPr sz="2400"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Char char="-"/>
              <a:tabLst/>
              <a:defRPr/>
            </a:pPr>
            <a:r>
              <a:rPr kumimoji="0" lang="en-US" altLang="ko-KR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Contract </a:t>
            </a:r>
            <a:r>
              <a:rPr kumimoji="0" lang="en-US" altLang="ko-KR" sz="18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fg</a:t>
            </a:r>
            <a:endParaRPr kumimoji="0" lang="en-US" altLang="ko-KR" sz="1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Gulim" pitchFamily="34" charset="-127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5750" marR="0" lvl="0" indent="-28575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Char char="-"/>
              <a:tabLst/>
              <a:defRPr/>
            </a:pPr>
            <a:r>
              <a:rPr kumimoji="0" lang="en-US" altLang="ko-KR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Services</a:t>
            </a:r>
          </a:p>
          <a:p>
            <a:pPr marL="285750" marR="0" lvl="0" indent="-28575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Char char="-"/>
              <a:tabLst/>
              <a:defRPr/>
            </a:pPr>
            <a:r>
              <a:rPr kumimoji="0" lang="en-US" altLang="ko-KR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Ancillaries </a:t>
            </a: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E85F0EC2-09D3-410C-9BE8-2105E06B08D9}"/>
              </a:ext>
            </a:extLst>
          </p:cNvPr>
          <p:cNvSpPr/>
          <p:nvPr/>
        </p:nvSpPr>
        <p:spPr>
          <a:xfrm>
            <a:off x="9231818" y="5644378"/>
            <a:ext cx="919048" cy="9190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44" name="Graphic 243">
            <a:extLst>
              <a:ext uri="{FF2B5EF4-FFF2-40B4-BE49-F238E27FC236}">
                <a16:creationId xmlns:a16="http://schemas.microsoft.com/office/drawing/2014/main" id="{9D5C6696-C5BA-4CEB-A385-7CEA338583A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363407" y="5791186"/>
            <a:ext cx="589459" cy="585503"/>
          </a:xfrm>
          <a:prstGeom prst="rect">
            <a:avLst/>
          </a:prstGeom>
        </p:spPr>
      </p:pic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ADF39A5A-9275-40AE-B868-86ACBC4D0AB9}"/>
              </a:ext>
            </a:extLst>
          </p:cNvPr>
          <p:cNvCxnSpPr>
            <a:cxnSpLocks/>
            <a:stCxn id="187" idx="0"/>
          </p:cNvCxnSpPr>
          <p:nvPr/>
        </p:nvCxnSpPr>
        <p:spPr>
          <a:xfrm>
            <a:off x="7178927" y="5649057"/>
            <a:ext cx="2376000" cy="13639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1038781E-7656-4D2A-904D-F67E1931E63B}"/>
              </a:ext>
            </a:extLst>
          </p:cNvPr>
          <p:cNvSpPr txBox="1"/>
          <p:nvPr/>
        </p:nvSpPr>
        <p:spPr>
          <a:xfrm>
            <a:off x="5322144" y="3259640"/>
            <a:ext cx="19401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ayments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ADFC3F6B-CFDE-4FB7-89AA-AC5DEB48C133}"/>
              </a:ext>
            </a:extLst>
          </p:cNvPr>
          <p:cNvSpPr txBox="1">
            <a:spLocks/>
          </p:cNvSpPr>
          <p:nvPr/>
        </p:nvSpPr>
        <p:spPr>
          <a:xfrm>
            <a:off x="-24984" y="176747"/>
            <a:ext cx="12216984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Agency FB" panose="020B0503020202020204" pitchFamily="34" charset="0"/>
                <a:ea typeface="+mj-ea"/>
                <a:cs typeface="+mj-cs"/>
              </a:defRPr>
            </a:lvl1pPr>
          </a:lstStyle>
          <a:p>
            <a:r>
              <a:rPr lang="en-IN" sz="3600" dirty="0">
                <a:latin typeface="72 Condensed" panose="020B0506030000000003" pitchFamily="34" charset="0"/>
                <a:cs typeface="72 Condensed" panose="020B0506030000000003" pitchFamily="34" charset="0"/>
              </a:rPr>
              <a:t>Critical role of MSMEs in the B2B Supply Chain Ecosystem</a:t>
            </a:r>
          </a:p>
        </p:txBody>
      </p:sp>
      <p:sp>
        <p:nvSpPr>
          <p:cNvPr id="74" name="Rectangle 7">
            <a:extLst>
              <a:ext uri="{FF2B5EF4-FFF2-40B4-BE49-F238E27FC236}">
                <a16:creationId xmlns:a16="http://schemas.microsoft.com/office/drawing/2014/main" id="{3ED449FF-8135-455F-B982-DFF5EE554B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1426" y="2936150"/>
            <a:ext cx="120212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Government</a:t>
            </a:r>
          </a:p>
        </p:txBody>
      </p:sp>
      <p:sp>
        <p:nvSpPr>
          <p:cNvPr id="75" name="Rectangle 7">
            <a:extLst>
              <a:ext uri="{FF2B5EF4-FFF2-40B4-BE49-F238E27FC236}">
                <a16:creationId xmlns:a16="http://schemas.microsoft.com/office/drawing/2014/main" id="{5B1CC7FF-2ECA-4453-A18F-9C2F1E14A6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7473" y="3416703"/>
            <a:ext cx="10500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Large corp.</a:t>
            </a:r>
          </a:p>
        </p:txBody>
      </p:sp>
      <p:sp>
        <p:nvSpPr>
          <p:cNvPr id="76" name="Rectangle 7">
            <a:extLst>
              <a:ext uri="{FF2B5EF4-FFF2-40B4-BE49-F238E27FC236}">
                <a16:creationId xmlns:a16="http://schemas.microsoft.com/office/drawing/2014/main" id="{FA2E4E42-B744-4492-8962-BCA67C1F21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3003" y="3897255"/>
            <a:ext cx="91897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1313" indent="-341313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2175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2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1313" marR="0" lvl="0" indent="-341313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id corp.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C4FDEEB-50B6-4F52-BCE3-D290D64BBCEB}"/>
              </a:ext>
            </a:extLst>
          </p:cNvPr>
          <p:cNvSpPr/>
          <p:nvPr/>
        </p:nvSpPr>
        <p:spPr>
          <a:xfrm>
            <a:off x="-26427" y="4324689"/>
            <a:ext cx="2022265" cy="53932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7" name="Rectangle 8">
            <a:extLst>
              <a:ext uri="{FF2B5EF4-FFF2-40B4-BE49-F238E27FC236}">
                <a16:creationId xmlns:a16="http://schemas.microsoft.com/office/drawing/2014/main" id="{BBB90F29-DDCA-4F2B-8128-75486AE7356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8194" y="4369770"/>
            <a:ext cx="97302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SME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3BA7BF2-C724-46DD-98D9-FA2437FB6A0C}"/>
              </a:ext>
            </a:extLst>
          </p:cNvPr>
          <p:cNvSpPr/>
          <p:nvPr/>
        </p:nvSpPr>
        <p:spPr>
          <a:xfrm>
            <a:off x="2573965" y="1435583"/>
            <a:ext cx="2022265" cy="53932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9" name="Rectangle 8">
            <a:extLst>
              <a:ext uri="{FF2B5EF4-FFF2-40B4-BE49-F238E27FC236}">
                <a16:creationId xmlns:a16="http://schemas.microsoft.com/office/drawing/2014/main" id="{AB5D57BC-7365-464A-9D67-73597284B3A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81727" y="1480664"/>
            <a:ext cx="120674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IT / ITES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B7E0046-2C26-4736-A344-0491EC42AF4B}"/>
              </a:ext>
            </a:extLst>
          </p:cNvPr>
          <p:cNvSpPr/>
          <p:nvPr/>
        </p:nvSpPr>
        <p:spPr>
          <a:xfrm>
            <a:off x="10159014" y="4324689"/>
            <a:ext cx="2022265" cy="53932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4" name="Rectangle 8">
            <a:extLst>
              <a:ext uri="{FF2B5EF4-FFF2-40B4-BE49-F238E27FC236}">
                <a16:creationId xmlns:a16="http://schemas.microsoft.com/office/drawing/2014/main" id="{1E819158-C957-486F-887F-71BE24DEB69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683635" y="4369770"/>
            <a:ext cx="97302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Gulim" pitchFamily="34" charset="-127"/>
                <a:cs typeface="Arial" panose="020B0604020202020204" pitchFamily="34" charset="0"/>
                <a:sym typeface="Arial" panose="020B0604020202020204" pitchFamily="34" charset="0"/>
              </a:rPr>
              <a:t>MSME</a:t>
            </a:r>
          </a:p>
        </p:txBody>
      </p:sp>
      <p:sp>
        <p:nvSpPr>
          <p:cNvPr id="69" name="Slide Number Placeholder 2">
            <a:extLst>
              <a:ext uri="{FF2B5EF4-FFF2-40B4-BE49-F238E27FC236}">
                <a16:creationId xmlns:a16="http://schemas.microsoft.com/office/drawing/2014/main" id="{25188C07-4BDB-4E41-B1D6-37CB2D69D518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2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113067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/>
      <p:bldP spid="20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2AE2D90-2478-4A18-AFA4-A8D187829F77}"/>
              </a:ext>
            </a:extLst>
          </p:cNvPr>
          <p:cNvSpPr txBox="1">
            <a:spLocks/>
          </p:cNvSpPr>
          <p:nvPr/>
        </p:nvSpPr>
        <p:spPr>
          <a:xfrm>
            <a:off x="0" y="21999"/>
            <a:ext cx="12186282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latin typeface="72 Condensed" panose="020B0506030000000003" pitchFamily="34" charset="0"/>
                <a:ea typeface="+mj-ea"/>
                <a:cs typeface="72 Condensed" panose="020B0506030000000003" pitchFamily="34" charset="0"/>
              </a:defRPr>
            </a:lvl1pPr>
          </a:lstStyle>
          <a:p>
            <a:r>
              <a:rPr lang="en-IN" dirty="0"/>
              <a:t>Bridging the Need-gap for MSMEs in the ecosystem</a:t>
            </a:r>
          </a:p>
        </p:txBody>
      </p: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931D3D7-6572-43AD-A403-64464CDE9A7F}"/>
              </a:ext>
            </a:extLst>
          </p:cNvPr>
          <p:cNvGrpSpPr/>
          <p:nvPr/>
        </p:nvGrpSpPr>
        <p:grpSpPr>
          <a:xfrm>
            <a:off x="67202" y="1353142"/>
            <a:ext cx="1039723" cy="889372"/>
            <a:chOff x="5441949" y="1524000"/>
            <a:chExt cx="6062663" cy="4232275"/>
          </a:xfrm>
        </p:grpSpPr>
        <p:sp>
          <p:nvSpPr>
            <p:cNvPr id="195" name="Freeform 7">
              <a:extLst>
                <a:ext uri="{FF2B5EF4-FFF2-40B4-BE49-F238E27FC236}">
                  <a16:creationId xmlns:a16="http://schemas.microsoft.com/office/drawing/2014/main" id="{AF674091-4E91-4E54-98FE-0BDEEDE8DE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2349" y="3092450"/>
              <a:ext cx="2162175" cy="2663825"/>
            </a:xfrm>
            <a:custGeom>
              <a:avLst/>
              <a:gdLst>
                <a:gd name="T0" fmla="*/ 1265 w 1362"/>
                <a:gd name="T1" fmla="*/ 1602 h 1678"/>
                <a:gd name="T2" fmla="*/ 1288 w 1362"/>
                <a:gd name="T3" fmla="*/ 1591 h 1678"/>
                <a:gd name="T4" fmla="*/ 1299 w 1362"/>
                <a:gd name="T5" fmla="*/ 1586 h 1678"/>
                <a:gd name="T6" fmla="*/ 1306 w 1362"/>
                <a:gd name="T7" fmla="*/ 1583 h 1678"/>
                <a:gd name="T8" fmla="*/ 1315 w 1362"/>
                <a:gd name="T9" fmla="*/ 1578 h 1678"/>
                <a:gd name="T10" fmla="*/ 1362 w 1362"/>
                <a:gd name="T11" fmla="*/ 1552 h 1678"/>
                <a:gd name="T12" fmla="*/ 902 w 1362"/>
                <a:gd name="T13" fmla="*/ 778 h 1678"/>
                <a:gd name="T14" fmla="*/ 1233 w 1362"/>
                <a:gd name="T15" fmla="*/ 1615 h 1678"/>
                <a:gd name="T16" fmla="*/ 1095 w 1362"/>
                <a:gd name="T17" fmla="*/ 1658 h 1678"/>
                <a:gd name="T18" fmla="*/ 951 w 1362"/>
                <a:gd name="T19" fmla="*/ 1677 h 1678"/>
                <a:gd name="T20" fmla="*/ 804 w 1362"/>
                <a:gd name="T21" fmla="*/ 1674 h 1678"/>
                <a:gd name="T22" fmla="*/ 656 w 1362"/>
                <a:gd name="T23" fmla="*/ 1645 h 1678"/>
                <a:gd name="T24" fmla="*/ 518 w 1362"/>
                <a:gd name="T25" fmla="*/ 1592 h 1678"/>
                <a:gd name="T26" fmla="*/ 398 w 1362"/>
                <a:gd name="T27" fmla="*/ 1525 h 1678"/>
                <a:gd name="T28" fmla="*/ 292 w 1362"/>
                <a:gd name="T29" fmla="*/ 1442 h 1678"/>
                <a:gd name="T30" fmla="*/ 201 w 1362"/>
                <a:gd name="T31" fmla="*/ 1344 h 1678"/>
                <a:gd name="T32" fmla="*/ 126 w 1362"/>
                <a:gd name="T33" fmla="*/ 1235 h 1678"/>
                <a:gd name="T34" fmla="*/ 68 w 1362"/>
                <a:gd name="T35" fmla="*/ 1118 h 1678"/>
                <a:gd name="T36" fmla="*/ 26 w 1362"/>
                <a:gd name="T37" fmla="*/ 992 h 1678"/>
                <a:gd name="T38" fmla="*/ 5 w 1362"/>
                <a:gd name="T39" fmla="*/ 862 h 1678"/>
                <a:gd name="T40" fmla="*/ 2 w 1362"/>
                <a:gd name="T41" fmla="*/ 727 h 1678"/>
                <a:gd name="T42" fmla="*/ 20 w 1362"/>
                <a:gd name="T43" fmla="*/ 593 h 1678"/>
                <a:gd name="T44" fmla="*/ 59 w 1362"/>
                <a:gd name="T45" fmla="*/ 459 h 1678"/>
                <a:gd name="T46" fmla="*/ 118 w 1362"/>
                <a:gd name="T47" fmla="*/ 332 h 1678"/>
                <a:gd name="T48" fmla="*/ 195 w 1362"/>
                <a:gd name="T49" fmla="*/ 217 h 1678"/>
                <a:gd name="T50" fmla="*/ 286 w 1362"/>
                <a:gd name="T51" fmla="*/ 119 h 1678"/>
                <a:gd name="T52" fmla="*/ 374 w 1362"/>
                <a:gd name="T53" fmla="*/ 47 h 1678"/>
                <a:gd name="T54" fmla="*/ 374 w 1362"/>
                <a:gd name="T55" fmla="*/ 47 h 1678"/>
                <a:gd name="T56" fmla="*/ 384 w 1362"/>
                <a:gd name="T57" fmla="*/ 40 h 1678"/>
                <a:gd name="T58" fmla="*/ 384 w 1362"/>
                <a:gd name="T59" fmla="*/ 40 h 1678"/>
                <a:gd name="T60" fmla="*/ 396 w 1362"/>
                <a:gd name="T61" fmla="*/ 31 h 1678"/>
                <a:gd name="T62" fmla="*/ 396 w 1362"/>
                <a:gd name="T63" fmla="*/ 31 h 1678"/>
                <a:gd name="T64" fmla="*/ 446 w 1362"/>
                <a:gd name="T65" fmla="*/ 0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62" h="1678">
                  <a:moveTo>
                    <a:pt x="1288" y="1591"/>
                  </a:moveTo>
                  <a:lnTo>
                    <a:pt x="1265" y="1602"/>
                  </a:lnTo>
                  <a:lnTo>
                    <a:pt x="1265" y="1601"/>
                  </a:lnTo>
                  <a:lnTo>
                    <a:pt x="1288" y="1591"/>
                  </a:lnTo>
                  <a:close/>
                  <a:moveTo>
                    <a:pt x="1306" y="1583"/>
                  </a:moveTo>
                  <a:lnTo>
                    <a:pt x="1299" y="1586"/>
                  </a:lnTo>
                  <a:lnTo>
                    <a:pt x="1288" y="1591"/>
                  </a:lnTo>
                  <a:lnTo>
                    <a:pt x="1306" y="1583"/>
                  </a:lnTo>
                  <a:close/>
                  <a:moveTo>
                    <a:pt x="1362" y="1552"/>
                  </a:moveTo>
                  <a:lnTo>
                    <a:pt x="1315" y="1578"/>
                  </a:lnTo>
                  <a:lnTo>
                    <a:pt x="1306" y="1583"/>
                  </a:lnTo>
                  <a:lnTo>
                    <a:pt x="1362" y="1552"/>
                  </a:lnTo>
                  <a:close/>
                  <a:moveTo>
                    <a:pt x="374" y="47"/>
                  </a:moveTo>
                  <a:lnTo>
                    <a:pt x="902" y="778"/>
                  </a:lnTo>
                  <a:lnTo>
                    <a:pt x="1265" y="1601"/>
                  </a:lnTo>
                  <a:lnTo>
                    <a:pt x="1233" y="1615"/>
                  </a:lnTo>
                  <a:lnTo>
                    <a:pt x="1165" y="1639"/>
                  </a:lnTo>
                  <a:lnTo>
                    <a:pt x="1095" y="1658"/>
                  </a:lnTo>
                  <a:lnTo>
                    <a:pt x="1024" y="1670"/>
                  </a:lnTo>
                  <a:lnTo>
                    <a:pt x="951" y="1677"/>
                  </a:lnTo>
                  <a:lnTo>
                    <a:pt x="878" y="1678"/>
                  </a:lnTo>
                  <a:lnTo>
                    <a:pt x="804" y="1674"/>
                  </a:lnTo>
                  <a:lnTo>
                    <a:pt x="730" y="1662"/>
                  </a:lnTo>
                  <a:lnTo>
                    <a:pt x="656" y="1645"/>
                  </a:lnTo>
                  <a:lnTo>
                    <a:pt x="583" y="1620"/>
                  </a:lnTo>
                  <a:lnTo>
                    <a:pt x="518" y="1592"/>
                  </a:lnTo>
                  <a:lnTo>
                    <a:pt x="456" y="1561"/>
                  </a:lnTo>
                  <a:lnTo>
                    <a:pt x="398" y="1525"/>
                  </a:lnTo>
                  <a:lnTo>
                    <a:pt x="344" y="1485"/>
                  </a:lnTo>
                  <a:lnTo>
                    <a:pt x="292" y="1442"/>
                  </a:lnTo>
                  <a:lnTo>
                    <a:pt x="244" y="1395"/>
                  </a:lnTo>
                  <a:lnTo>
                    <a:pt x="201" y="1344"/>
                  </a:lnTo>
                  <a:lnTo>
                    <a:pt x="162" y="1291"/>
                  </a:lnTo>
                  <a:lnTo>
                    <a:pt x="126" y="1235"/>
                  </a:lnTo>
                  <a:lnTo>
                    <a:pt x="95" y="1177"/>
                  </a:lnTo>
                  <a:lnTo>
                    <a:pt x="68" y="1118"/>
                  </a:lnTo>
                  <a:lnTo>
                    <a:pt x="44" y="1056"/>
                  </a:lnTo>
                  <a:lnTo>
                    <a:pt x="26" y="992"/>
                  </a:lnTo>
                  <a:lnTo>
                    <a:pt x="13" y="927"/>
                  </a:lnTo>
                  <a:lnTo>
                    <a:pt x="5" y="862"/>
                  </a:lnTo>
                  <a:lnTo>
                    <a:pt x="0" y="795"/>
                  </a:lnTo>
                  <a:lnTo>
                    <a:pt x="2" y="727"/>
                  </a:lnTo>
                  <a:lnTo>
                    <a:pt x="8" y="660"/>
                  </a:lnTo>
                  <a:lnTo>
                    <a:pt x="20" y="593"/>
                  </a:lnTo>
                  <a:lnTo>
                    <a:pt x="37" y="525"/>
                  </a:lnTo>
                  <a:lnTo>
                    <a:pt x="59" y="459"/>
                  </a:lnTo>
                  <a:lnTo>
                    <a:pt x="86" y="394"/>
                  </a:lnTo>
                  <a:lnTo>
                    <a:pt x="118" y="332"/>
                  </a:lnTo>
                  <a:lnTo>
                    <a:pt x="154" y="273"/>
                  </a:lnTo>
                  <a:lnTo>
                    <a:pt x="195" y="217"/>
                  </a:lnTo>
                  <a:lnTo>
                    <a:pt x="239" y="166"/>
                  </a:lnTo>
                  <a:lnTo>
                    <a:pt x="286" y="119"/>
                  </a:lnTo>
                  <a:lnTo>
                    <a:pt x="336" y="75"/>
                  </a:lnTo>
                  <a:lnTo>
                    <a:pt x="374" y="47"/>
                  </a:lnTo>
                  <a:close/>
                  <a:moveTo>
                    <a:pt x="384" y="40"/>
                  </a:moveTo>
                  <a:lnTo>
                    <a:pt x="374" y="47"/>
                  </a:lnTo>
                  <a:lnTo>
                    <a:pt x="374" y="47"/>
                  </a:lnTo>
                  <a:lnTo>
                    <a:pt x="384" y="40"/>
                  </a:lnTo>
                  <a:close/>
                  <a:moveTo>
                    <a:pt x="396" y="31"/>
                  </a:moveTo>
                  <a:lnTo>
                    <a:pt x="384" y="40"/>
                  </a:lnTo>
                  <a:lnTo>
                    <a:pt x="390" y="35"/>
                  </a:lnTo>
                  <a:lnTo>
                    <a:pt x="396" y="31"/>
                  </a:lnTo>
                  <a:close/>
                  <a:moveTo>
                    <a:pt x="446" y="0"/>
                  </a:moveTo>
                  <a:lnTo>
                    <a:pt x="396" y="31"/>
                  </a:lnTo>
                  <a:lnTo>
                    <a:pt x="409" y="23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000000">
                <a:alpha val="14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8">
              <a:extLst>
                <a:ext uri="{FF2B5EF4-FFF2-40B4-BE49-F238E27FC236}">
                  <a16:creationId xmlns:a16="http://schemas.microsoft.com/office/drawing/2014/main" id="{2B8B2E65-2677-4B0B-A7A0-E1EE9C0AF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4327525"/>
              <a:ext cx="1339850" cy="504825"/>
            </a:xfrm>
            <a:custGeom>
              <a:avLst/>
              <a:gdLst>
                <a:gd name="T0" fmla="*/ 0 w 844"/>
                <a:gd name="T1" fmla="*/ 0 h 318"/>
                <a:gd name="T2" fmla="*/ 842 w 844"/>
                <a:gd name="T3" fmla="*/ 318 h 318"/>
                <a:gd name="T4" fmla="*/ 844 w 844"/>
                <a:gd name="T5" fmla="*/ 314 h 318"/>
                <a:gd name="T6" fmla="*/ 842 w 844"/>
                <a:gd name="T7" fmla="*/ 318 h 318"/>
                <a:gd name="T8" fmla="*/ 0 w 844"/>
                <a:gd name="T9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4" h="318">
                  <a:moveTo>
                    <a:pt x="0" y="0"/>
                  </a:moveTo>
                  <a:lnTo>
                    <a:pt x="842" y="318"/>
                  </a:lnTo>
                  <a:lnTo>
                    <a:pt x="844" y="314"/>
                  </a:lnTo>
                  <a:lnTo>
                    <a:pt x="842" y="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9">
              <a:extLst>
                <a:ext uri="{FF2B5EF4-FFF2-40B4-BE49-F238E27FC236}">
                  <a16:creationId xmlns:a16="http://schemas.microsoft.com/office/drawing/2014/main" id="{5E51E858-376A-40F9-A7EA-D512A3229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4" y="2903537"/>
              <a:ext cx="838200" cy="1423987"/>
            </a:xfrm>
            <a:custGeom>
              <a:avLst/>
              <a:gdLst>
                <a:gd name="T0" fmla="*/ 427 w 528"/>
                <a:gd name="T1" fmla="*/ 0 h 897"/>
                <a:gd name="T2" fmla="*/ 528 w 528"/>
                <a:gd name="T3" fmla="*/ 897 h 897"/>
                <a:gd name="T4" fmla="*/ 0 w 528"/>
                <a:gd name="T5" fmla="*/ 166 h 897"/>
                <a:gd name="T6" fmla="*/ 35 w 528"/>
                <a:gd name="T7" fmla="*/ 142 h 897"/>
                <a:gd name="T8" fmla="*/ 72 w 528"/>
                <a:gd name="T9" fmla="*/ 119 h 897"/>
                <a:gd name="T10" fmla="*/ 72 w 528"/>
                <a:gd name="T11" fmla="*/ 118 h 897"/>
                <a:gd name="T12" fmla="*/ 110 w 528"/>
                <a:gd name="T13" fmla="*/ 98 h 897"/>
                <a:gd name="T14" fmla="*/ 148 w 528"/>
                <a:gd name="T15" fmla="*/ 78 h 897"/>
                <a:gd name="T16" fmla="*/ 150 w 528"/>
                <a:gd name="T17" fmla="*/ 77 h 897"/>
                <a:gd name="T18" fmla="*/ 202 w 528"/>
                <a:gd name="T19" fmla="*/ 56 h 897"/>
                <a:gd name="T20" fmla="*/ 204 w 528"/>
                <a:gd name="T21" fmla="*/ 55 h 897"/>
                <a:gd name="T22" fmla="*/ 227 w 528"/>
                <a:gd name="T23" fmla="*/ 46 h 897"/>
                <a:gd name="T24" fmla="*/ 232 w 528"/>
                <a:gd name="T25" fmla="*/ 45 h 897"/>
                <a:gd name="T26" fmla="*/ 283 w 528"/>
                <a:gd name="T27" fmla="*/ 28 h 897"/>
                <a:gd name="T28" fmla="*/ 288 w 528"/>
                <a:gd name="T29" fmla="*/ 27 h 897"/>
                <a:gd name="T30" fmla="*/ 310 w 528"/>
                <a:gd name="T31" fmla="*/ 22 h 897"/>
                <a:gd name="T32" fmla="*/ 315 w 528"/>
                <a:gd name="T33" fmla="*/ 21 h 897"/>
                <a:gd name="T34" fmla="*/ 367 w 528"/>
                <a:gd name="T35" fmla="*/ 9 h 897"/>
                <a:gd name="T36" fmla="*/ 373 w 528"/>
                <a:gd name="T37" fmla="*/ 8 h 897"/>
                <a:gd name="T38" fmla="*/ 395 w 528"/>
                <a:gd name="T39" fmla="*/ 5 h 897"/>
                <a:gd name="T40" fmla="*/ 400 w 528"/>
                <a:gd name="T41" fmla="*/ 4 h 897"/>
                <a:gd name="T42" fmla="*/ 427 w 528"/>
                <a:gd name="T43" fmla="*/ 0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8" h="897">
                  <a:moveTo>
                    <a:pt x="427" y="0"/>
                  </a:moveTo>
                  <a:lnTo>
                    <a:pt x="528" y="897"/>
                  </a:lnTo>
                  <a:lnTo>
                    <a:pt x="0" y="166"/>
                  </a:lnTo>
                  <a:lnTo>
                    <a:pt x="35" y="142"/>
                  </a:lnTo>
                  <a:lnTo>
                    <a:pt x="72" y="119"/>
                  </a:lnTo>
                  <a:lnTo>
                    <a:pt x="72" y="118"/>
                  </a:lnTo>
                  <a:lnTo>
                    <a:pt x="110" y="98"/>
                  </a:lnTo>
                  <a:lnTo>
                    <a:pt x="148" y="78"/>
                  </a:lnTo>
                  <a:lnTo>
                    <a:pt x="150" y="77"/>
                  </a:lnTo>
                  <a:lnTo>
                    <a:pt x="202" y="56"/>
                  </a:lnTo>
                  <a:lnTo>
                    <a:pt x="204" y="55"/>
                  </a:lnTo>
                  <a:lnTo>
                    <a:pt x="227" y="46"/>
                  </a:lnTo>
                  <a:lnTo>
                    <a:pt x="232" y="45"/>
                  </a:lnTo>
                  <a:lnTo>
                    <a:pt x="283" y="28"/>
                  </a:lnTo>
                  <a:lnTo>
                    <a:pt x="288" y="27"/>
                  </a:lnTo>
                  <a:lnTo>
                    <a:pt x="310" y="22"/>
                  </a:lnTo>
                  <a:lnTo>
                    <a:pt x="315" y="21"/>
                  </a:lnTo>
                  <a:lnTo>
                    <a:pt x="367" y="9"/>
                  </a:lnTo>
                  <a:lnTo>
                    <a:pt x="373" y="8"/>
                  </a:lnTo>
                  <a:lnTo>
                    <a:pt x="395" y="5"/>
                  </a:lnTo>
                  <a:lnTo>
                    <a:pt x="400" y="4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Rectangle 11">
              <a:extLst>
                <a:ext uri="{FF2B5EF4-FFF2-40B4-BE49-F238E27FC236}">
                  <a16:creationId xmlns:a16="http://schemas.microsoft.com/office/drawing/2014/main" id="{2A2F3FAF-3413-4D2E-B6A4-1E730F30D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7937" y="3898900"/>
              <a:ext cx="1588" cy="1587"/>
            </a:xfrm>
            <a:prstGeom prst="rect">
              <a:avLst/>
            </a:prstGeom>
            <a:solidFill>
              <a:srgbClr val="000000">
                <a:alpha val="32000"/>
              </a:srgb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2">
              <a:extLst>
                <a:ext uri="{FF2B5EF4-FFF2-40B4-BE49-F238E27FC236}">
                  <a16:creationId xmlns:a16="http://schemas.microsoft.com/office/drawing/2014/main" id="{7AEEF1E3-CE84-430E-A36B-DFE5DFF82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7" y="2895600"/>
              <a:ext cx="1524000" cy="1431925"/>
            </a:xfrm>
            <a:custGeom>
              <a:avLst/>
              <a:gdLst>
                <a:gd name="T0" fmla="*/ 127 w 960"/>
                <a:gd name="T1" fmla="*/ 0 h 902"/>
                <a:gd name="T2" fmla="*/ 155 w 960"/>
                <a:gd name="T3" fmla="*/ 1 h 902"/>
                <a:gd name="T4" fmla="*/ 180 w 960"/>
                <a:gd name="T5" fmla="*/ 3 h 902"/>
                <a:gd name="T6" fmla="*/ 204 w 960"/>
                <a:gd name="T7" fmla="*/ 5 h 902"/>
                <a:gd name="T8" fmla="*/ 229 w 960"/>
                <a:gd name="T9" fmla="*/ 9 h 902"/>
                <a:gd name="T10" fmla="*/ 255 w 960"/>
                <a:gd name="T11" fmla="*/ 13 h 902"/>
                <a:gd name="T12" fmla="*/ 288 w 960"/>
                <a:gd name="T13" fmla="*/ 19 h 902"/>
                <a:gd name="T14" fmla="*/ 311 w 960"/>
                <a:gd name="T15" fmla="*/ 25 h 902"/>
                <a:gd name="T16" fmla="*/ 336 w 960"/>
                <a:gd name="T17" fmla="*/ 31 h 902"/>
                <a:gd name="T18" fmla="*/ 360 w 960"/>
                <a:gd name="T19" fmla="*/ 39 h 902"/>
                <a:gd name="T20" fmla="*/ 385 w 960"/>
                <a:gd name="T21" fmla="*/ 46 h 902"/>
                <a:gd name="T22" fmla="*/ 413 w 960"/>
                <a:gd name="T23" fmla="*/ 56 h 902"/>
                <a:gd name="T24" fmla="*/ 427 w 960"/>
                <a:gd name="T25" fmla="*/ 61 h 902"/>
                <a:gd name="T26" fmla="*/ 452 w 960"/>
                <a:gd name="T27" fmla="*/ 72 h 902"/>
                <a:gd name="T28" fmla="*/ 476 w 960"/>
                <a:gd name="T29" fmla="*/ 81 h 902"/>
                <a:gd name="T30" fmla="*/ 498 w 960"/>
                <a:gd name="T31" fmla="*/ 92 h 902"/>
                <a:gd name="T32" fmla="*/ 521 w 960"/>
                <a:gd name="T33" fmla="*/ 104 h 902"/>
                <a:gd name="T34" fmla="*/ 542 w 960"/>
                <a:gd name="T35" fmla="*/ 116 h 902"/>
                <a:gd name="T36" fmla="*/ 564 w 960"/>
                <a:gd name="T37" fmla="*/ 127 h 902"/>
                <a:gd name="T38" fmla="*/ 591 w 960"/>
                <a:gd name="T39" fmla="*/ 146 h 902"/>
                <a:gd name="T40" fmla="*/ 613 w 960"/>
                <a:gd name="T41" fmla="*/ 159 h 902"/>
                <a:gd name="T42" fmla="*/ 632 w 960"/>
                <a:gd name="T43" fmla="*/ 173 h 902"/>
                <a:gd name="T44" fmla="*/ 651 w 960"/>
                <a:gd name="T45" fmla="*/ 188 h 902"/>
                <a:gd name="T46" fmla="*/ 671 w 960"/>
                <a:gd name="T47" fmla="*/ 203 h 902"/>
                <a:gd name="T48" fmla="*/ 689 w 960"/>
                <a:gd name="T49" fmla="*/ 218 h 902"/>
                <a:gd name="T50" fmla="*/ 711 w 960"/>
                <a:gd name="T51" fmla="*/ 239 h 902"/>
                <a:gd name="T52" fmla="*/ 730 w 960"/>
                <a:gd name="T53" fmla="*/ 257 h 902"/>
                <a:gd name="T54" fmla="*/ 747 w 960"/>
                <a:gd name="T55" fmla="*/ 274 h 902"/>
                <a:gd name="T56" fmla="*/ 765 w 960"/>
                <a:gd name="T57" fmla="*/ 291 h 902"/>
                <a:gd name="T58" fmla="*/ 780 w 960"/>
                <a:gd name="T59" fmla="*/ 309 h 902"/>
                <a:gd name="T60" fmla="*/ 796 w 960"/>
                <a:gd name="T61" fmla="*/ 327 h 902"/>
                <a:gd name="T62" fmla="*/ 811 w 960"/>
                <a:gd name="T63" fmla="*/ 345 h 902"/>
                <a:gd name="T64" fmla="*/ 829 w 960"/>
                <a:gd name="T65" fmla="*/ 370 h 902"/>
                <a:gd name="T66" fmla="*/ 844 w 960"/>
                <a:gd name="T67" fmla="*/ 390 h 902"/>
                <a:gd name="T68" fmla="*/ 857 w 960"/>
                <a:gd name="T69" fmla="*/ 411 h 902"/>
                <a:gd name="T70" fmla="*/ 869 w 960"/>
                <a:gd name="T71" fmla="*/ 431 h 902"/>
                <a:gd name="T72" fmla="*/ 881 w 960"/>
                <a:gd name="T73" fmla="*/ 451 h 902"/>
                <a:gd name="T74" fmla="*/ 893 w 960"/>
                <a:gd name="T75" fmla="*/ 472 h 902"/>
                <a:gd name="T76" fmla="*/ 907 w 960"/>
                <a:gd name="T77" fmla="*/ 499 h 902"/>
                <a:gd name="T78" fmla="*/ 917 w 960"/>
                <a:gd name="T79" fmla="*/ 522 h 902"/>
                <a:gd name="T80" fmla="*/ 928 w 960"/>
                <a:gd name="T81" fmla="*/ 544 h 902"/>
                <a:gd name="T82" fmla="*/ 937 w 960"/>
                <a:gd name="T83" fmla="*/ 566 h 902"/>
                <a:gd name="T84" fmla="*/ 945 w 960"/>
                <a:gd name="T85" fmla="*/ 588 h 902"/>
                <a:gd name="T86" fmla="*/ 954 w 960"/>
                <a:gd name="T87" fmla="*/ 610 h 902"/>
                <a:gd name="T88" fmla="*/ 960 w 960"/>
                <a:gd name="T89" fmla="*/ 632 h 902"/>
                <a:gd name="T90" fmla="*/ 0 w 960"/>
                <a:gd name="T91" fmla="*/ 5 h 902"/>
                <a:gd name="T92" fmla="*/ 29 w 960"/>
                <a:gd name="T93" fmla="*/ 2 h 902"/>
                <a:gd name="T94" fmla="*/ 57 w 960"/>
                <a:gd name="T95" fmla="*/ 1 h 902"/>
                <a:gd name="T96" fmla="*/ 81 w 960"/>
                <a:gd name="T97" fmla="*/ 0 h 902"/>
                <a:gd name="T98" fmla="*/ 107 w 960"/>
                <a:gd name="T9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0" h="902">
                  <a:moveTo>
                    <a:pt x="107" y="0"/>
                  </a:moveTo>
                  <a:lnTo>
                    <a:pt x="127" y="0"/>
                  </a:lnTo>
                  <a:lnTo>
                    <a:pt x="132" y="0"/>
                  </a:lnTo>
                  <a:lnTo>
                    <a:pt x="155" y="1"/>
                  </a:lnTo>
                  <a:lnTo>
                    <a:pt x="163" y="2"/>
                  </a:lnTo>
                  <a:lnTo>
                    <a:pt x="180" y="3"/>
                  </a:lnTo>
                  <a:lnTo>
                    <a:pt x="189" y="4"/>
                  </a:lnTo>
                  <a:lnTo>
                    <a:pt x="204" y="5"/>
                  </a:lnTo>
                  <a:lnTo>
                    <a:pt x="215" y="6"/>
                  </a:lnTo>
                  <a:lnTo>
                    <a:pt x="229" y="9"/>
                  </a:lnTo>
                  <a:lnTo>
                    <a:pt x="240" y="11"/>
                  </a:lnTo>
                  <a:lnTo>
                    <a:pt x="255" y="13"/>
                  </a:lnTo>
                  <a:lnTo>
                    <a:pt x="264" y="15"/>
                  </a:lnTo>
                  <a:lnTo>
                    <a:pt x="288" y="19"/>
                  </a:lnTo>
                  <a:lnTo>
                    <a:pt x="296" y="21"/>
                  </a:lnTo>
                  <a:lnTo>
                    <a:pt x="311" y="25"/>
                  </a:lnTo>
                  <a:lnTo>
                    <a:pt x="322" y="28"/>
                  </a:lnTo>
                  <a:lnTo>
                    <a:pt x="336" y="31"/>
                  </a:lnTo>
                  <a:lnTo>
                    <a:pt x="348" y="34"/>
                  </a:lnTo>
                  <a:lnTo>
                    <a:pt x="360" y="39"/>
                  </a:lnTo>
                  <a:lnTo>
                    <a:pt x="371" y="42"/>
                  </a:lnTo>
                  <a:lnTo>
                    <a:pt x="385" y="46"/>
                  </a:lnTo>
                  <a:lnTo>
                    <a:pt x="396" y="49"/>
                  </a:lnTo>
                  <a:lnTo>
                    <a:pt x="413" y="56"/>
                  </a:lnTo>
                  <a:lnTo>
                    <a:pt x="419" y="58"/>
                  </a:lnTo>
                  <a:lnTo>
                    <a:pt x="427" y="61"/>
                  </a:lnTo>
                  <a:lnTo>
                    <a:pt x="442" y="67"/>
                  </a:lnTo>
                  <a:lnTo>
                    <a:pt x="452" y="72"/>
                  </a:lnTo>
                  <a:lnTo>
                    <a:pt x="465" y="77"/>
                  </a:lnTo>
                  <a:lnTo>
                    <a:pt x="476" y="81"/>
                  </a:lnTo>
                  <a:lnTo>
                    <a:pt x="488" y="88"/>
                  </a:lnTo>
                  <a:lnTo>
                    <a:pt x="498" y="92"/>
                  </a:lnTo>
                  <a:lnTo>
                    <a:pt x="510" y="98"/>
                  </a:lnTo>
                  <a:lnTo>
                    <a:pt x="521" y="104"/>
                  </a:lnTo>
                  <a:lnTo>
                    <a:pt x="533" y="110"/>
                  </a:lnTo>
                  <a:lnTo>
                    <a:pt x="542" y="116"/>
                  </a:lnTo>
                  <a:lnTo>
                    <a:pt x="555" y="123"/>
                  </a:lnTo>
                  <a:lnTo>
                    <a:pt x="564" y="127"/>
                  </a:lnTo>
                  <a:lnTo>
                    <a:pt x="583" y="140"/>
                  </a:lnTo>
                  <a:lnTo>
                    <a:pt x="591" y="146"/>
                  </a:lnTo>
                  <a:lnTo>
                    <a:pt x="603" y="153"/>
                  </a:lnTo>
                  <a:lnTo>
                    <a:pt x="613" y="159"/>
                  </a:lnTo>
                  <a:lnTo>
                    <a:pt x="623" y="167"/>
                  </a:lnTo>
                  <a:lnTo>
                    <a:pt x="632" y="173"/>
                  </a:lnTo>
                  <a:lnTo>
                    <a:pt x="644" y="182"/>
                  </a:lnTo>
                  <a:lnTo>
                    <a:pt x="651" y="188"/>
                  </a:lnTo>
                  <a:lnTo>
                    <a:pt x="663" y="197"/>
                  </a:lnTo>
                  <a:lnTo>
                    <a:pt x="671" y="203"/>
                  </a:lnTo>
                  <a:lnTo>
                    <a:pt x="682" y="213"/>
                  </a:lnTo>
                  <a:lnTo>
                    <a:pt x="689" y="218"/>
                  </a:lnTo>
                  <a:lnTo>
                    <a:pt x="707" y="234"/>
                  </a:lnTo>
                  <a:lnTo>
                    <a:pt x="711" y="239"/>
                  </a:lnTo>
                  <a:lnTo>
                    <a:pt x="724" y="250"/>
                  </a:lnTo>
                  <a:lnTo>
                    <a:pt x="730" y="257"/>
                  </a:lnTo>
                  <a:lnTo>
                    <a:pt x="741" y="266"/>
                  </a:lnTo>
                  <a:lnTo>
                    <a:pt x="747" y="274"/>
                  </a:lnTo>
                  <a:lnTo>
                    <a:pt x="757" y="285"/>
                  </a:lnTo>
                  <a:lnTo>
                    <a:pt x="765" y="291"/>
                  </a:lnTo>
                  <a:lnTo>
                    <a:pt x="774" y="302"/>
                  </a:lnTo>
                  <a:lnTo>
                    <a:pt x="780" y="309"/>
                  </a:lnTo>
                  <a:lnTo>
                    <a:pt x="790" y="321"/>
                  </a:lnTo>
                  <a:lnTo>
                    <a:pt x="796" y="327"/>
                  </a:lnTo>
                  <a:lnTo>
                    <a:pt x="811" y="345"/>
                  </a:lnTo>
                  <a:lnTo>
                    <a:pt x="811" y="345"/>
                  </a:lnTo>
                  <a:lnTo>
                    <a:pt x="824" y="365"/>
                  </a:lnTo>
                  <a:lnTo>
                    <a:pt x="829" y="370"/>
                  </a:lnTo>
                  <a:lnTo>
                    <a:pt x="838" y="383"/>
                  </a:lnTo>
                  <a:lnTo>
                    <a:pt x="844" y="390"/>
                  </a:lnTo>
                  <a:lnTo>
                    <a:pt x="851" y="403"/>
                  </a:lnTo>
                  <a:lnTo>
                    <a:pt x="857" y="411"/>
                  </a:lnTo>
                  <a:lnTo>
                    <a:pt x="864" y="424"/>
                  </a:lnTo>
                  <a:lnTo>
                    <a:pt x="869" y="431"/>
                  </a:lnTo>
                  <a:lnTo>
                    <a:pt x="877" y="444"/>
                  </a:lnTo>
                  <a:lnTo>
                    <a:pt x="881" y="451"/>
                  </a:lnTo>
                  <a:lnTo>
                    <a:pt x="891" y="467"/>
                  </a:lnTo>
                  <a:lnTo>
                    <a:pt x="893" y="472"/>
                  </a:lnTo>
                  <a:lnTo>
                    <a:pt x="904" y="492"/>
                  </a:lnTo>
                  <a:lnTo>
                    <a:pt x="907" y="499"/>
                  </a:lnTo>
                  <a:lnTo>
                    <a:pt x="914" y="513"/>
                  </a:lnTo>
                  <a:lnTo>
                    <a:pt x="917" y="522"/>
                  </a:lnTo>
                  <a:lnTo>
                    <a:pt x="924" y="535"/>
                  </a:lnTo>
                  <a:lnTo>
                    <a:pt x="928" y="544"/>
                  </a:lnTo>
                  <a:lnTo>
                    <a:pt x="934" y="556"/>
                  </a:lnTo>
                  <a:lnTo>
                    <a:pt x="937" y="566"/>
                  </a:lnTo>
                  <a:lnTo>
                    <a:pt x="942" y="579"/>
                  </a:lnTo>
                  <a:lnTo>
                    <a:pt x="945" y="588"/>
                  </a:lnTo>
                  <a:lnTo>
                    <a:pt x="951" y="601"/>
                  </a:lnTo>
                  <a:lnTo>
                    <a:pt x="954" y="610"/>
                  </a:lnTo>
                  <a:lnTo>
                    <a:pt x="960" y="632"/>
                  </a:lnTo>
                  <a:lnTo>
                    <a:pt x="960" y="632"/>
                  </a:lnTo>
                  <a:lnTo>
                    <a:pt x="101" y="902"/>
                  </a:lnTo>
                  <a:lnTo>
                    <a:pt x="0" y="5"/>
                  </a:lnTo>
                  <a:lnTo>
                    <a:pt x="25" y="3"/>
                  </a:lnTo>
                  <a:lnTo>
                    <a:pt x="29" y="2"/>
                  </a:lnTo>
                  <a:lnTo>
                    <a:pt x="49" y="1"/>
                  </a:lnTo>
                  <a:lnTo>
                    <a:pt x="57" y="1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100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13">
              <a:extLst>
                <a:ext uri="{FF2B5EF4-FFF2-40B4-BE49-F238E27FC236}">
                  <a16:creationId xmlns:a16="http://schemas.microsoft.com/office/drawing/2014/main" id="{870C1F68-1327-4137-86CC-6FB24DC99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7937" y="3898900"/>
              <a:ext cx="11113" cy="30162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7 w 7"/>
                <a:gd name="T5" fmla="*/ 19 h 19"/>
                <a:gd name="T6" fmla="*/ 0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14">
              <a:extLst>
                <a:ext uri="{FF2B5EF4-FFF2-40B4-BE49-F238E27FC236}">
                  <a16:creationId xmlns:a16="http://schemas.microsoft.com/office/drawing/2014/main" id="{07569E8F-81BC-4C75-953A-BB4AB49B6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3898900"/>
              <a:ext cx="1430338" cy="933450"/>
            </a:xfrm>
            <a:custGeom>
              <a:avLst/>
              <a:gdLst>
                <a:gd name="T0" fmla="*/ 859 w 901"/>
                <a:gd name="T1" fmla="*/ 0 h 588"/>
                <a:gd name="T2" fmla="*/ 866 w 901"/>
                <a:gd name="T3" fmla="*/ 19 h 588"/>
                <a:gd name="T4" fmla="*/ 866 w 901"/>
                <a:gd name="T5" fmla="*/ 21 h 588"/>
                <a:gd name="T6" fmla="*/ 871 w 901"/>
                <a:gd name="T7" fmla="*/ 40 h 588"/>
                <a:gd name="T8" fmla="*/ 872 w 901"/>
                <a:gd name="T9" fmla="*/ 44 h 588"/>
                <a:gd name="T10" fmla="*/ 876 w 901"/>
                <a:gd name="T11" fmla="*/ 60 h 588"/>
                <a:gd name="T12" fmla="*/ 877 w 901"/>
                <a:gd name="T13" fmla="*/ 64 h 588"/>
                <a:gd name="T14" fmla="*/ 881 w 901"/>
                <a:gd name="T15" fmla="*/ 80 h 588"/>
                <a:gd name="T16" fmla="*/ 882 w 901"/>
                <a:gd name="T17" fmla="*/ 85 h 588"/>
                <a:gd name="T18" fmla="*/ 885 w 901"/>
                <a:gd name="T19" fmla="*/ 103 h 588"/>
                <a:gd name="T20" fmla="*/ 886 w 901"/>
                <a:gd name="T21" fmla="*/ 105 h 588"/>
                <a:gd name="T22" fmla="*/ 892 w 901"/>
                <a:gd name="T23" fmla="*/ 147 h 588"/>
                <a:gd name="T24" fmla="*/ 893 w 901"/>
                <a:gd name="T25" fmla="*/ 151 h 588"/>
                <a:gd name="T26" fmla="*/ 895 w 901"/>
                <a:gd name="T27" fmla="*/ 167 h 588"/>
                <a:gd name="T28" fmla="*/ 896 w 901"/>
                <a:gd name="T29" fmla="*/ 172 h 588"/>
                <a:gd name="T30" fmla="*/ 897 w 901"/>
                <a:gd name="T31" fmla="*/ 187 h 588"/>
                <a:gd name="T32" fmla="*/ 898 w 901"/>
                <a:gd name="T33" fmla="*/ 194 h 588"/>
                <a:gd name="T34" fmla="*/ 899 w 901"/>
                <a:gd name="T35" fmla="*/ 210 h 588"/>
                <a:gd name="T36" fmla="*/ 899 w 901"/>
                <a:gd name="T37" fmla="*/ 214 h 588"/>
                <a:gd name="T38" fmla="*/ 901 w 901"/>
                <a:gd name="T39" fmla="*/ 256 h 588"/>
                <a:gd name="T40" fmla="*/ 901 w 901"/>
                <a:gd name="T41" fmla="*/ 261 h 588"/>
                <a:gd name="T42" fmla="*/ 901 w 901"/>
                <a:gd name="T43" fmla="*/ 276 h 588"/>
                <a:gd name="T44" fmla="*/ 901 w 901"/>
                <a:gd name="T45" fmla="*/ 282 h 588"/>
                <a:gd name="T46" fmla="*/ 901 w 901"/>
                <a:gd name="T47" fmla="*/ 297 h 588"/>
                <a:gd name="T48" fmla="*/ 900 w 901"/>
                <a:gd name="T49" fmla="*/ 304 h 588"/>
                <a:gd name="T50" fmla="*/ 900 w 901"/>
                <a:gd name="T51" fmla="*/ 318 h 588"/>
                <a:gd name="T52" fmla="*/ 899 w 901"/>
                <a:gd name="T53" fmla="*/ 325 h 588"/>
                <a:gd name="T54" fmla="*/ 898 w 901"/>
                <a:gd name="T55" fmla="*/ 342 h 588"/>
                <a:gd name="T56" fmla="*/ 898 w 901"/>
                <a:gd name="T57" fmla="*/ 345 h 588"/>
                <a:gd name="T58" fmla="*/ 896 w 901"/>
                <a:gd name="T59" fmla="*/ 366 h 588"/>
                <a:gd name="T60" fmla="*/ 895 w 901"/>
                <a:gd name="T61" fmla="*/ 372 h 588"/>
                <a:gd name="T62" fmla="*/ 893 w 901"/>
                <a:gd name="T63" fmla="*/ 387 h 588"/>
                <a:gd name="T64" fmla="*/ 892 w 901"/>
                <a:gd name="T65" fmla="*/ 395 h 588"/>
                <a:gd name="T66" fmla="*/ 890 w 901"/>
                <a:gd name="T67" fmla="*/ 407 h 588"/>
                <a:gd name="T68" fmla="*/ 889 w 901"/>
                <a:gd name="T69" fmla="*/ 416 h 588"/>
                <a:gd name="T70" fmla="*/ 887 w 901"/>
                <a:gd name="T71" fmla="*/ 428 h 588"/>
                <a:gd name="T72" fmla="*/ 885 w 901"/>
                <a:gd name="T73" fmla="*/ 436 h 588"/>
                <a:gd name="T74" fmla="*/ 883 w 901"/>
                <a:gd name="T75" fmla="*/ 450 h 588"/>
                <a:gd name="T76" fmla="*/ 881 w 901"/>
                <a:gd name="T77" fmla="*/ 457 h 588"/>
                <a:gd name="T78" fmla="*/ 876 w 901"/>
                <a:gd name="T79" fmla="*/ 477 h 588"/>
                <a:gd name="T80" fmla="*/ 875 w 901"/>
                <a:gd name="T81" fmla="*/ 483 h 588"/>
                <a:gd name="T82" fmla="*/ 871 w 901"/>
                <a:gd name="T83" fmla="*/ 497 h 588"/>
                <a:gd name="T84" fmla="*/ 869 w 901"/>
                <a:gd name="T85" fmla="*/ 506 h 588"/>
                <a:gd name="T86" fmla="*/ 866 w 901"/>
                <a:gd name="T87" fmla="*/ 518 h 588"/>
                <a:gd name="T88" fmla="*/ 864 w 901"/>
                <a:gd name="T89" fmla="*/ 527 h 588"/>
                <a:gd name="T90" fmla="*/ 859 w 901"/>
                <a:gd name="T91" fmla="*/ 539 h 588"/>
                <a:gd name="T92" fmla="*/ 857 w 901"/>
                <a:gd name="T93" fmla="*/ 548 h 588"/>
                <a:gd name="T94" fmla="*/ 853 w 901"/>
                <a:gd name="T95" fmla="*/ 559 h 588"/>
                <a:gd name="T96" fmla="*/ 850 w 901"/>
                <a:gd name="T97" fmla="*/ 568 h 588"/>
                <a:gd name="T98" fmla="*/ 844 w 901"/>
                <a:gd name="T99" fmla="*/ 584 h 588"/>
                <a:gd name="T100" fmla="*/ 842 w 901"/>
                <a:gd name="T101" fmla="*/ 588 h 588"/>
                <a:gd name="T102" fmla="*/ 0 w 901"/>
                <a:gd name="T103" fmla="*/ 270 h 588"/>
                <a:gd name="T104" fmla="*/ 859 w 901"/>
                <a:gd name="T105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1" h="588">
                  <a:moveTo>
                    <a:pt x="859" y="0"/>
                  </a:moveTo>
                  <a:lnTo>
                    <a:pt x="866" y="19"/>
                  </a:lnTo>
                  <a:lnTo>
                    <a:pt x="866" y="21"/>
                  </a:lnTo>
                  <a:lnTo>
                    <a:pt x="871" y="40"/>
                  </a:lnTo>
                  <a:lnTo>
                    <a:pt x="872" y="44"/>
                  </a:lnTo>
                  <a:lnTo>
                    <a:pt x="876" y="60"/>
                  </a:lnTo>
                  <a:lnTo>
                    <a:pt x="877" y="64"/>
                  </a:lnTo>
                  <a:lnTo>
                    <a:pt x="881" y="80"/>
                  </a:lnTo>
                  <a:lnTo>
                    <a:pt x="882" y="85"/>
                  </a:lnTo>
                  <a:lnTo>
                    <a:pt x="885" y="103"/>
                  </a:lnTo>
                  <a:lnTo>
                    <a:pt x="886" y="105"/>
                  </a:lnTo>
                  <a:lnTo>
                    <a:pt x="892" y="147"/>
                  </a:lnTo>
                  <a:lnTo>
                    <a:pt x="893" y="151"/>
                  </a:lnTo>
                  <a:lnTo>
                    <a:pt x="895" y="167"/>
                  </a:lnTo>
                  <a:lnTo>
                    <a:pt x="896" y="172"/>
                  </a:lnTo>
                  <a:lnTo>
                    <a:pt x="897" y="187"/>
                  </a:lnTo>
                  <a:lnTo>
                    <a:pt x="898" y="194"/>
                  </a:lnTo>
                  <a:lnTo>
                    <a:pt x="899" y="210"/>
                  </a:lnTo>
                  <a:lnTo>
                    <a:pt x="899" y="214"/>
                  </a:lnTo>
                  <a:lnTo>
                    <a:pt x="901" y="256"/>
                  </a:lnTo>
                  <a:lnTo>
                    <a:pt x="901" y="261"/>
                  </a:lnTo>
                  <a:lnTo>
                    <a:pt x="901" y="276"/>
                  </a:lnTo>
                  <a:lnTo>
                    <a:pt x="901" y="282"/>
                  </a:lnTo>
                  <a:lnTo>
                    <a:pt x="901" y="297"/>
                  </a:lnTo>
                  <a:lnTo>
                    <a:pt x="900" y="304"/>
                  </a:lnTo>
                  <a:lnTo>
                    <a:pt x="900" y="318"/>
                  </a:lnTo>
                  <a:lnTo>
                    <a:pt x="899" y="325"/>
                  </a:lnTo>
                  <a:lnTo>
                    <a:pt x="898" y="342"/>
                  </a:lnTo>
                  <a:lnTo>
                    <a:pt x="898" y="345"/>
                  </a:lnTo>
                  <a:lnTo>
                    <a:pt x="896" y="366"/>
                  </a:lnTo>
                  <a:lnTo>
                    <a:pt x="895" y="372"/>
                  </a:lnTo>
                  <a:lnTo>
                    <a:pt x="893" y="387"/>
                  </a:lnTo>
                  <a:lnTo>
                    <a:pt x="892" y="395"/>
                  </a:lnTo>
                  <a:lnTo>
                    <a:pt x="890" y="407"/>
                  </a:lnTo>
                  <a:lnTo>
                    <a:pt x="889" y="416"/>
                  </a:lnTo>
                  <a:lnTo>
                    <a:pt x="887" y="428"/>
                  </a:lnTo>
                  <a:lnTo>
                    <a:pt x="885" y="436"/>
                  </a:lnTo>
                  <a:lnTo>
                    <a:pt x="883" y="450"/>
                  </a:lnTo>
                  <a:lnTo>
                    <a:pt x="881" y="457"/>
                  </a:lnTo>
                  <a:lnTo>
                    <a:pt x="876" y="477"/>
                  </a:lnTo>
                  <a:lnTo>
                    <a:pt x="875" y="483"/>
                  </a:lnTo>
                  <a:lnTo>
                    <a:pt x="871" y="497"/>
                  </a:lnTo>
                  <a:lnTo>
                    <a:pt x="869" y="506"/>
                  </a:lnTo>
                  <a:lnTo>
                    <a:pt x="866" y="518"/>
                  </a:lnTo>
                  <a:lnTo>
                    <a:pt x="864" y="527"/>
                  </a:lnTo>
                  <a:lnTo>
                    <a:pt x="859" y="539"/>
                  </a:lnTo>
                  <a:lnTo>
                    <a:pt x="857" y="548"/>
                  </a:lnTo>
                  <a:lnTo>
                    <a:pt x="853" y="559"/>
                  </a:lnTo>
                  <a:lnTo>
                    <a:pt x="850" y="568"/>
                  </a:lnTo>
                  <a:lnTo>
                    <a:pt x="844" y="584"/>
                  </a:lnTo>
                  <a:lnTo>
                    <a:pt x="842" y="588"/>
                  </a:lnTo>
                  <a:lnTo>
                    <a:pt x="0" y="27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000000">
                <a:alpha val="41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15">
              <a:extLst>
                <a:ext uri="{FF2B5EF4-FFF2-40B4-BE49-F238E27FC236}">
                  <a16:creationId xmlns:a16="http://schemas.microsoft.com/office/drawing/2014/main" id="{7F640DA0-D006-4DD2-999D-12E8A0776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4327525"/>
              <a:ext cx="1336675" cy="1308100"/>
            </a:xfrm>
            <a:custGeom>
              <a:avLst/>
              <a:gdLst>
                <a:gd name="T0" fmla="*/ 0 w 842"/>
                <a:gd name="T1" fmla="*/ 0 h 824"/>
                <a:gd name="T2" fmla="*/ 842 w 842"/>
                <a:gd name="T3" fmla="*/ 318 h 824"/>
                <a:gd name="T4" fmla="*/ 834 w 842"/>
                <a:gd name="T5" fmla="*/ 340 h 824"/>
                <a:gd name="T6" fmla="*/ 830 w 842"/>
                <a:gd name="T7" fmla="*/ 348 h 824"/>
                <a:gd name="T8" fmla="*/ 825 w 842"/>
                <a:gd name="T9" fmla="*/ 361 h 824"/>
                <a:gd name="T10" fmla="*/ 821 w 842"/>
                <a:gd name="T11" fmla="*/ 371 h 824"/>
                <a:gd name="T12" fmla="*/ 815 w 842"/>
                <a:gd name="T13" fmla="*/ 382 h 824"/>
                <a:gd name="T14" fmla="*/ 810 w 842"/>
                <a:gd name="T15" fmla="*/ 392 h 824"/>
                <a:gd name="T16" fmla="*/ 806 w 842"/>
                <a:gd name="T17" fmla="*/ 403 h 824"/>
                <a:gd name="T18" fmla="*/ 800 w 842"/>
                <a:gd name="T19" fmla="*/ 412 h 824"/>
                <a:gd name="T20" fmla="*/ 795 w 842"/>
                <a:gd name="T21" fmla="*/ 423 h 824"/>
                <a:gd name="T22" fmla="*/ 790 w 842"/>
                <a:gd name="T23" fmla="*/ 433 h 824"/>
                <a:gd name="T24" fmla="*/ 783 w 842"/>
                <a:gd name="T25" fmla="*/ 443 h 824"/>
                <a:gd name="T26" fmla="*/ 779 w 842"/>
                <a:gd name="T27" fmla="*/ 452 h 824"/>
                <a:gd name="T28" fmla="*/ 773 w 842"/>
                <a:gd name="T29" fmla="*/ 463 h 824"/>
                <a:gd name="T30" fmla="*/ 767 w 842"/>
                <a:gd name="T31" fmla="*/ 471 h 824"/>
                <a:gd name="T32" fmla="*/ 761 w 842"/>
                <a:gd name="T33" fmla="*/ 482 h 824"/>
                <a:gd name="T34" fmla="*/ 756 w 842"/>
                <a:gd name="T35" fmla="*/ 489 h 824"/>
                <a:gd name="T36" fmla="*/ 748 w 842"/>
                <a:gd name="T37" fmla="*/ 501 h 824"/>
                <a:gd name="T38" fmla="*/ 744 w 842"/>
                <a:gd name="T39" fmla="*/ 509 h 824"/>
                <a:gd name="T40" fmla="*/ 735 w 842"/>
                <a:gd name="T41" fmla="*/ 519 h 824"/>
                <a:gd name="T42" fmla="*/ 731 w 842"/>
                <a:gd name="T43" fmla="*/ 526 h 824"/>
                <a:gd name="T44" fmla="*/ 722 w 842"/>
                <a:gd name="T45" fmla="*/ 537 h 824"/>
                <a:gd name="T46" fmla="*/ 718 w 842"/>
                <a:gd name="T47" fmla="*/ 544 h 824"/>
                <a:gd name="T48" fmla="*/ 708 w 842"/>
                <a:gd name="T49" fmla="*/ 556 h 824"/>
                <a:gd name="T50" fmla="*/ 704 w 842"/>
                <a:gd name="T51" fmla="*/ 561 h 824"/>
                <a:gd name="T52" fmla="*/ 695 w 842"/>
                <a:gd name="T53" fmla="*/ 573 h 824"/>
                <a:gd name="T54" fmla="*/ 690 w 842"/>
                <a:gd name="T55" fmla="*/ 578 h 824"/>
                <a:gd name="T56" fmla="*/ 681 w 842"/>
                <a:gd name="T57" fmla="*/ 590 h 824"/>
                <a:gd name="T58" fmla="*/ 676 w 842"/>
                <a:gd name="T59" fmla="*/ 594 h 824"/>
                <a:gd name="T60" fmla="*/ 666 w 842"/>
                <a:gd name="T61" fmla="*/ 607 h 824"/>
                <a:gd name="T62" fmla="*/ 661 w 842"/>
                <a:gd name="T63" fmla="*/ 610 h 824"/>
                <a:gd name="T64" fmla="*/ 650 w 842"/>
                <a:gd name="T65" fmla="*/ 623 h 824"/>
                <a:gd name="T66" fmla="*/ 646 w 842"/>
                <a:gd name="T67" fmla="*/ 626 h 824"/>
                <a:gd name="T68" fmla="*/ 635 w 842"/>
                <a:gd name="T69" fmla="*/ 639 h 824"/>
                <a:gd name="T70" fmla="*/ 632 w 842"/>
                <a:gd name="T71" fmla="*/ 642 h 824"/>
                <a:gd name="T72" fmla="*/ 619 w 842"/>
                <a:gd name="T73" fmla="*/ 654 h 824"/>
                <a:gd name="T74" fmla="*/ 617 w 842"/>
                <a:gd name="T75" fmla="*/ 657 h 824"/>
                <a:gd name="T76" fmla="*/ 603 w 842"/>
                <a:gd name="T77" fmla="*/ 669 h 824"/>
                <a:gd name="T78" fmla="*/ 601 w 842"/>
                <a:gd name="T79" fmla="*/ 671 h 824"/>
                <a:gd name="T80" fmla="*/ 586 w 842"/>
                <a:gd name="T81" fmla="*/ 684 h 824"/>
                <a:gd name="T82" fmla="*/ 583 w 842"/>
                <a:gd name="T83" fmla="*/ 686 h 824"/>
                <a:gd name="T84" fmla="*/ 568 w 842"/>
                <a:gd name="T85" fmla="*/ 698 h 824"/>
                <a:gd name="T86" fmla="*/ 567 w 842"/>
                <a:gd name="T87" fmla="*/ 699 h 824"/>
                <a:gd name="T88" fmla="*/ 551 w 842"/>
                <a:gd name="T89" fmla="*/ 712 h 824"/>
                <a:gd name="T90" fmla="*/ 550 w 842"/>
                <a:gd name="T91" fmla="*/ 713 h 824"/>
                <a:gd name="T92" fmla="*/ 534 w 842"/>
                <a:gd name="T93" fmla="*/ 725 h 824"/>
                <a:gd name="T94" fmla="*/ 533 w 842"/>
                <a:gd name="T95" fmla="*/ 726 h 824"/>
                <a:gd name="T96" fmla="*/ 516 w 842"/>
                <a:gd name="T97" fmla="*/ 737 h 824"/>
                <a:gd name="T98" fmla="*/ 515 w 842"/>
                <a:gd name="T99" fmla="*/ 738 h 824"/>
                <a:gd name="T100" fmla="*/ 498 w 842"/>
                <a:gd name="T101" fmla="*/ 750 h 824"/>
                <a:gd name="T102" fmla="*/ 497 w 842"/>
                <a:gd name="T103" fmla="*/ 750 h 824"/>
                <a:gd name="T104" fmla="*/ 480 w 842"/>
                <a:gd name="T105" fmla="*/ 762 h 824"/>
                <a:gd name="T106" fmla="*/ 479 w 842"/>
                <a:gd name="T107" fmla="*/ 762 h 824"/>
                <a:gd name="T108" fmla="*/ 460 w 842"/>
                <a:gd name="T109" fmla="*/ 774 h 824"/>
                <a:gd name="T110" fmla="*/ 460 w 842"/>
                <a:gd name="T111" fmla="*/ 774 h 824"/>
                <a:gd name="T112" fmla="*/ 413 w 842"/>
                <a:gd name="T113" fmla="*/ 800 h 824"/>
                <a:gd name="T114" fmla="*/ 363 w 842"/>
                <a:gd name="T115" fmla="*/ 824 h 824"/>
                <a:gd name="T116" fmla="*/ 0 w 842"/>
                <a:gd name="T117" fmla="*/ 0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2" h="824">
                  <a:moveTo>
                    <a:pt x="0" y="0"/>
                  </a:moveTo>
                  <a:lnTo>
                    <a:pt x="842" y="318"/>
                  </a:lnTo>
                  <a:lnTo>
                    <a:pt x="834" y="340"/>
                  </a:lnTo>
                  <a:lnTo>
                    <a:pt x="830" y="348"/>
                  </a:lnTo>
                  <a:lnTo>
                    <a:pt x="825" y="361"/>
                  </a:lnTo>
                  <a:lnTo>
                    <a:pt x="821" y="371"/>
                  </a:lnTo>
                  <a:lnTo>
                    <a:pt x="815" y="382"/>
                  </a:lnTo>
                  <a:lnTo>
                    <a:pt x="810" y="392"/>
                  </a:lnTo>
                  <a:lnTo>
                    <a:pt x="806" y="403"/>
                  </a:lnTo>
                  <a:lnTo>
                    <a:pt x="800" y="412"/>
                  </a:lnTo>
                  <a:lnTo>
                    <a:pt x="795" y="423"/>
                  </a:lnTo>
                  <a:lnTo>
                    <a:pt x="790" y="433"/>
                  </a:lnTo>
                  <a:lnTo>
                    <a:pt x="783" y="443"/>
                  </a:lnTo>
                  <a:lnTo>
                    <a:pt x="779" y="452"/>
                  </a:lnTo>
                  <a:lnTo>
                    <a:pt x="773" y="463"/>
                  </a:lnTo>
                  <a:lnTo>
                    <a:pt x="767" y="471"/>
                  </a:lnTo>
                  <a:lnTo>
                    <a:pt x="761" y="482"/>
                  </a:lnTo>
                  <a:lnTo>
                    <a:pt x="756" y="489"/>
                  </a:lnTo>
                  <a:lnTo>
                    <a:pt x="748" y="501"/>
                  </a:lnTo>
                  <a:lnTo>
                    <a:pt x="744" y="509"/>
                  </a:lnTo>
                  <a:lnTo>
                    <a:pt x="735" y="519"/>
                  </a:lnTo>
                  <a:lnTo>
                    <a:pt x="731" y="526"/>
                  </a:lnTo>
                  <a:lnTo>
                    <a:pt x="722" y="537"/>
                  </a:lnTo>
                  <a:lnTo>
                    <a:pt x="718" y="544"/>
                  </a:lnTo>
                  <a:lnTo>
                    <a:pt x="708" y="556"/>
                  </a:lnTo>
                  <a:lnTo>
                    <a:pt x="704" y="561"/>
                  </a:lnTo>
                  <a:lnTo>
                    <a:pt x="695" y="573"/>
                  </a:lnTo>
                  <a:lnTo>
                    <a:pt x="690" y="578"/>
                  </a:lnTo>
                  <a:lnTo>
                    <a:pt x="681" y="590"/>
                  </a:lnTo>
                  <a:lnTo>
                    <a:pt x="676" y="594"/>
                  </a:lnTo>
                  <a:lnTo>
                    <a:pt x="666" y="607"/>
                  </a:lnTo>
                  <a:lnTo>
                    <a:pt x="661" y="610"/>
                  </a:lnTo>
                  <a:lnTo>
                    <a:pt x="650" y="623"/>
                  </a:lnTo>
                  <a:lnTo>
                    <a:pt x="646" y="626"/>
                  </a:lnTo>
                  <a:lnTo>
                    <a:pt x="635" y="639"/>
                  </a:lnTo>
                  <a:lnTo>
                    <a:pt x="632" y="642"/>
                  </a:lnTo>
                  <a:lnTo>
                    <a:pt x="619" y="654"/>
                  </a:lnTo>
                  <a:lnTo>
                    <a:pt x="617" y="657"/>
                  </a:lnTo>
                  <a:lnTo>
                    <a:pt x="603" y="669"/>
                  </a:lnTo>
                  <a:lnTo>
                    <a:pt x="601" y="671"/>
                  </a:lnTo>
                  <a:lnTo>
                    <a:pt x="586" y="684"/>
                  </a:lnTo>
                  <a:lnTo>
                    <a:pt x="583" y="686"/>
                  </a:lnTo>
                  <a:lnTo>
                    <a:pt x="568" y="698"/>
                  </a:lnTo>
                  <a:lnTo>
                    <a:pt x="567" y="699"/>
                  </a:lnTo>
                  <a:lnTo>
                    <a:pt x="551" y="712"/>
                  </a:lnTo>
                  <a:lnTo>
                    <a:pt x="550" y="713"/>
                  </a:lnTo>
                  <a:lnTo>
                    <a:pt x="534" y="725"/>
                  </a:lnTo>
                  <a:lnTo>
                    <a:pt x="533" y="726"/>
                  </a:lnTo>
                  <a:lnTo>
                    <a:pt x="516" y="737"/>
                  </a:lnTo>
                  <a:lnTo>
                    <a:pt x="515" y="738"/>
                  </a:lnTo>
                  <a:lnTo>
                    <a:pt x="498" y="750"/>
                  </a:lnTo>
                  <a:lnTo>
                    <a:pt x="497" y="750"/>
                  </a:lnTo>
                  <a:lnTo>
                    <a:pt x="480" y="762"/>
                  </a:lnTo>
                  <a:lnTo>
                    <a:pt x="479" y="762"/>
                  </a:lnTo>
                  <a:lnTo>
                    <a:pt x="460" y="774"/>
                  </a:lnTo>
                  <a:lnTo>
                    <a:pt x="460" y="774"/>
                  </a:lnTo>
                  <a:lnTo>
                    <a:pt x="413" y="800"/>
                  </a:lnTo>
                  <a:lnTo>
                    <a:pt x="363" y="8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1DA273BD-2BE6-4887-A0ED-7D18262607C7}"/>
                </a:ext>
              </a:extLst>
            </p:cNvPr>
            <p:cNvGrpSpPr/>
            <p:nvPr/>
          </p:nvGrpSpPr>
          <p:grpSpPr>
            <a:xfrm>
              <a:off x="5441949" y="1524000"/>
              <a:ext cx="3182938" cy="2933700"/>
              <a:chOff x="4951412" y="1143000"/>
              <a:chExt cx="3182938" cy="2933700"/>
            </a:xfrm>
            <a:solidFill>
              <a:srgbClr val="000000">
                <a:alpha val="17000"/>
              </a:srgbClr>
            </a:solidFill>
          </p:grpSpPr>
          <p:sp>
            <p:nvSpPr>
              <p:cNvPr id="256" name="Rectangle 16">
                <a:extLst>
                  <a:ext uri="{FF2B5EF4-FFF2-40B4-BE49-F238E27FC236}">
                    <a16:creationId xmlns:a16="http://schemas.microsoft.com/office/drawing/2014/main" id="{FF99C17F-E0FB-4674-9626-8010606B3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1412" y="3568700"/>
                <a:ext cx="3182938" cy="5080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Rectangle 17">
                <a:extLst>
                  <a:ext uri="{FF2B5EF4-FFF2-40B4-BE49-F238E27FC236}">
                    <a16:creationId xmlns:a16="http://schemas.microsoft.com/office/drawing/2014/main" id="{B7824C99-DB49-4C66-931F-5083FECBC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1412" y="1143000"/>
                <a:ext cx="565150" cy="232886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Rectangle 18">
                <a:extLst>
                  <a:ext uri="{FF2B5EF4-FFF2-40B4-BE49-F238E27FC236}">
                    <a16:creationId xmlns:a16="http://schemas.microsoft.com/office/drawing/2014/main" id="{67A21C68-D363-4FDA-BED7-90DBC2AC7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5462" y="2020888"/>
                <a:ext cx="566738" cy="14509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Rectangle 19">
                <a:extLst>
                  <a:ext uri="{FF2B5EF4-FFF2-40B4-BE49-F238E27FC236}">
                    <a16:creationId xmlns:a16="http://schemas.microsoft.com/office/drawing/2014/main" id="{0078246E-B20D-496A-9D77-B65ECF2CAD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9512" y="2513013"/>
                <a:ext cx="565150" cy="9588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Rectangle 20">
                <a:extLst>
                  <a:ext uri="{FF2B5EF4-FFF2-40B4-BE49-F238E27FC236}">
                    <a16:creationId xmlns:a16="http://schemas.microsoft.com/office/drawing/2014/main" id="{78AA2952-2EDD-4BC1-A1D2-944E228C0E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3562" y="2063750"/>
                <a:ext cx="566738" cy="140811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Rectangle 21">
                <a:extLst>
                  <a:ext uri="{FF2B5EF4-FFF2-40B4-BE49-F238E27FC236}">
                    <a16:creationId xmlns:a16="http://schemas.microsoft.com/office/drawing/2014/main" id="{8FCBFD1D-D34F-4DD9-AC3A-A33ACDAA46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9200" y="2463800"/>
                <a:ext cx="565150" cy="100806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606C2C09-A76D-4505-BC56-DE7A3164DAE9}"/>
                </a:ext>
              </a:extLst>
            </p:cNvPr>
            <p:cNvGrpSpPr/>
            <p:nvPr/>
          </p:nvGrpSpPr>
          <p:grpSpPr>
            <a:xfrm>
              <a:off x="7423149" y="2133600"/>
              <a:ext cx="2117725" cy="3279774"/>
              <a:chOff x="6613525" y="1998663"/>
              <a:chExt cx="2117725" cy="3279774"/>
            </a:xfrm>
          </p:grpSpPr>
          <p:sp>
            <p:nvSpPr>
              <p:cNvPr id="214" name="Rectangle 22">
                <a:extLst>
                  <a:ext uri="{FF2B5EF4-FFF2-40B4-BE49-F238E27FC236}">
                    <a16:creationId xmlns:a16="http://schemas.microsoft.com/office/drawing/2014/main" id="{227079BC-C7BA-4AFF-A1CD-EB7046615C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13525" y="1998663"/>
                <a:ext cx="2117725" cy="1939925"/>
              </a:xfrm>
              <a:prstGeom prst="rect">
                <a:avLst/>
              </a:prstGeom>
              <a:solidFill>
                <a:srgbClr val="A7CCDF">
                  <a:lumMod val="75000"/>
                </a:srgb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8BFC3791-672E-4ED5-9FD1-01955570DA00}"/>
                  </a:ext>
                </a:extLst>
              </p:cNvPr>
              <p:cNvGrpSpPr/>
              <p:nvPr/>
            </p:nvGrpSpPr>
            <p:grpSpPr>
              <a:xfrm>
                <a:off x="6807200" y="2208213"/>
                <a:ext cx="1728788" cy="414337"/>
                <a:chOff x="6807200" y="2208213"/>
                <a:chExt cx="1728788" cy="414337"/>
              </a:xfrm>
            </p:grpSpPr>
            <p:sp>
              <p:nvSpPr>
                <p:cNvPr id="251" name="Rectangle 23">
                  <a:extLst>
                    <a:ext uri="{FF2B5EF4-FFF2-40B4-BE49-F238E27FC236}">
                      <a16:creationId xmlns:a16="http://schemas.microsoft.com/office/drawing/2014/main" id="{C1730E0E-D6A4-443A-AA73-2EADCC6030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8037" y="2208213"/>
                  <a:ext cx="1028700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2" name="Rectangle 24">
                  <a:extLst>
                    <a:ext uri="{FF2B5EF4-FFF2-40B4-BE49-F238E27FC236}">
                      <a16:creationId xmlns:a16="http://schemas.microsoft.com/office/drawing/2014/main" id="{95608A21-073A-4BE6-95F7-FCDA0E63C9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324100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3" name="Rectangle 25">
                  <a:extLst>
                    <a:ext uri="{FF2B5EF4-FFF2-40B4-BE49-F238E27FC236}">
                      <a16:creationId xmlns:a16="http://schemas.microsoft.com/office/drawing/2014/main" id="{CD3A49F6-84DB-4FBC-9C0C-8E6EC663DC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408238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4" name="Rectangle 26">
                  <a:extLst>
                    <a:ext uri="{FF2B5EF4-FFF2-40B4-BE49-F238E27FC236}">
                      <a16:creationId xmlns:a16="http://schemas.microsoft.com/office/drawing/2014/main" id="{38A515BE-EF5E-48CF-B316-8A8DA5F6C1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490788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5" name="Rectangle 27">
                  <a:extLst>
                    <a:ext uri="{FF2B5EF4-FFF2-40B4-BE49-F238E27FC236}">
                      <a16:creationId xmlns:a16="http://schemas.microsoft.com/office/drawing/2014/main" id="{C3A250EF-F5CF-4D3D-967E-888596E638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574925"/>
                  <a:ext cx="811213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216" name="Freeform 28">
                <a:extLst>
                  <a:ext uri="{FF2B5EF4-FFF2-40B4-BE49-F238E27FC236}">
                    <a16:creationId xmlns:a16="http://schemas.microsoft.com/office/drawing/2014/main" id="{3CE52A00-15A7-43D2-9BA8-C58E781C5E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3525" y="2686050"/>
                <a:ext cx="2117725" cy="2592387"/>
              </a:xfrm>
              <a:custGeom>
                <a:avLst/>
                <a:gdLst>
                  <a:gd name="T0" fmla="*/ 113 w 1334"/>
                  <a:gd name="T1" fmla="*/ 0 h 1633"/>
                  <a:gd name="T2" fmla="*/ 1219 w 1334"/>
                  <a:gd name="T3" fmla="*/ 0 h 1633"/>
                  <a:gd name="T4" fmla="*/ 1245 w 1334"/>
                  <a:gd name="T5" fmla="*/ 3 h 1633"/>
                  <a:gd name="T6" fmla="*/ 1270 w 1334"/>
                  <a:gd name="T7" fmla="*/ 12 h 1633"/>
                  <a:gd name="T8" fmla="*/ 1291 w 1334"/>
                  <a:gd name="T9" fmla="*/ 25 h 1633"/>
                  <a:gd name="T10" fmla="*/ 1308 w 1334"/>
                  <a:gd name="T11" fmla="*/ 43 h 1633"/>
                  <a:gd name="T12" fmla="*/ 1322 w 1334"/>
                  <a:gd name="T13" fmla="*/ 64 h 1633"/>
                  <a:gd name="T14" fmla="*/ 1331 w 1334"/>
                  <a:gd name="T15" fmla="*/ 88 h 1633"/>
                  <a:gd name="T16" fmla="*/ 1334 w 1334"/>
                  <a:gd name="T17" fmla="*/ 114 h 1633"/>
                  <a:gd name="T18" fmla="*/ 1334 w 1334"/>
                  <a:gd name="T19" fmla="*/ 1519 h 1633"/>
                  <a:gd name="T20" fmla="*/ 1331 w 1334"/>
                  <a:gd name="T21" fmla="*/ 1544 h 1633"/>
                  <a:gd name="T22" fmla="*/ 1322 w 1334"/>
                  <a:gd name="T23" fmla="*/ 1569 h 1633"/>
                  <a:gd name="T24" fmla="*/ 1308 w 1334"/>
                  <a:gd name="T25" fmla="*/ 1590 h 1633"/>
                  <a:gd name="T26" fmla="*/ 1291 w 1334"/>
                  <a:gd name="T27" fmla="*/ 1607 h 1633"/>
                  <a:gd name="T28" fmla="*/ 1270 w 1334"/>
                  <a:gd name="T29" fmla="*/ 1621 h 1633"/>
                  <a:gd name="T30" fmla="*/ 1245 w 1334"/>
                  <a:gd name="T31" fmla="*/ 1630 h 1633"/>
                  <a:gd name="T32" fmla="*/ 1219 w 1334"/>
                  <a:gd name="T33" fmla="*/ 1633 h 1633"/>
                  <a:gd name="T34" fmla="*/ 113 w 1334"/>
                  <a:gd name="T35" fmla="*/ 1633 h 1633"/>
                  <a:gd name="T36" fmla="*/ 87 w 1334"/>
                  <a:gd name="T37" fmla="*/ 1630 h 1633"/>
                  <a:gd name="T38" fmla="*/ 64 w 1334"/>
                  <a:gd name="T39" fmla="*/ 1621 h 1633"/>
                  <a:gd name="T40" fmla="*/ 42 w 1334"/>
                  <a:gd name="T41" fmla="*/ 1607 h 1633"/>
                  <a:gd name="T42" fmla="*/ 24 w 1334"/>
                  <a:gd name="T43" fmla="*/ 1590 h 1633"/>
                  <a:gd name="T44" fmla="*/ 11 w 1334"/>
                  <a:gd name="T45" fmla="*/ 1569 h 1633"/>
                  <a:gd name="T46" fmla="*/ 3 w 1334"/>
                  <a:gd name="T47" fmla="*/ 1544 h 1633"/>
                  <a:gd name="T48" fmla="*/ 0 w 1334"/>
                  <a:gd name="T49" fmla="*/ 1519 h 1633"/>
                  <a:gd name="T50" fmla="*/ 0 w 1334"/>
                  <a:gd name="T51" fmla="*/ 114 h 1633"/>
                  <a:gd name="T52" fmla="*/ 3 w 1334"/>
                  <a:gd name="T53" fmla="*/ 88 h 1633"/>
                  <a:gd name="T54" fmla="*/ 11 w 1334"/>
                  <a:gd name="T55" fmla="*/ 64 h 1633"/>
                  <a:gd name="T56" fmla="*/ 24 w 1334"/>
                  <a:gd name="T57" fmla="*/ 43 h 1633"/>
                  <a:gd name="T58" fmla="*/ 42 w 1334"/>
                  <a:gd name="T59" fmla="*/ 25 h 1633"/>
                  <a:gd name="T60" fmla="*/ 64 w 1334"/>
                  <a:gd name="T61" fmla="*/ 12 h 1633"/>
                  <a:gd name="T62" fmla="*/ 87 w 1334"/>
                  <a:gd name="T63" fmla="*/ 3 h 1633"/>
                  <a:gd name="T64" fmla="*/ 113 w 1334"/>
                  <a:gd name="T65" fmla="*/ 0 h 1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4" h="1633">
                    <a:moveTo>
                      <a:pt x="113" y="0"/>
                    </a:moveTo>
                    <a:lnTo>
                      <a:pt x="1219" y="0"/>
                    </a:lnTo>
                    <a:lnTo>
                      <a:pt x="1245" y="3"/>
                    </a:lnTo>
                    <a:lnTo>
                      <a:pt x="1270" y="12"/>
                    </a:lnTo>
                    <a:lnTo>
                      <a:pt x="1291" y="25"/>
                    </a:lnTo>
                    <a:lnTo>
                      <a:pt x="1308" y="43"/>
                    </a:lnTo>
                    <a:lnTo>
                      <a:pt x="1322" y="64"/>
                    </a:lnTo>
                    <a:lnTo>
                      <a:pt x="1331" y="88"/>
                    </a:lnTo>
                    <a:lnTo>
                      <a:pt x="1334" y="114"/>
                    </a:lnTo>
                    <a:lnTo>
                      <a:pt x="1334" y="1519"/>
                    </a:lnTo>
                    <a:lnTo>
                      <a:pt x="1331" y="1544"/>
                    </a:lnTo>
                    <a:lnTo>
                      <a:pt x="1322" y="1569"/>
                    </a:lnTo>
                    <a:lnTo>
                      <a:pt x="1308" y="1590"/>
                    </a:lnTo>
                    <a:lnTo>
                      <a:pt x="1291" y="1607"/>
                    </a:lnTo>
                    <a:lnTo>
                      <a:pt x="1270" y="1621"/>
                    </a:lnTo>
                    <a:lnTo>
                      <a:pt x="1245" y="1630"/>
                    </a:lnTo>
                    <a:lnTo>
                      <a:pt x="1219" y="1633"/>
                    </a:lnTo>
                    <a:lnTo>
                      <a:pt x="113" y="1633"/>
                    </a:lnTo>
                    <a:lnTo>
                      <a:pt x="87" y="1630"/>
                    </a:lnTo>
                    <a:lnTo>
                      <a:pt x="64" y="1621"/>
                    </a:lnTo>
                    <a:lnTo>
                      <a:pt x="42" y="1607"/>
                    </a:lnTo>
                    <a:lnTo>
                      <a:pt x="24" y="1590"/>
                    </a:lnTo>
                    <a:lnTo>
                      <a:pt x="11" y="1569"/>
                    </a:lnTo>
                    <a:lnTo>
                      <a:pt x="3" y="1544"/>
                    </a:lnTo>
                    <a:lnTo>
                      <a:pt x="0" y="1519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4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7" y="3"/>
                    </a:lnTo>
                    <a:lnTo>
                      <a:pt x="113" y="0"/>
                    </a:lnTo>
                    <a:close/>
                  </a:path>
                </a:pathLst>
              </a:custGeom>
              <a:solidFill>
                <a:srgbClr val="6BC2E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Freeform 29">
                <a:extLst>
                  <a:ext uri="{FF2B5EF4-FFF2-40B4-BE49-F238E27FC236}">
                    <a16:creationId xmlns:a16="http://schemas.microsoft.com/office/drawing/2014/main" id="{006FF8C9-DDAF-49D2-8C79-52149E029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2828925"/>
                <a:ext cx="1865313" cy="438150"/>
              </a:xfrm>
              <a:custGeom>
                <a:avLst/>
                <a:gdLst>
                  <a:gd name="T0" fmla="*/ 57 w 1175"/>
                  <a:gd name="T1" fmla="*/ 0 h 276"/>
                  <a:gd name="T2" fmla="*/ 1118 w 1175"/>
                  <a:gd name="T3" fmla="*/ 0 h 276"/>
                  <a:gd name="T4" fmla="*/ 1135 w 1175"/>
                  <a:gd name="T5" fmla="*/ 2 h 276"/>
                  <a:gd name="T6" fmla="*/ 1151 w 1175"/>
                  <a:gd name="T7" fmla="*/ 11 h 276"/>
                  <a:gd name="T8" fmla="*/ 1164 w 1175"/>
                  <a:gd name="T9" fmla="*/ 24 h 276"/>
                  <a:gd name="T10" fmla="*/ 1173 w 1175"/>
                  <a:gd name="T11" fmla="*/ 40 h 276"/>
                  <a:gd name="T12" fmla="*/ 1175 w 1175"/>
                  <a:gd name="T13" fmla="*/ 57 h 276"/>
                  <a:gd name="T14" fmla="*/ 1175 w 1175"/>
                  <a:gd name="T15" fmla="*/ 219 h 276"/>
                  <a:gd name="T16" fmla="*/ 1173 w 1175"/>
                  <a:gd name="T17" fmla="*/ 236 h 276"/>
                  <a:gd name="T18" fmla="*/ 1164 w 1175"/>
                  <a:gd name="T19" fmla="*/ 252 h 276"/>
                  <a:gd name="T20" fmla="*/ 1151 w 1175"/>
                  <a:gd name="T21" fmla="*/ 265 h 276"/>
                  <a:gd name="T22" fmla="*/ 1135 w 1175"/>
                  <a:gd name="T23" fmla="*/ 274 h 276"/>
                  <a:gd name="T24" fmla="*/ 1118 w 1175"/>
                  <a:gd name="T25" fmla="*/ 276 h 276"/>
                  <a:gd name="T26" fmla="*/ 57 w 1175"/>
                  <a:gd name="T27" fmla="*/ 276 h 276"/>
                  <a:gd name="T28" fmla="*/ 39 w 1175"/>
                  <a:gd name="T29" fmla="*/ 274 h 276"/>
                  <a:gd name="T30" fmla="*/ 23 w 1175"/>
                  <a:gd name="T31" fmla="*/ 265 h 276"/>
                  <a:gd name="T32" fmla="*/ 12 w 1175"/>
                  <a:gd name="T33" fmla="*/ 252 h 276"/>
                  <a:gd name="T34" fmla="*/ 3 w 1175"/>
                  <a:gd name="T35" fmla="*/ 236 h 276"/>
                  <a:gd name="T36" fmla="*/ 0 w 1175"/>
                  <a:gd name="T37" fmla="*/ 219 h 276"/>
                  <a:gd name="T38" fmla="*/ 0 w 1175"/>
                  <a:gd name="T39" fmla="*/ 57 h 276"/>
                  <a:gd name="T40" fmla="*/ 3 w 1175"/>
                  <a:gd name="T41" fmla="*/ 40 h 276"/>
                  <a:gd name="T42" fmla="*/ 12 w 1175"/>
                  <a:gd name="T43" fmla="*/ 24 h 276"/>
                  <a:gd name="T44" fmla="*/ 23 w 1175"/>
                  <a:gd name="T45" fmla="*/ 11 h 276"/>
                  <a:gd name="T46" fmla="*/ 39 w 1175"/>
                  <a:gd name="T47" fmla="*/ 2 h 276"/>
                  <a:gd name="T48" fmla="*/ 57 w 1175"/>
                  <a:gd name="T4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75" h="276">
                    <a:moveTo>
                      <a:pt x="57" y="0"/>
                    </a:moveTo>
                    <a:lnTo>
                      <a:pt x="1118" y="0"/>
                    </a:lnTo>
                    <a:lnTo>
                      <a:pt x="1135" y="2"/>
                    </a:lnTo>
                    <a:lnTo>
                      <a:pt x="1151" y="11"/>
                    </a:lnTo>
                    <a:lnTo>
                      <a:pt x="1164" y="24"/>
                    </a:lnTo>
                    <a:lnTo>
                      <a:pt x="1173" y="40"/>
                    </a:lnTo>
                    <a:lnTo>
                      <a:pt x="1175" y="57"/>
                    </a:lnTo>
                    <a:lnTo>
                      <a:pt x="1175" y="219"/>
                    </a:lnTo>
                    <a:lnTo>
                      <a:pt x="1173" y="236"/>
                    </a:lnTo>
                    <a:lnTo>
                      <a:pt x="1164" y="252"/>
                    </a:lnTo>
                    <a:lnTo>
                      <a:pt x="1151" y="265"/>
                    </a:lnTo>
                    <a:lnTo>
                      <a:pt x="1135" y="274"/>
                    </a:lnTo>
                    <a:lnTo>
                      <a:pt x="1118" y="276"/>
                    </a:lnTo>
                    <a:lnTo>
                      <a:pt x="57" y="276"/>
                    </a:lnTo>
                    <a:lnTo>
                      <a:pt x="39" y="274"/>
                    </a:lnTo>
                    <a:lnTo>
                      <a:pt x="23" y="265"/>
                    </a:lnTo>
                    <a:lnTo>
                      <a:pt x="12" y="252"/>
                    </a:lnTo>
                    <a:lnTo>
                      <a:pt x="3" y="236"/>
                    </a:lnTo>
                    <a:lnTo>
                      <a:pt x="0" y="219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2" y="24"/>
                    </a:lnTo>
                    <a:lnTo>
                      <a:pt x="23" y="11"/>
                    </a:lnTo>
                    <a:lnTo>
                      <a:pt x="39" y="2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Freeform 30">
                <a:extLst>
                  <a:ext uri="{FF2B5EF4-FFF2-40B4-BE49-F238E27FC236}">
                    <a16:creationId xmlns:a16="http://schemas.microsoft.com/office/drawing/2014/main" id="{6AECDF46-1A1A-4C0E-A959-E7B2CC6DC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3335338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4 w 255"/>
                  <a:gd name="T7" fmla="*/ 10 h 261"/>
                  <a:gd name="T8" fmla="*/ 245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8 h 261"/>
                  <a:gd name="T16" fmla="*/ 252 w 255"/>
                  <a:gd name="T17" fmla="*/ 224 h 261"/>
                  <a:gd name="T18" fmla="*/ 245 w 255"/>
                  <a:gd name="T19" fmla="*/ 239 h 261"/>
                  <a:gd name="T20" fmla="*/ 234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2 w 255"/>
                  <a:gd name="T31" fmla="*/ 251 h 261"/>
                  <a:gd name="T32" fmla="*/ 10 w 255"/>
                  <a:gd name="T33" fmla="*/ 239 h 261"/>
                  <a:gd name="T34" fmla="*/ 3 w 255"/>
                  <a:gd name="T35" fmla="*/ 224 h 261"/>
                  <a:gd name="T36" fmla="*/ 0 w 255"/>
                  <a:gd name="T37" fmla="*/ 208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2 w 255"/>
                  <a:gd name="T45" fmla="*/ 10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5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4"/>
                    </a:lnTo>
                    <a:lnTo>
                      <a:pt x="245" y="239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Freeform 31">
                <a:extLst>
                  <a:ext uri="{FF2B5EF4-FFF2-40B4-BE49-F238E27FC236}">
                    <a16:creationId xmlns:a16="http://schemas.microsoft.com/office/drawing/2014/main" id="{A153658F-F800-4991-A6E2-BE3B94957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3335338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3 w 255"/>
                  <a:gd name="T7" fmla="*/ 10 h 261"/>
                  <a:gd name="T8" fmla="*/ 244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8 h 261"/>
                  <a:gd name="T16" fmla="*/ 252 w 255"/>
                  <a:gd name="T17" fmla="*/ 224 h 261"/>
                  <a:gd name="T18" fmla="*/ 244 w 255"/>
                  <a:gd name="T19" fmla="*/ 239 h 261"/>
                  <a:gd name="T20" fmla="*/ 233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1 w 255"/>
                  <a:gd name="T31" fmla="*/ 251 h 261"/>
                  <a:gd name="T32" fmla="*/ 10 w 255"/>
                  <a:gd name="T33" fmla="*/ 239 h 261"/>
                  <a:gd name="T34" fmla="*/ 3 w 255"/>
                  <a:gd name="T35" fmla="*/ 224 h 261"/>
                  <a:gd name="T36" fmla="*/ 0 w 255"/>
                  <a:gd name="T37" fmla="*/ 208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1 w 255"/>
                  <a:gd name="T45" fmla="*/ 10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0"/>
                    </a:lnTo>
                    <a:lnTo>
                      <a:pt x="244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4"/>
                    </a:lnTo>
                    <a:lnTo>
                      <a:pt x="244" y="239"/>
                    </a:lnTo>
                    <a:lnTo>
                      <a:pt x="233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1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1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Freeform 32">
                <a:extLst>
                  <a:ext uri="{FF2B5EF4-FFF2-40B4-BE49-F238E27FC236}">
                    <a16:creationId xmlns:a16="http://schemas.microsoft.com/office/drawing/2014/main" id="{29CC0553-651C-4B68-874A-DFAFA79D3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3335338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3 h 261"/>
                  <a:gd name="T6" fmla="*/ 233 w 256"/>
                  <a:gd name="T7" fmla="*/ 10 h 261"/>
                  <a:gd name="T8" fmla="*/ 245 w 256"/>
                  <a:gd name="T9" fmla="*/ 22 h 261"/>
                  <a:gd name="T10" fmla="*/ 253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8 h 261"/>
                  <a:gd name="T16" fmla="*/ 253 w 256"/>
                  <a:gd name="T17" fmla="*/ 224 h 261"/>
                  <a:gd name="T18" fmla="*/ 245 w 256"/>
                  <a:gd name="T19" fmla="*/ 239 h 261"/>
                  <a:gd name="T20" fmla="*/ 233 w 256"/>
                  <a:gd name="T21" fmla="*/ 251 h 261"/>
                  <a:gd name="T22" fmla="*/ 220 w 256"/>
                  <a:gd name="T23" fmla="*/ 259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9 h 261"/>
                  <a:gd name="T30" fmla="*/ 22 w 256"/>
                  <a:gd name="T31" fmla="*/ 251 h 261"/>
                  <a:gd name="T32" fmla="*/ 10 w 256"/>
                  <a:gd name="T33" fmla="*/ 239 h 261"/>
                  <a:gd name="T34" fmla="*/ 3 w 256"/>
                  <a:gd name="T35" fmla="*/ 224 h 261"/>
                  <a:gd name="T36" fmla="*/ 0 w 256"/>
                  <a:gd name="T37" fmla="*/ 208 h 261"/>
                  <a:gd name="T38" fmla="*/ 0 w 256"/>
                  <a:gd name="T39" fmla="*/ 53 h 261"/>
                  <a:gd name="T40" fmla="*/ 3 w 256"/>
                  <a:gd name="T41" fmla="*/ 36 h 261"/>
                  <a:gd name="T42" fmla="*/ 10 w 256"/>
                  <a:gd name="T43" fmla="*/ 22 h 261"/>
                  <a:gd name="T44" fmla="*/ 22 w 256"/>
                  <a:gd name="T45" fmla="*/ 10 h 261"/>
                  <a:gd name="T46" fmla="*/ 37 w 256"/>
                  <a:gd name="T47" fmla="*/ 3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0"/>
                    </a:lnTo>
                    <a:lnTo>
                      <a:pt x="245" y="22"/>
                    </a:lnTo>
                    <a:lnTo>
                      <a:pt x="253" y="36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3" y="224"/>
                    </a:lnTo>
                    <a:lnTo>
                      <a:pt x="245" y="239"/>
                    </a:lnTo>
                    <a:lnTo>
                      <a:pt x="233" y="251"/>
                    </a:lnTo>
                    <a:lnTo>
                      <a:pt x="220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9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Freeform 33">
                <a:extLst>
                  <a:ext uri="{FF2B5EF4-FFF2-40B4-BE49-F238E27FC236}">
                    <a16:creationId xmlns:a16="http://schemas.microsoft.com/office/drawing/2014/main" id="{7F303356-EC73-41A1-B932-BE599708E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3335338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3 h 261"/>
                  <a:gd name="T6" fmla="*/ 234 w 256"/>
                  <a:gd name="T7" fmla="*/ 10 h 261"/>
                  <a:gd name="T8" fmla="*/ 246 w 256"/>
                  <a:gd name="T9" fmla="*/ 22 h 261"/>
                  <a:gd name="T10" fmla="*/ 254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8 h 261"/>
                  <a:gd name="T16" fmla="*/ 254 w 256"/>
                  <a:gd name="T17" fmla="*/ 224 h 261"/>
                  <a:gd name="T18" fmla="*/ 246 w 256"/>
                  <a:gd name="T19" fmla="*/ 239 h 261"/>
                  <a:gd name="T20" fmla="*/ 234 w 256"/>
                  <a:gd name="T21" fmla="*/ 251 h 261"/>
                  <a:gd name="T22" fmla="*/ 219 w 256"/>
                  <a:gd name="T23" fmla="*/ 259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9 h 261"/>
                  <a:gd name="T30" fmla="*/ 23 w 256"/>
                  <a:gd name="T31" fmla="*/ 251 h 261"/>
                  <a:gd name="T32" fmla="*/ 11 w 256"/>
                  <a:gd name="T33" fmla="*/ 239 h 261"/>
                  <a:gd name="T34" fmla="*/ 3 w 256"/>
                  <a:gd name="T35" fmla="*/ 224 h 261"/>
                  <a:gd name="T36" fmla="*/ 0 w 256"/>
                  <a:gd name="T37" fmla="*/ 208 h 261"/>
                  <a:gd name="T38" fmla="*/ 0 w 256"/>
                  <a:gd name="T39" fmla="*/ 53 h 261"/>
                  <a:gd name="T40" fmla="*/ 3 w 256"/>
                  <a:gd name="T41" fmla="*/ 36 h 261"/>
                  <a:gd name="T42" fmla="*/ 11 w 256"/>
                  <a:gd name="T43" fmla="*/ 22 h 261"/>
                  <a:gd name="T44" fmla="*/ 23 w 256"/>
                  <a:gd name="T45" fmla="*/ 10 h 261"/>
                  <a:gd name="T46" fmla="*/ 37 w 256"/>
                  <a:gd name="T47" fmla="*/ 3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6" y="22"/>
                    </a:lnTo>
                    <a:lnTo>
                      <a:pt x="254" y="36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4" y="224"/>
                    </a:lnTo>
                    <a:lnTo>
                      <a:pt x="246" y="239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9"/>
                    </a:lnTo>
                    <a:lnTo>
                      <a:pt x="23" y="251"/>
                    </a:lnTo>
                    <a:lnTo>
                      <a:pt x="11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1" y="22"/>
                    </a:lnTo>
                    <a:lnTo>
                      <a:pt x="23" y="10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Freeform 34">
                <a:extLst>
                  <a:ext uri="{FF2B5EF4-FFF2-40B4-BE49-F238E27FC236}">
                    <a16:creationId xmlns:a16="http://schemas.microsoft.com/office/drawing/2014/main" id="{0D9F0D59-D6C0-4F56-9133-41C11D9C5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380682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4 w 255"/>
                  <a:gd name="T7" fmla="*/ 11 h 261"/>
                  <a:gd name="T8" fmla="*/ 245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9 h 261"/>
                  <a:gd name="T16" fmla="*/ 252 w 255"/>
                  <a:gd name="T17" fmla="*/ 225 h 261"/>
                  <a:gd name="T18" fmla="*/ 245 w 255"/>
                  <a:gd name="T19" fmla="*/ 240 h 261"/>
                  <a:gd name="T20" fmla="*/ 234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2 w 255"/>
                  <a:gd name="T31" fmla="*/ 251 h 261"/>
                  <a:gd name="T32" fmla="*/ 10 w 255"/>
                  <a:gd name="T33" fmla="*/ 240 h 261"/>
                  <a:gd name="T34" fmla="*/ 3 w 255"/>
                  <a:gd name="T35" fmla="*/ 225 h 261"/>
                  <a:gd name="T36" fmla="*/ 0 w 255"/>
                  <a:gd name="T37" fmla="*/ 209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2 w 255"/>
                  <a:gd name="T45" fmla="*/ 11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1"/>
                    </a:lnTo>
                    <a:lnTo>
                      <a:pt x="245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9"/>
                    </a:lnTo>
                    <a:lnTo>
                      <a:pt x="252" y="225"/>
                    </a:lnTo>
                    <a:lnTo>
                      <a:pt x="245" y="240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2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Freeform 35">
                <a:extLst>
                  <a:ext uri="{FF2B5EF4-FFF2-40B4-BE49-F238E27FC236}">
                    <a16:creationId xmlns:a16="http://schemas.microsoft.com/office/drawing/2014/main" id="{6450DC8F-583E-4034-A403-6B4CAC541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380682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3 w 255"/>
                  <a:gd name="T7" fmla="*/ 11 h 261"/>
                  <a:gd name="T8" fmla="*/ 244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9 h 261"/>
                  <a:gd name="T16" fmla="*/ 252 w 255"/>
                  <a:gd name="T17" fmla="*/ 225 h 261"/>
                  <a:gd name="T18" fmla="*/ 244 w 255"/>
                  <a:gd name="T19" fmla="*/ 240 h 261"/>
                  <a:gd name="T20" fmla="*/ 233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1 w 255"/>
                  <a:gd name="T31" fmla="*/ 251 h 261"/>
                  <a:gd name="T32" fmla="*/ 10 w 255"/>
                  <a:gd name="T33" fmla="*/ 240 h 261"/>
                  <a:gd name="T34" fmla="*/ 3 w 255"/>
                  <a:gd name="T35" fmla="*/ 225 h 261"/>
                  <a:gd name="T36" fmla="*/ 0 w 255"/>
                  <a:gd name="T37" fmla="*/ 209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1 w 255"/>
                  <a:gd name="T45" fmla="*/ 11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1"/>
                    </a:lnTo>
                    <a:lnTo>
                      <a:pt x="244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9"/>
                    </a:lnTo>
                    <a:lnTo>
                      <a:pt x="252" y="225"/>
                    </a:lnTo>
                    <a:lnTo>
                      <a:pt x="244" y="240"/>
                    </a:lnTo>
                    <a:lnTo>
                      <a:pt x="233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1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1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Freeform 36">
                <a:extLst>
                  <a:ext uri="{FF2B5EF4-FFF2-40B4-BE49-F238E27FC236}">
                    <a16:creationId xmlns:a16="http://schemas.microsoft.com/office/drawing/2014/main" id="{4544676B-9A7E-496B-B9DB-C2B4F253A9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3806825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3 h 261"/>
                  <a:gd name="T6" fmla="*/ 233 w 256"/>
                  <a:gd name="T7" fmla="*/ 11 h 261"/>
                  <a:gd name="T8" fmla="*/ 245 w 256"/>
                  <a:gd name="T9" fmla="*/ 22 h 261"/>
                  <a:gd name="T10" fmla="*/ 253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9 h 261"/>
                  <a:gd name="T16" fmla="*/ 253 w 256"/>
                  <a:gd name="T17" fmla="*/ 225 h 261"/>
                  <a:gd name="T18" fmla="*/ 245 w 256"/>
                  <a:gd name="T19" fmla="*/ 240 h 261"/>
                  <a:gd name="T20" fmla="*/ 233 w 256"/>
                  <a:gd name="T21" fmla="*/ 251 h 261"/>
                  <a:gd name="T22" fmla="*/ 220 w 256"/>
                  <a:gd name="T23" fmla="*/ 259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9 h 261"/>
                  <a:gd name="T30" fmla="*/ 22 w 256"/>
                  <a:gd name="T31" fmla="*/ 251 h 261"/>
                  <a:gd name="T32" fmla="*/ 10 w 256"/>
                  <a:gd name="T33" fmla="*/ 240 h 261"/>
                  <a:gd name="T34" fmla="*/ 3 w 256"/>
                  <a:gd name="T35" fmla="*/ 225 h 261"/>
                  <a:gd name="T36" fmla="*/ 0 w 256"/>
                  <a:gd name="T37" fmla="*/ 209 h 261"/>
                  <a:gd name="T38" fmla="*/ 0 w 256"/>
                  <a:gd name="T39" fmla="*/ 53 h 261"/>
                  <a:gd name="T40" fmla="*/ 3 w 256"/>
                  <a:gd name="T41" fmla="*/ 36 h 261"/>
                  <a:gd name="T42" fmla="*/ 10 w 256"/>
                  <a:gd name="T43" fmla="*/ 22 h 261"/>
                  <a:gd name="T44" fmla="*/ 22 w 256"/>
                  <a:gd name="T45" fmla="*/ 11 h 261"/>
                  <a:gd name="T46" fmla="*/ 37 w 256"/>
                  <a:gd name="T47" fmla="*/ 3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1"/>
                    </a:lnTo>
                    <a:lnTo>
                      <a:pt x="245" y="22"/>
                    </a:lnTo>
                    <a:lnTo>
                      <a:pt x="253" y="36"/>
                    </a:lnTo>
                    <a:lnTo>
                      <a:pt x="256" y="53"/>
                    </a:lnTo>
                    <a:lnTo>
                      <a:pt x="256" y="209"/>
                    </a:lnTo>
                    <a:lnTo>
                      <a:pt x="253" y="225"/>
                    </a:lnTo>
                    <a:lnTo>
                      <a:pt x="245" y="240"/>
                    </a:lnTo>
                    <a:lnTo>
                      <a:pt x="233" y="251"/>
                    </a:lnTo>
                    <a:lnTo>
                      <a:pt x="220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9"/>
                    </a:lnTo>
                    <a:lnTo>
                      <a:pt x="22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1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Freeform 37">
                <a:extLst>
                  <a:ext uri="{FF2B5EF4-FFF2-40B4-BE49-F238E27FC236}">
                    <a16:creationId xmlns:a16="http://schemas.microsoft.com/office/drawing/2014/main" id="{CFA50CED-47F0-404D-823C-5C7812AE1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3806825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3 h 261"/>
                  <a:gd name="T6" fmla="*/ 234 w 256"/>
                  <a:gd name="T7" fmla="*/ 11 h 261"/>
                  <a:gd name="T8" fmla="*/ 246 w 256"/>
                  <a:gd name="T9" fmla="*/ 22 h 261"/>
                  <a:gd name="T10" fmla="*/ 254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9 h 261"/>
                  <a:gd name="T16" fmla="*/ 254 w 256"/>
                  <a:gd name="T17" fmla="*/ 225 h 261"/>
                  <a:gd name="T18" fmla="*/ 246 w 256"/>
                  <a:gd name="T19" fmla="*/ 240 h 261"/>
                  <a:gd name="T20" fmla="*/ 234 w 256"/>
                  <a:gd name="T21" fmla="*/ 251 h 261"/>
                  <a:gd name="T22" fmla="*/ 219 w 256"/>
                  <a:gd name="T23" fmla="*/ 259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9 h 261"/>
                  <a:gd name="T30" fmla="*/ 23 w 256"/>
                  <a:gd name="T31" fmla="*/ 251 h 261"/>
                  <a:gd name="T32" fmla="*/ 11 w 256"/>
                  <a:gd name="T33" fmla="*/ 240 h 261"/>
                  <a:gd name="T34" fmla="*/ 3 w 256"/>
                  <a:gd name="T35" fmla="*/ 225 h 261"/>
                  <a:gd name="T36" fmla="*/ 0 w 256"/>
                  <a:gd name="T37" fmla="*/ 209 h 261"/>
                  <a:gd name="T38" fmla="*/ 0 w 256"/>
                  <a:gd name="T39" fmla="*/ 53 h 261"/>
                  <a:gd name="T40" fmla="*/ 3 w 256"/>
                  <a:gd name="T41" fmla="*/ 36 h 261"/>
                  <a:gd name="T42" fmla="*/ 11 w 256"/>
                  <a:gd name="T43" fmla="*/ 22 h 261"/>
                  <a:gd name="T44" fmla="*/ 23 w 256"/>
                  <a:gd name="T45" fmla="*/ 11 h 261"/>
                  <a:gd name="T46" fmla="*/ 37 w 256"/>
                  <a:gd name="T47" fmla="*/ 3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1"/>
                    </a:lnTo>
                    <a:lnTo>
                      <a:pt x="246" y="22"/>
                    </a:lnTo>
                    <a:lnTo>
                      <a:pt x="254" y="36"/>
                    </a:lnTo>
                    <a:lnTo>
                      <a:pt x="256" y="53"/>
                    </a:lnTo>
                    <a:lnTo>
                      <a:pt x="256" y="209"/>
                    </a:lnTo>
                    <a:lnTo>
                      <a:pt x="254" y="225"/>
                    </a:lnTo>
                    <a:lnTo>
                      <a:pt x="246" y="240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9"/>
                    </a:lnTo>
                    <a:lnTo>
                      <a:pt x="23" y="251"/>
                    </a:lnTo>
                    <a:lnTo>
                      <a:pt x="11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1" y="22"/>
                    </a:lnTo>
                    <a:lnTo>
                      <a:pt x="23" y="11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Freeform 38">
                <a:extLst>
                  <a:ext uri="{FF2B5EF4-FFF2-40B4-BE49-F238E27FC236}">
                    <a16:creationId xmlns:a16="http://schemas.microsoft.com/office/drawing/2014/main" id="{9DA06D74-8C7F-49FB-9A8E-60A462A0A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4279900"/>
                <a:ext cx="404813" cy="412750"/>
              </a:xfrm>
              <a:custGeom>
                <a:avLst/>
                <a:gdLst>
                  <a:gd name="T0" fmla="*/ 53 w 255"/>
                  <a:gd name="T1" fmla="*/ 0 h 260"/>
                  <a:gd name="T2" fmla="*/ 202 w 255"/>
                  <a:gd name="T3" fmla="*/ 0 h 260"/>
                  <a:gd name="T4" fmla="*/ 219 w 255"/>
                  <a:gd name="T5" fmla="*/ 3 h 260"/>
                  <a:gd name="T6" fmla="*/ 234 w 255"/>
                  <a:gd name="T7" fmla="*/ 10 h 260"/>
                  <a:gd name="T8" fmla="*/ 245 w 255"/>
                  <a:gd name="T9" fmla="*/ 22 h 260"/>
                  <a:gd name="T10" fmla="*/ 252 w 255"/>
                  <a:gd name="T11" fmla="*/ 37 h 260"/>
                  <a:gd name="T12" fmla="*/ 255 w 255"/>
                  <a:gd name="T13" fmla="*/ 53 h 260"/>
                  <a:gd name="T14" fmla="*/ 255 w 255"/>
                  <a:gd name="T15" fmla="*/ 208 h 260"/>
                  <a:gd name="T16" fmla="*/ 252 w 255"/>
                  <a:gd name="T17" fmla="*/ 225 h 260"/>
                  <a:gd name="T18" fmla="*/ 245 w 255"/>
                  <a:gd name="T19" fmla="*/ 239 h 260"/>
                  <a:gd name="T20" fmla="*/ 234 w 255"/>
                  <a:gd name="T21" fmla="*/ 251 h 260"/>
                  <a:gd name="T22" fmla="*/ 219 w 255"/>
                  <a:gd name="T23" fmla="*/ 258 h 260"/>
                  <a:gd name="T24" fmla="*/ 202 w 255"/>
                  <a:gd name="T25" fmla="*/ 260 h 260"/>
                  <a:gd name="T26" fmla="*/ 53 w 255"/>
                  <a:gd name="T27" fmla="*/ 260 h 260"/>
                  <a:gd name="T28" fmla="*/ 36 w 255"/>
                  <a:gd name="T29" fmla="*/ 258 h 260"/>
                  <a:gd name="T30" fmla="*/ 22 w 255"/>
                  <a:gd name="T31" fmla="*/ 251 h 260"/>
                  <a:gd name="T32" fmla="*/ 10 w 255"/>
                  <a:gd name="T33" fmla="*/ 239 h 260"/>
                  <a:gd name="T34" fmla="*/ 3 w 255"/>
                  <a:gd name="T35" fmla="*/ 225 h 260"/>
                  <a:gd name="T36" fmla="*/ 0 w 255"/>
                  <a:gd name="T37" fmla="*/ 208 h 260"/>
                  <a:gd name="T38" fmla="*/ 0 w 255"/>
                  <a:gd name="T39" fmla="*/ 53 h 260"/>
                  <a:gd name="T40" fmla="*/ 3 w 255"/>
                  <a:gd name="T41" fmla="*/ 37 h 260"/>
                  <a:gd name="T42" fmla="*/ 10 w 255"/>
                  <a:gd name="T43" fmla="*/ 22 h 260"/>
                  <a:gd name="T44" fmla="*/ 22 w 255"/>
                  <a:gd name="T45" fmla="*/ 10 h 260"/>
                  <a:gd name="T46" fmla="*/ 36 w 255"/>
                  <a:gd name="T47" fmla="*/ 3 h 260"/>
                  <a:gd name="T48" fmla="*/ 53 w 255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5" y="22"/>
                    </a:lnTo>
                    <a:lnTo>
                      <a:pt x="252" y="37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5"/>
                    </a:lnTo>
                    <a:lnTo>
                      <a:pt x="245" y="239"/>
                    </a:lnTo>
                    <a:lnTo>
                      <a:pt x="234" y="251"/>
                    </a:lnTo>
                    <a:lnTo>
                      <a:pt x="219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6" y="258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Freeform 39">
                <a:extLst>
                  <a:ext uri="{FF2B5EF4-FFF2-40B4-BE49-F238E27FC236}">
                    <a16:creationId xmlns:a16="http://schemas.microsoft.com/office/drawing/2014/main" id="{43AABD32-B1B8-40D4-B9C9-713D1B981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4279900"/>
                <a:ext cx="404813" cy="412750"/>
              </a:xfrm>
              <a:custGeom>
                <a:avLst/>
                <a:gdLst>
                  <a:gd name="T0" fmla="*/ 53 w 255"/>
                  <a:gd name="T1" fmla="*/ 0 h 260"/>
                  <a:gd name="T2" fmla="*/ 202 w 255"/>
                  <a:gd name="T3" fmla="*/ 0 h 260"/>
                  <a:gd name="T4" fmla="*/ 219 w 255"/>
                  <a:gd name="T5" fmla="*/ 3 h 260"/>
                  <a:gd name="T6" fmla="*/ 233 w 255"/>
                  <a:gd name="T7" fmla="*/ 10 h 260"/>
                  <a:gd name="T8" fmla="*/ 244 w 255"/>
                  <a:gd name="T9" fmla="*/ 22 h 260"/>
                  <a:gd name="T10" fmla="*/ 252 w 255"/>
                  <a:gd name="T11" fmla="*/ 37 h 260"/>
                  <a:gd name="T12" fmla="*/ 255 w 255"/>
                  <a:gd name="T13" fmla="*/ 53 h 260"/>
                  <a:gd name="T14" fmla="*/ 255 w 255"/>
                  <a:gd name="T15" fmla="*/ 208 h 260"/>
                  <a:gd name="T16" fmla="*/ 252 w 255"/>
                  <a:gd name="T17" fmla="*/ 225 h 260"/>
                  <a:gd name="T18" fmla="*/ 244 w 255"/>
                  <a:gd name="T19" fmla="*/ 239 h 260"/>
                  <a:gd name="T20" fmla="*/ 233 w 255"/>
                  <a:gd name="T21" fmla="*/ 251 h 260"/>
                  <a:gd name="T22" fmla="*/ 219 w 255"/>
                  <a:gd name="T23" fmla="*/ 258 h 260"/>
                  <a:gd name="T24" fmla="*/ 202 w 255"/>
                  <a:gd name="T25" fmla="*/ 260 h 260"/>
                  <a:gd name="T26" fmla="*/ 53 w 255"/>
                  <a:gd name="T27" fmla="*/ 260 h 260"/>
                  <a:gd name="T28" fmla="*/ 36 w 255"/>
                  <a:gd name="T29" fmla="*/ 258 h 260"/>
                  <a:gd name="T30" fmla="*/ 21 w 255"/>
                  <a:gd name="T31" fmla="*/ 251 h 260"/>
                  <a:gd name="T32" fmla="*/ 10 w 255"/>
                  <a:gd name="T33" fmla="*/ 239 h 260"/>
                  <a:gd name="T34" fmla="*/ 3 w 255"/>
                  <a:gd name="T35" fmla="*/ 225 h 260"/>
                  <a:gd name="T36" fmla="*/ 0 w 255"/>
                  <a:gd name="T37" fmla="*/ 208 h 260"/>
                  <a:gd name="T38" fmla="*/ 0 w 255"/>
                  <a:gd name="T39" fmla="*/ 53 h 260"/>
                  <a:gd name="T40" fmla="*/ 3 w 255"/>
                  <a:gd name="T41" fmla="*/ 37 h 260"/>
                  <a:gd name="T42" fmla="*/ 10 w 255"/>
                  <a:gd name="T43" fmla="*/ 22 h 260"/>
                  <a:gd name="T44" fmla="*/ 21 w 255"/>
                  <a:gd name="T45" fmla="*/ 10 h 260"/>
                  <a:gd name="T46" fmla="*/ 36 w 255"/>
                  <a:gd name="T47" fmla="*/ 3 h 260"/>
                  <a:gd name="T48" fmla="*/ 53 w 255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0"/>
                    </a:lnTo>
                    <a:lnTo>
                      <a:pt x="244" y="22"/>
                    </a:lnTo>
                    <a:lnTo>
                      <a:pt x="252" y="37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5"/>
                    </a:lnTo>
                    <a:lnTo>
                      <a:pt x="244" y="239"/>
                    </a:lnTo>
                    <a:lnTo>
                      <a:pt x="233" y="251"/>
                    </a:lnTo>
                    <a:lnTo>
                      <a:pt x="219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6" y="258"/>
                    </a:lnTo>
                    <a:lnTo>
                      <a:pt x="21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1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eform 40">
                <a:extLst>
                  <a:ext uri="{FF2B5EF4-FFF2-40B4-BE49-F238E27FC236}">
                    <a16:creationId xmlns:a16="http://schemas.microsoft.com/office/drawing/2014/main" id="{B30CBDC6-6FE5-4161-8D5D-58C6D503A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4279900"/>
                <a:ext cx="406400" cy="412750"/>
              </a:xfrm>
              <a:custGeom>
                <a:avLst/>
                <a:gdLst>
                  <a:gd name="T0" fmla="*/ 53 w 256"/>
                  <a:gd name="T1" fmla="*/ 0 h 260"/>
                  <a:gd name="T2" fmla="*/ 202 w 256"/>
                  <a:gd name="T3" fmla="*/ 0 h 260"/>
                  <a:gd name="T4" fmla="*/ 220 w 256"/>
                  <a:gd name="T5" fmla="*/ 3 h 260"/>
                  <a:gd name="T6" fmla="*/ 233 w 256"/>
                  <a:gd name="T7" fmla="*/ 10 h 260"/>
                  <a:gd name="T8" fmla="*/ 245 w 256"/>
                  <a:gd name="T9" fmla="*/ 22 h 260"/>
                  <a:gd name="T10" fmla="*/ 253 w 256"/>
                  <a:gd name="T11" fmla="*/ 37 h 260"/>
                  <a:gd name="T12" fmla="*/ 256 w 256"/>
                  <a:gd name="T13" fmla="*/ 53 h 260"/>
                  <a:gd name="T14" fmla="*/ 256 w 256"/>
                  <a:gd name="T15" fmla="*/ 208 h 260"/>
                  <a:gd name="T16" fmla="*/ 253 w 256"/>
                  <a:gd name="T17" fmla="*/ 225 h 260"/>
                  <a:gd name="T18" fmla="*/ 245 w 256"/>
                  <a:gd name="T19" fmla="*/ 239 h 260"/>
                  <a:gd name="T20" fmla="*/ 233 w 256"/>
                  <a:gd name="T21" fmla="*/ 251 h 260"/>
                  <a:gd name="T22" fmla="*/ 220 w 256"/>
                  <a:gd name="T23" fmla="*/ 258 h 260"/>
                  <a:gd name="T24" fmla="*/ 202 w 256"/>
                  <a:gd name="T25" fmla="*/ 260 h 260"/>
                  <a:gd name="T26" fmla="*/ 53 w 256"/>
                  <a:gd name="T27" fmla="*/ 260 h 260"/>
                  <a:gd name="T28" fmla="*/ 37 w 256"/>
                  <a:gd name="T29" fmla="*/ 258 h 260"/>
                  <a:gd name="T30" fmla="*/ 22 w 256"/>
                  <a:gd name="T31" fmla="*/ 251 h 260"/>
                  <a:gd name="T32" fmla="*/ 10 w 256"/>
                  <a:gd name="T33" fmla="*/ 239 h 260"/>
                  <a:gd name="T34" fmla="*/ 3 w 256"/>
                  <a:gd name="T35" fmla="*/ 225 h 260"/>
                  <a:gd name="T36" fmla="*/ 0 w 256"/>
                  <a:gd name="T37" fmla="*/ 208 h 260"/>
                  <a:gd name="T38" fmla="*/ 0 w 256"/>
                  <a:gd name="T39" fmla="*/ 53 h 260"/>
                  <a:gd name="T40" fmla="*/ 3 w 256"/>
                  <a:gd name="T41" fmla="*/ 37 h 260"/>
                  <a:gd name="T42" fmla="*/ 10 w 256"/>
                  <a:gd name="T43" fmla="*/ 22 h 260"/>
                  <a:gd name="T44" fmla="*/ 22 w 256"/>
                  <a:gd name="T45" fmla="*/ 10 h 260"/>
                  <a:gd name="T46" fmla="*/ 37 w 256"/>
                  <a:gd name="T47" fmla="*/ 3 h 260"/>
                  <a:gd name="T48" fmla="*/ 53 w 256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0"/>
                    </a:lnTo>
                    <a:lnTo>
                      <a:pt x="245" y="22"/>
                    </a:lnTo>
                    <a:lnTo>
                      <a:pt x="253" y="37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3" y="225"/>
                    </a:lnTo>
                    <a:lnTo>
                      <a:pt x="245" y="239"/>
                    </a:lnTo>
                    <a:lnTo>
                      <a:pt x="233" y="251"/>
                    </a:lnTo>
                    <a:lnTo>
                      <a:pt x="220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7" y="258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Freeform 41">
                <a:extLst>
                  <a:ext uri="{FF2B5EF4-FFF2-40B4-BE49-F238E27FC236}">
                    <a16:creationId xmlns:a16="http://schemas.microsoft.com/office/drawing/2014/main" id="{E16B7958-A5EA-4FF5-9EE1-336582FA6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4279900"/>
                <a:ext cx="406400" cy="412750"/>
              </a:xfrm>
              <a:custGeom>
                <a:avLst/>
                <a:gdLst>
                  <a:gd name="T0" fmla="*/ 54 w 256"/>
                  <a:gd name="T1" fmla="*/ 0 h 260"/>
                  <a:gd name="T2" fmla="*/ 203 w 256"/>
                  <a:gd name="T3" fmla="*/ 0 h 260"/>
                  <a:gd name="T4" fmla="*/ 219 w 256"/>
                  <a:gd name="T5" fmla="*/ 3 h 260"/>
                  <a:gd name="T6" fmla="*/ 234 w 256"/>
                  <a:gd name="T7" fmla="*/ 10 h 260"/>
                  <a:gd name="T8" fmla="*/ 246 w 256"/>
                  <a:gd name="T9" fmla="*/ 22 h 260"/>
                  <a:gd name="T10" fmla="*/ 254 w 256"/>
                  <a:gd name="T11" fmla="*/ 37 h 260"/>
                  <a:gd name="T12" fmla="*/ 256 w 256"/>
                  <a:gd name="T13" fmla="*/ 53 h 260"/>
                  <a:gd name="T14" fmla="*/ 256 w 256"/>
                  <a:gd name="T15" fmla="*/ 208 h 260"/>
                  <a:gd name="T16" fmla="*/ 254 w 256"/>
                  <a:gd name="T17" fmla="*/ 225 h 260"/>
                  <a:gd name="T18" fmla="*/ 246 w 256"/>
                  <a:gd name="T19" fmla="*/ 239 h 260"/>
                  <a:gd name="T20" fmla="*/ 234 w 256"/>
                  <a:gd name="T21" fmla="*/ 251 h 260"/>
                  <a:gd name="T22" fmla="*/ 219 w 256"/>
                  <a:gd name="T23" fmla="*/ 258 h 260"/>
                  <a:gd name="T24" fmla="*/ 203 w 256"/>
                  <a:gd name="T25" fmla="*/ 260 h 260"/>
                  <a:gd name="T26" fmla="*/ 54 w 256"/>
                  <a:gd name="T27" fmla="*/ 260 h 260"/>
                  <a:gd name="T28" fmla="*/ 37 w 256"/>
                  <a:gd name="T29" fmla="*/ 258 h 260"/>
                  <a:gd name="T30" fmla="*/ 23 w 256"/>
                  <a:gd name="T31" fmla="*/ 251 h 260"/>
                  <a:gd name="T32" fmla="*/ 11 w 256"/>
                  <a:gd name="T33" fmla="*/ 239 h 260"/>
                  <a:gd name="T34" fmla="*/ 3 w 256"/>
                  <a:gd name="T35" fmla="*/ 225 h 260"/>
                  <a:gd name="T36" fmla="*/ 0 w 256"/>
                  <a:gd name="T37" fmla="*/ 208 h 260"/>
                  <a:gd name="T38" fmla="*/ 0 w 256"/>
                  <a:gd name="T39" fmla="*/ 53 h 260"/>
                  <a:gd name="T40" fmla="*/ 3 w 256"/>
                  <a:gd name="T41" fmla="*/ 37 h 260"/>
                  <a:gd name="T42" fmla="*/ 11 w 256"/>
                  <a:gd name="T43" fmla="*/ 22 h 260"/>
                  <a:gd name="T44" fmla="*/ 23 w 256"/>
                  <a:gd name="T45" fmla="*/ 10 h 260"/>
                  <a:gd name="T46" fmla="*/ 37 w 256"/>
                  <a:gd name="T47" fmla="*/ 3 h 260"/>
                  <a:gd name="T48" fmla="*/ 54 w 256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0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6" y="22"/>
                    </a:lnTo>
                    <a:lnTo>
                      <a:pt x="254" y="37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4" y="225"/>
                    </a:lnTo>
                    <a:lnTo>
                      <a:pt x="246" y="239"/>
                    </a:lnTo>
                    <a:lnTo>
                      <a:pt x="234" y="251"/>
                    </a:lnTo>
                    <a:lnTo>
                      <a:pt x="219" y="258"/>
                    </a:lnTo>
                    <a:lnTo>
                      <a:pt x="203" y="260"/>
                    </a:lnTo>
                    <a:lnTo>
                      <a:pt x="54" y="260"/>
                    </a:lnTo>
                    <a:lnTo>
                      <a:pt x="37" y="258"/>
                    </a:lnTo>
                    <a:lnTo>
                      <a:pt x="23" y="251"/>
                    </a:lnTo>
                    <a:lnTo>
                      <a:pt x="11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1" y="22"/>
                    </a:lnTo>
                    <a:lnTo>
                      <a:pt x="23" y="10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Freeform 42">
                <a:extLst>
                  <a:ext uri="{FF2B5EF4-FFF2-40B4-BE49-F238E27FC236}">
                    <a16:creationId xmlns:a16="http://schemas.microsoft.com/office/drawing/2014/main" id="{F791E0D8-D97B-4A73-812E-D922EDD77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475297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2 h 261"/>
                  <a:gd name="T6" fmla="*/ 234 w 255"/>
                  <a:gd name="T7" fmla="*/ 9 h 261"/>
                  <a:gd name="T8" fmla="*/ 245 w 255"/>
                  <a:gd name="T9" fmla="*/ 21 h 261"/>
                  <a:gd name="T10" fmla="*/ 252 w 255"/>
                  <a:gd name="T11" fmla="*/ 36 h 261"/>
                  <a:gd name="T12" fmla="*/ 255 w 255"/>
                  <a:gd name="T13" fmla="*/ 52 h 261"/>
                  <a:gd name="T14" fmla="*/ 255 w 255"/>
                  <a:gd name="T15" fmla="*/ 207 h 261"/>
                  <a:gd name="T16" fmla="*/ 252 w 255"/>
                  <a:gd name="T17" fmla="*/ 224 h 261"/>
                  <a:gd name="T18" fmla="*/ 245 w 255"/>
                  <a:gd name="T19" fmla="*/ 238 h 261"/>
                  <a:gd name="T20" fmla="*/ 234 w 255"/>
                  <a:gd name="T21" fmla="*/ 250 h 261"/>
                  <a:gd name="T22" fmla="*/ 219 w 255"/>
                  <a:gd name="T23" fmla="*/ 257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7 h 261"/>
                  <a:gd name="T30" fmla="*/ 22 w 255"/>
                  <a:gd name="T31" fmla="*/ 250 h 261"/>
                  <a:gd name="T32" fmla="*/ 10 w 255"/>
                  <a:gd name="T33" fmla="*/ 238 h 261"/>
                  <a:gd name="T34" fmla="*/ 3 w 255"/>
                  <a:gd name="T35" fmla="*/ 224 h 261"/>
                  <a:gd name="T36" fmla="*/ 0 w 255"/>
                  <a:gd name="T37" fmla="*/ 207 h 261"/>
                  <a:gd name="T38" fmla="*/ 0 w 255"/>
                  <a:gd name="T39" fmla="*/ 52 h 261"/>
                  <a:gd name="T40" fmla="*/ 3 w 255"/>
                  <a:gd name="T41" fmla="*/ 36 h 261"/>
                  <a:gd name="T42" fmla="*/ 10 w 255"/>
                  <a:gd name="T43" fmla="*/ 21 h 261"/>
                  <a:gd name="T44" fmla="*/ 22 w 255"/>
                  <a:gd name="T45" fmla="*/ 9 h 261"/>
                  <a:gd name="T46" fmla="*/ 36 w 255"/>
                  <a:gd name="T47" fmla="*/ 2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2"/>
                    </a:lnTo>
                    <a:lnTo>
                      <a:pt x="234" y="9"/>
                    </a:lnTo>
                    <a:lnTo>
                      <a:pt x="245" y="21"/>
                    </a:lnTo>
                    <a:lnTo>
                      <a:pt x="252" y="36"/>
                    </a:lnTo>
                    <a:lnTo>
                      <a:pt x="255" y="52"/>
                    </a:lnTo>
                    <a:lnTo>
                      <a:pt x="255" y="207"/>
                    </a:lnTo>
                    <a:lnTo>
                      <a:pt x="252" y="224"/>
                    </a:lnTo>
                    <a:lnTo>
                      <a:pt x="245" y="238"/>
                    </a:lnTo>
                    <a:lnTo>
                      <a:pt x="234" y="250"/>
                    </a:lnTo>
                    <a:lnTo>
                      <a:pt x="219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7"/>
                    </a:lnTo>
                    <a:lnTo>
                      <a:pt x="22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2" y="9"/>
                    </a:lnTo>
                    <a:lnTo>
                      <a:pt x="36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Freeform 43">
                <a:extLst>
                  <a:ext uri="{FF2B5EF4-FFF2-40B4-BE49-F238E27FC236}">
                    <a16:creationId xmlns:a16="http://schemas.microsoft.com/office/drawing/2014/main" id="{C7F6452B-9D8C-45A8-913E-25B681D98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475297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2 h 261"/>
                  <a:gd name="T6" fmla="*/ 233 w 255"/>
                  <a:gd name="T7" fmla="*/ 9 h 261"/>
                  <a:gd name="T8" fmla="*/ 244 w 255"/>
                  <a:gd name="T9" fmla="*/ 21 h 261"/>
                  <a:gd name="T10" fmla="*/ 252 w 255"/>
                  <a:gd name="T11" fmla="*/ 36 h 261"/>
                  <a:gd name="T12" fmla="*/ 255 w 255"/>
                  <a:gd name="T13" fmla="*/ 52 h 261"/>
                  <a:gd name="T14" fmla="*/ 255 w 255"/>
                  <a:gd name="T15" fmla="*/ 207 h 261"/>
                  <a:gd name="T16" fmla="*/ 252 w 255"/>
                  <a:gd name="T17" fmla="*/ 224 h 261"/>
                  <a:gd name="T18" fmla="*/ 244 w 255"/>
                  <a:gd name="T19" fmla="*/ 238 h 261"/>
                  <a:gd name="T20" fmla="*/ 233 w 255"/>
                  <a:gd name="T21" fmla="*/ 250 h 261"/>
                  <a:gd name="T22" fmla="*/ 219 w 255"/>
                  <a:gd name="T23" fmla="*/ 257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7 h 261"/>
                  <a:gd name="T30" fmla="*/ 21 w 255"/>
                  <a:gd name="T31" fmla="*/ 250 h 261"/>
                  <a:gd name="T32" fmla="*/ 10 w 255"/>
                  <a:gd name="T33" fmla="*/ 238 h 261"/>
                  <a:gd name="T34" fmla="*/ 3 w 255"/>
                  <a:gd name="T35" fmla="*/ 224 h 261"/>
                  <a:gd name="T36" fmla="*/ 0 w 255"/>
                  <a:gd name="T37" fmla="*/ 207 h 261"/>
                  <a:gd name="T38" fmla="*/ 0 w 255"/>
                  <a:gd name="T39" fmla="*/ 52 h 261"/>
                  <a:gd name="T40" fmla="*/ 3 w 255"/>
                  <a:gd name="T41" fmla="*/ 36 h 261"/>
                  <a:gd name="T42" fmla="*/ 10 w 255"/>
                  <a:gd name="T43" fmla="*/ 21 h 261"/>
                  <a:gd name="T44" fmla="*/ 21 w 255"/>
                  <a:gd name="T45" fmla="*/ 9 h 261"/>
                  <a:gd name="T46" fmla="*/ 36 w 255"/>
                  <a:gd name="T47" fmla="*/ 2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2"/>
                    </a:lnTo>
                    <a:lnTo>
                      <a:pt x="233" y="9"/>
                    </a:lnTo>
                    <a:lnTo>
                      <a:pt x="244" y="21"/>
                    </a:lnTo>
                    <a:lnTo>
                      <a:pt x="252" y="36"/>
                    </a:lnTo>
                    <a:lnTo>
                      <a:pt x="255" y="52"/>
                    </a:lnTo>
                    <a:lnTo>
                      <a:pt x="255" y="207"/>
                    </a:lnTo>
                    <a:lnTo>
                      <a:pt x="252" y="224"/>
                    </a:lnTo>
                    <a:lnTo>
                      <a:pt x="244" y="238"/>
                    </a:lnTo>
                    <a:lnTo>
                      <a:pt x="233" y="250"/>
                    </a:lnTo>
                    <a:lnTo>
                      <a:pt x="219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7"/>
                    </a:lnTo>
                    <a:lnTo>
                      <a:pt x="21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1" y="9"/>
                    </a:lnTo>
                    <a:lnTo>
                      <a:pt x="36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Freeform 44">
                <a:extLst>
                  <a:ext uri="{FF2B5EF4-FFF2-40B4-BE49-F238E27FC236}">
                    <a16:creationId xmlns:a16="http://schemas.microsoft.com/office/drawing/2014/main" id="{D92C48BA-2AE0-4EC2-A124-0F291D1FF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4752975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2 h 261"/>
                  <a:gd name="T6" fmla="*/ 233 w 256"/>
                  <a:gd name="T7" fmla="*/ 9 h 261"/>
                  <a:gd name="T8" fmla="*/ 245 w 256"/>
                  <a:gd name="T9" fmla="*/ 21 h 261"/>
                  <a:gd name="T10" fmla="*/ 253 w 256"/>
                  <a:gd name="T11" fmla="*/ 36 h 261"/>
                  <a:gd name="T12" fmla="*/ 256 w 256"/>
                  <a:gd name="T13" fmla="*/ 52 h 261"/>
                  <a:gd name="T14" fmla="*/ 256 w 256"/>
                  <a:gd name="T15" fmla="*/ 207 h 261"/>
                  <a:gd name="T16" fmla="*/ 253 w 256"/>
                  <a:gd name="T17" fmla="*/ 224 h 261"/>
                  <a:gd name="T18" fmla="*/ 245 w 256"/>
                  <a:gd name="T19" fmla="*/ 238 h 261"/>
                  <a:gd name="T20" fmla="*/ 233 w 256"/>
                  <a:gd name="T21" fmla="*/ 250 h 261"/>
                  <a:gd name="T22" fmla="*/ 220 w 256"/>
                  <a:gd name="T23" fmla="*/ 257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7 h 261"/>
                  <a:gd name="T30" fmla="*/ 22 w 256"/>
                  <a:gd name="T31" fmla="*/ 250 h 261"/>
                  <a:gd name="T32" fmla="*/ 10 w 256"/>
                  <a:gd name="T33" fmla="*/ 238 h 261"/>
                  <a:gd name="T34" fmla="*/ 3 w 256"/>
                  <a:gd name="T35" fmla="*/ 224 h 261"/>
                  <a:gd name="T36" fmla="*/ 0 w 256"/>
                  <a:gd name="T37" fmla="*/ 207 h 261"/>
                  <a:gd name="T38" fmla="*/ 0 w 256"/>
                  <a:gd name="T39" fmla="*/ 52 h 261"/>
                  <a:gd name="T40" fmla="*/ 3 w 256"/>
                  <a:gd name="T41" fmla="*/ 36 h 261"/>
                  <a:gd name="T42" fmla="*/ 10 w 256"/>
                  <a:gd name="T43" fmla="*/ 21 h 261"/>
                  <a:gd name="T44" fmla="*/ 22 w 256"/>
                  <a:gd name="T45" fmla="*/ 9 h 261"/>
                  <a:gd name="T46" fmla="*/ 37 w 256"/>
                  <a:gd name="T47" fmla="*/ 2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2"/>
                    </a:lnTo>
                    <a:lnTo>
                      <a:pt x="233" y="9"/>
                    </a:lnTo>
                    <a:lnTo>
                      <a:pt x="245" y="21"/>
                    </a:lnTo>
                    <a:lnTo>
                      <a:pt x="253" y="36"/>
                    </a:lnTo>
                    <a:lnTo>
                      <a:pt x="256" y="52"/>
                    </a:lnTo>
                    <a:lnTo>
                      <a:pt x="256" y="207"/>
                    </a:lnTo>
                    <a:lnTo>
                      <a:pt x="253" y="224"/>
                    </a:lnTo>
                    <a:lnTo>
                      <a:pt x="245" y="238"/>
                    </a:lnTo>
                    <a:lnTo>
                      <a:pt x="233" y="250"/>
                    </a:lnTo>
                    <a:lnTo>
                      <a:pt x="220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7"/>
                    </a:lnTo>
                    <a:lnTo>
                      <a:pt x="22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2" y="9"/>
                    </a:lnTo>
                    <a:lnTo>
                      <a:pt x="37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Freeform 45">
                <a:extLst>
                  <a:ext uri="{FF2B5EF4-FFF2-40B4-BE49-F238E27FC236}">
                    <a16:creationId xmlns:a16="http://schemas.microsoft.com/office/drawing/2014/main" id="{FDBC34BA-C0AA-4B09-BC78-9B6D5DD17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4752975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2 h 261"/>
                  <a:gd name="T6" fmla="*/ 234 w 256"/>
                  <a:gd name="T7" fmla="*/ 9 h 261"/>
                  <a:gd name="T8" fmla="*/ 246 w 256"/>
                  <a:gd name="T9" fmla="*/ 21 h 261"/>
                  <a:gd name="T10" fmla="*/ 254 w 256"/>
                  <a:gd name="T11" fmla="*/ 36 h 261"/>
                  <a:gd name="T12" fmla="*/ 256 w 256"/>
                  <a:gd name="T13" fmla="*/ 52 h 261"/>
                  <a:gd name="T14" fmla="*/ 256 w 256"/>
                  <a:gd name="T15" fmla="*/ 207 h 261"/>
                  <a:gd name="T16" fmla="*/ 254 w 256"/>
                  <a:gd name="T17" fmla="*/ 224 h 261"/>
                  <a:gd name="T18" fmla="*/ 246 w 256"/>
                  <a:gd name="T19" fmla="*/ 238 h 261"/>
                  <a:gd name="T20" fmla="*/ 234 w 256"/>
                  <a:gd name="T21" fmla="*/ 250 h 261"/>
                  <a:gd name="T22" fmla="*/ 219 w 256"/>
                  <a:gd name="T23" fmla="*/ 257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7 h 261"/>
                  <a:gd name="T30" fmla="*/ 23 w 256"/>
                  <a:gd name="T31" fmla="*/ 250 h 261"/>
                  <a:gd name="T32" fmla="*/ 11 w 256"/>
                  <a:gd name="T33" fmla="*/ 238 h 261"/>
                  <a:gd name="T34" fmla="*/ 3 w 256"/>
                  <a:gd name="T35" fmla="*/ 224 h 261"/>
                  <a:gd name="T36" fmla="*/ 0 w 256"/>
                  <a:gd name="T37" fmla="*/ 207 h 261"/>
                  <a:gd name="T38" fmla="*/ 0 w 256"/>
                  <a:gd name="T39" fmla="*/ 52 h 261"/>
                  <a:gd name="T40" fmla="*/ 3 w 256"/>
                  <a:gd name="T41" fmla="*/ 36 h 261"/>
                  <a:gd name="T42" fmla="*/ 11 w 256"/>
                  <a:gd name="T43" fmla="*/ 21 h 261"/>
                  <a:gd name="T44" fmla="*/ 23 w 256"/>
                  <a:gd name="T45" fmla="*/ 9 h 261"/>
                  <a:gd name="T46" fmla="*/ 37 w 256"/>
                  <a:gd name="T47" fmla="*/ 2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2"/>
                    </a:lnTo>
                    <a:lnTo>
                      <a:pt x="234" y="9"/>
                    </a:lnTo>
                    <a:lnTo>
                      <a:pt x="246" y="21"/>
                    </a:lnTo>
                    <a:lnTo>
                      <a:pt x="254" y="36"/>
                    </a:lnTo>
                    <a:lnTo>
                      <a:pt x="256" y="52"/>
                    </a:lnTo>
                    <a:lnTo>
                      <a:pt x="256" y="207"/>
                    </a:lnTo>
                    <a:lnTo>
                      <a:pt x="254" y="224"/>
                    </a:lnTo>
                    <a:lnTo>
                      <a:pt x="246" y="238"/>
                    </a:lnTo>
                    <a:lnTo>
                      <a:pt x="234" y="250"/>
                    </a:lnTo>
                    <a:lnTo>
                      <a:pt x="219" y="257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7"/>
                    </a:lnTo>
                    <a:lnTo>
                      <a:pt x="23" y="250"/>
                    </a:lnTo>
                    <a:lnTo>
                      <a:pt x="11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1" y="21"/>
                    </a:lnTo>
                    <a:lnTo>
                      <a:pt x="23" y="9"/>
                    </a:lnTo>
                    <a:lnTo>
                      <a:pt x="37" y="2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Freeform 46">
                <a:extLst>
                  <a:ext uri="{FF2B5EF4-FFF2-40B4-BE49-F238E27FC236}">
                    <a16:creationId xmlns:a16="http://schemas.microsoft.com/office/drawing/2014/main" id="{AE0450ED-6723-4081-8AD5-E8D7B6112C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47075" y="2932113"/>
                <a:ext cx="166688" cy="231775"/>
              </a:xfrm>
              <a:custGeom>
                <a:avLst/>
                <a:gdLst>
                  <a:gd name="T0" fmla="*/ 53 w 105"/>
                  <a:gd name="T1" fmla="*/ 11 h 146"/>
                  <a:gd name="T2" fmla="*/ 45 w 105"/>
                  <a:gd name="T3" fmla="*/ 17 h 146"/>
                  <a:gd name="T4" fmla="*/ 17 w 105"/>
                  <a:gd name="T5" fmla="*/ 17 h 146"/>
                  <a:gd name="T6" fmla="*/ 17 w 105"/>
                  <a:gd name="T7" fmla="*/ 66 h 146"/>
                  <a:gd name="T8" fmla="*/ 11 w 105"/>
                  <a:gd name="T9" fmla="*/ 73 h 146"/>
                  <a:gd name="T10" fmla="*/ 17 w 105"/>
                  <a:gd name="T11" fmla="*/ 81 h 146"/>
                  <a:gd name="T12" fmla="*/ 17 w 105"/>
                  <a:gd name="T13" fmla="*/ 107 h 146"/>
                  <a:gd name="T14" fmla="*/ 38 w 105"/>
                  <a:gd name="T15" fmla="*/ 78 h 146"/>
                  <a:gd name="T16" fmla="*/ 47 w 105"/>
                  <a:gd name="T17" fmla="*/ 78 h 146"/>
                  <a:gd name="T18" fmla="*/ 47 w 105"/>
                  <a:gd name="T19" fmla="*/ 94 h 146"/>
                  <a:gd name="T20" fmla="*/ 24 w 105"/>
                  <a:gd name="T21" fmla="*/ 129 h 146"/>
                  <a:gd name="T22" fmla="*/ 45 w 105"/>
                  <a:gd name="T23" fmla="*/ 129 h 146"/>
                  <a:gd name="T24" fmla="*/ 53 w 105"/>
                  <a:gd name="T25" fmla="*/ 135 h 146"/>
                  <a:gd name="T26" fmla="*/ 53 w 105"/>
                  <a:gd name="T27" fmla="*/ 135 h 146"/>
                  <a:gd name="T28" fmla="*/ 60 w 105"/>
                  <a:gd name="T29" fmla="*/ 129 h 146"/>
                  <a:gd name="T30" fmla="*/ 87 w 105"/>
                  <a:gd name="T31" fmla="*/ 129 h 146"/>
                  <a:gd name="T32" fmla="*/ 87 w 105"/>
                  <a:gd name="T33" fmla="*/ 81 h 146"/>
                  <a:gd name="T34" fmla="*/ 93 w 105"/>
                  <a:gd name="T35" fmla="*/ 73 h 146"/>
                  <a:gd name="T36" fmla="*/ 87 w 105"/>
                  <a:gd name="T37" fmla="*/ 66 h 146"/>
                  <a:gd name="T38" fmla="*/ 87 w 105"/>
                  <a:gd name="T39" fmla="*/ 39 h 146"/>
                  <a:gd name="T40" fmla="*/ 68 w 105"/>
                  <a:gd name="T41" fmla="*/ 68 h 146"/>
                  <a:gd name="T42" fmla="*/ 58 w 105"/>
                  <a:gd name="T43" fmla="*/ 68 h 146"/>
                  <a:gd name="T44" fmla="*/ 58 w 105"/>
                  <a:gd name="T45" fmla="*/ 52 h 146"/>
                  <a:gd name="T46" fmla="*/ 80 w 105"/>
                  <a:gd name="T47" fmla="*/ 17 h 146"/>
                  <a:gd name="T48" fmla="*/ 60 w 105"/>
                  <a:gd name="T49" fmla="*/ 17 h 146"/>
                  <a:gd name="T50" fmla="*/ 53 w 105"/>
                  <a:gd name="T51" fmla="*/ 11 h 146"/>
                  <a:gd name="T52" fmla="*/ 53 w 105"/>
                  <a:gd name="T53" fmla="*/ 11 h 146"/>
                  <a:gd name="T54" fmla="*/ 16 w 105"/>
                  <a:gd name="T55" fmla="*/ 0 h 146"/>
                  <a:gd name="T56" fmla="*/ 45 w 105"/>
                  <a:gd name="T57" fmla="*/ 0 h 146"/>
                  <a:gd name="T58" fmla="*/ 53 w 105"/>
                  <a:gd name="T59" fmla="*/ 7 h 146"/>
                  <a:gd name="T60" fmla="*/ 53 w 105"/>
                  <a:gd name="T61" fmla="*/ 7 h 146"/>
                  <a:gd name="T62" fmla="*/ 60 w 105"/>
                  <a:gd name="T63" fmla="*/ 0 h 146"/>
                  <a:gd name="T64" fmla="*/ 89 w 105"/>
                  <a:gd name="T65" fmla="*/ 0 h 146"/>
                  <a:gd name="T66" fmla="*/ 98 w 105"/>
                  <a:gd name="T67" fmla="*/ 9 h 146"/>
                  <a:gd name="T68" fmla="*/ 98 w 105"/>
                  <a:gd name="T69" fmla="*/ 9 h 146"/>
                  <a:gd name="T70" fmla="*/ 105 w 105"/>
                  <a:gd name="T71" fmla="*/ 16 h 146"/>
                  <a:gd name="T72" fmla="*/ 105 w 105"/>
                  <a:gd name="T73" fmla="*/ 66 h 146"/>
                  <a:gd name="T74" fmla="*/ 98 w 105"/>
                  <a:gd name="T75" fmla="*/ 73 h 146"/>
                  <a:gd name="T76" fmla="*/ 105 w 105"/>
                  <a:gd name="T77" fmla="*/ 81 h 146"/>
                  <a:gd name="T78" fmla="*/ 105 w 105"/>
                  <a:gd name="T79" fmla="*/ 130 h 146"/>
                  <a:gd name="T80" fmla="*/ 96 w 105"/>
                  <a:gd name="T81" fmla="*/ 139 h 146"/>
                  <a:gd name="T82" fmla="*/ 95 w 105"/>
                  <a:gd name="T83" fmla="*/ 139 h 146"/>
                  <a:gd name="T84" fmla="*/ 89 w 105"/>
                  <a:gd name="T85" fmla="*/ 146 h 146"/>
                  <a:gd name="T86" fmla="*/ 60 w 105"/>
                  <a:gd name="T87" fmla="*/ 146 h 146"/>
                  <a:gd name="T88" fmla="*/ 53 w 105"/>
                  <a:gd name="T89" fmla="*/ 139 h 146"/>
                  <a:gd name="T90" fmla="*/ 53 w 105"/>
                  <a:gd name="T91" fmla="*/ 139 h 146"/>
                  <a:gd name="T92" fmla="*/ 45 w 105"/>
                  <a:gd name="T93" fmla="*/ 146 h 146"/>
                  <a:gd name="T94" fmla="*/ 16 w 105"/>
                  <a:gd name="T95" fmla="*/ 146 h 146"/>
                  <a:gd name="T96" fmla="*/ 7 w 105"/>
                  <a:gd name="T97" fmla="*/ 137 h 146"/>
                  <a:gd name="T98" fmla="*/ 7 w 105"/>
                  <a:gd name="T99" fmla="*/ 137 h 146"/>
                  <a:gd name="T100" fmla="*/ 0 w 105"/>
                  <a:gd name="T101" fmla="*/ 130 h 146"/>
                  <a:gd name="T102" fmla="*/ 0 w 105"/>
                  <a:gd name="T103" fmla="*/ 81 h 146"/>
                  <a:gd name="T104" fmla="*/ 7 w 105"/>
                  <a:gd name="T105" fmla="*/ 73 h 146"/>
                  <a:gd name="T106" fmla="*/ 0 w 105"/>
                  <a:gd name="T107" fmla="*/ 66 h 146"/>
                  <a:gd name="T108" fmla="*/ 0 w 105"/>
                  <a:gd name="T109" fmla="*/ 16 h 146"/>
                  <a:gd name="T110" fmla="*/ 9 w 105"/>
                  <a:gd name="T111" fmla="*/ 7 h 146"/>
                  <a:gd name="T112" fmla="*/ 9 w 105"/>
                  <a:gd name="T113" fmla="*/ 7 h 146"/>
                  <a:gd name="T114" fmla="*/ 16 w 105"/>
                  <a:gd name="T115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5" h="146">
                    <a:moveTo>
                      <a:pt x="53" y="11"/>
                    </a:moveTo>
                    <a:lnTo>
                      <a:pt x="45" y="17"/>
                    </a:lnTo>
                    <a:lnTo>
                      <a:pt x="17" y="17"/>
                    </a:lnTo>
                    <a:lnTo>
                      <a:pt x="17" y="66"/>
                    </a:lnTo>
                    <a:lnTo>
                      <a:pt x="11" y="73"/>
                    </a:lnTo>
                    <a:lnTo>
                      <a:pt x="17" y="81"/>
                    </a:lnTo>
                    <a:lnTo>
                      <a:pt x="17" y="107"/>
                    </a:lnTo>
                    <a:lnTo>
                      <a:pt x="38" y="78"/>
                    </a:lnTo>
                    <a:lnTo>
                      <a:pt x="47" y="78"/>
                    </a:lnTo>
                    <a:lnTo>
                      <a:pt x="47" y="94"/>
                    </a:lnTo>
                    <a:lnTo>
                      <a:pt x="24" y="129"/>
                    </a:lnTo>
                    <a:lnTo>
                      <a:pt x="45" y="129"/>
                    </a:lnTo>
                    <a:lnTo>
                      <a:pt x="53" y="135"/>
                    </a:lnTo>
                    <a:lnTo>
                      <a:pt x="53" y="135"/>
                    </a:lnTo>
                    <a:lnTo>
                      <a:pt x="60" y="129"/>
                    </a:lnTo>
                    <a:lnTo>
                      <a:pt x="87" y="129"/>
                    </a:lnTo>
                    <a:lnTo>
                      <a:pt x="87" y="81"/>
                    </a:lnTo>
                    <a:lnTo>
                      <a:pt x="93" y="73"/>
                    </a:lnTo>
                    <a:lnTo>
                      <a:pt x="87" y="66"/>
                    </a:lnTo>
                    <a:lnTo>
                      <a:pt x="87" y="39"/>
                    </a:lnTo>
                    <a:lnTo>
                      <a:pt x="68" y="68"/>
                    </a:lnTo>
                    <a:lnTo>
                      <a:pt x="58" y="68"/>
                    </a:lnTo>
                    <a:lnTo>
                      <a:pt x="58" y="52"/>
                    </a:lnTo>
                    <a:lnTo>
                      <a:pt x="80" y="17"/>
                    </a:lnTo>
                    <a:lnTo>
                      <a:pt x="60" y="17"/>
                    </a:lnTo>
                    <a:lnTo>
                      <a:pt x="53" y="11"/>
                    </a:lnTo>
                    <a:lnTo>
                      <a:pt x="53" y="11"/>
                    </a:lnTo>
                    <a:close/>
                    <a:moveTo>
                      <a:pt x="16" y="0"/>
                    </a:moveTo>
                    <a:lnTo>
                      <a:pt x="45" y="0"/>
                    </a:lnTo>
                    <a:lnTo>
                      <a:pt x="53" y="7"/>
                    </a:lnTo>
                    <a:lnTo>
                      <a:pt x="53" y="7"/>
                    </a:lnTo>
                    <a:lnTo>
                      <a:pt x="60" y="0"/>
                    </a:lnTo>
                    <a:lnTo>
                      <a:pt x="89" y="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5" y="16"/>
                    </a:lnTo>
                    <a:lnTo>
                      <a:pt x="105" y="66"/>
                    </a:lnTo>
                    <a:lnTo>
                      <a:pt x="98" y="73"/>
                    </a:lnTo>
                    <a:lnTo>
                      <a:pt x="105" y="81"/>
                    </a:lnTo>
                    <a:lnTo>
                      <a:pt x="105" y="130"/>
                    </a:lnTo>
                    <a:lnTo>
                      <a:pt x="96" y="139"/>
                    </a:lnTo>
                    <a:lnTo>
                      <a:pt x="95" y="139"/>
                    </a:lnTo>
                    <a:lnTo>
                      <a:pt x="89" y="146"/>
                    </a:lnTo>
                    <a:lnTo>
                      <a:pt x="60" y="146"/>
                    </a:lnTo>
                    <a:lnTo>
                      <a:pt x="53" y="139"/>
                    </a:lnTo>
                    <a:lnTo>
                      <a:pt x="53" y="139"/>
                    </a:lnTo>
                    <a:lnTo>
                      <a:pt x="45" y="146"/>
                    </a:lnTo>
                    <a:lnTo>
                      <a:pt x="16" y="146"/>
                    </a:lnTo>
                    <a:lnTo>
                      <a:pt x="7" y="137"/>
                    </a:lnTo>
                    <a:lnTo>
                      <a:pt x="7" y="137"/>
                    </a:lnTo>
                    <a:lnTo>
                      <a:pt x="0" y="130"/>
                    </a:lnTo>
                    <a:lnTo>
                      <a:pt x="0" y="81"/>
                    </a:lnTo>
                    <a:lnTo>
                      <a:pt x="7" y="73"/>
                    </a:lnTo>
                    <a:lnTo>
                      <a:pt x="0" y="66"/>
                    </a:lnTo>
                    <a:lnTo>
                      <a:pt x="0" y="1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Freeform 47">
                <a:extLst>
                  <a:ext uri="{FF2B5EF4-FFF2-40B4-BE49-F238E27FC236}">
                    <a16:creationId xmlns:a16="http://schemas.microsoft.com/office/drawing/2014/main" id="{A851CA9E-768F-4D3F-8292-52F4324BF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8637" y="3459163"/>
                <a:ext cx="125413" cy="174625"/>
              </a:xfrm>
              <a:custGeom>
                <a:avLst/>
                <a:gdLst>
                  <a:gd name="T0" fmla="*/ 0 w 79"/>
                  <a:gd name="T1" fmla="*/ 0 h 110"/>
                  <a:gd name="T2" fmla="*/ 79 w 79"/>
                  <a:gd name="T3" fmla="*/ 0 h 110"/>
                  <a:gd name="T4" fmla="*/ 79 w 79"/>
                  <a:gd name="T5" fmla="*/ 17 h 110"/>
                  <a:gd name="T6" fmla="*/ 64 w 79"/>
                  <a:gd name="T7" fmla="*/ 37 h 110"/>
                  <a:gd name="T8" fmla="*/ 54 w 79"/>
                  <a:gd name="T9" fmla="*/ 55 h 110"/>
                  <a:gd name="T10" fmla="*/ 49 w 79"/>
                  <a:gd name="T11" fmla="*/ 76 h 110"/>
                  <a:gd name="T12" fmla="*/ 45 w 79"/>
                  <a:gd name="T13" fmla="*/ 99 h 110"/>
                  <a:gd name="T14" fmla="*/ 44 w 79"/>
                  <a:gd name="T15" fmla="*/ 110 h 110"/>
                  <a:gd name="T16" fmla="*/ 22 w 79"/>
                  <a:gd name="T17" fmla="*/ 110 h 110"/>
                  <a:gd name="T18" fmla="*/ 23 w 79"/>
                  <a:gd name="T19" fmla="*/ 99 h 110"/>
                  <a:gd name="T20" fmla="*/ 27 w 79"/>
                  <a:gd name="T21" fmla="*/ 76 h 110"/>
                  <a:gd name="T22" fmla="*/ 34 w 79"/>
                  <a:gd name="T23" fmla="*/ 54 h 110"/>
                  <a:gd name="T24" fmla="*/ 44 w 79"/>
                  <a:gd name="T25" fmla="*/ 35 h 110"/>
                  <a:gd name="T26" fmla="*/ 57 w 79"/>
                  <a:gd name="T27" fmla="*/ 17 h 110"/>
                  <a:gd name="T28" fmla="*/ 0 w 79"/>
                  <a:gd name="T29" fmla="*/ 17 h 110"/>
                  <a:gd name="T30" fmla="*/ 0 w 79"/>
                  <a:gd name="T31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110">
                    <a:moveTo>
                      <a:pt x="0" y="0"/>
                    </a:moveTo>
                    <a:lnTo>
                      <a:pt x="79" y="0"/>
                    </a:lnTo>
                    <a:lnTo>
                      <a:pt x="79" y="17"/>
                    </a:lnTo>
                    <a:lnTo>
                      <a:pt x="64" y="37"/>
                    </a:lnTo>
                    <a:lnTo>
                      <a:pt x="54" y="55"/>
                    </a:lnTo>
                    <a:lnTo>
                      <a:pt x="49" y="76"/>
                    </a:lnTo>
                    <a:lnTo>
                      <a:pt x="45" y="99"/>
                    </a:lnTo>
                    <a:lnTo>
                      <a:pt x="44" y="110"/>
                    </a:lnTo>
                    <a:lnTo>
                      <a:pt x="22" y="110"/>
                    </a:lnTo>
                    <a:lnTo>
                      <a:pt x="23" y="99"/>
                    </a:lnTo>
                    <a:lnTo>
                      <a:pt x="27" y="76"/>
                    </a:lnTo>
                    <a:lnTo>
                      <a:pt x="34" y="54"/>
                    </a:lnTo>
                    <a:lnTo>
                      <a:pt x="44" y="35"/>
                    </a:lnTo>
                    <a:lnTo>
                      <a:pt x="57" y="17"/>
                    </a:lnTo>
                    <a:lnTo>
                      <a:pt x="0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eform 48">
                <a:extLst>
                  <a:ext uri="{FF2B5EF4-FFF2-40B4-BE49-F238E27FC236}">
                    <a16:creationId xmlns:a16="http://schemas.microsoft.com/office/drawing/2014/main" id="{645B9480-8615-40E8-B44B-C8C763917B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3937" y="3452813"/>
                <a:ext cx="117475" cy="179387"/>
              </a:xfrm>
              <a:custGeom>
                <a:avLst/>
                <a:gdLst>
                  <a:gd name="T0" fmla="*/ 33 w 74"/>
                  <a:gd name="T1" fmla="*/ 65 h 113"/>
                  <a:gd name="T2" fmla="*/ 26 w 74"/>
                  <a:gd name="T3" fmla="*/ 68 h 113"/>
                  <a:gd name="T4" fmla="*/ 22 w 74"/>
                  <a:gd name="T5" fmla="*/ 75 h 113"/>
                  <a:gd name="T6" fmla="*/ 22 w 74"/>
                  <a:gd name="T7" fmla="*/ 85 h 113"/>
                  <a:gd name="T8" fmla="*/ 26 w 74"/>
                  <a:gd name="T9" fmla="*/ 93 h 113"/>
                  <a:gd name="T10" fmla="*/ 33 w 74"/>
                  <a:gd name="T11" fmla="*/ 96 h 113"/>
                  <a:gd name="T12" fmla="*/ 37 w 74"/>
                  <a:gd name="T13" fmla="*/ 97 h 113"/>
                  <a:gd name="T14" fmla="*/ 46 w 74"/>
                  <a:gd name="T15" fmla="*/ 95 h 113"/>
                  <a:gd name="T16" fmla="*/ 51 w 74"/>
                  <a:gd name="T17" fmla="*/ 88 h 113"/>
                  <a:gd name="T18" fmla="*/ 53 w 74"/>
                  <a:gd name="T19" fmla="*/ 80 h 113"/>
                  <a:gd name="T20" fmla="*/ 51 w 74"/>
                  <a:gd name="T21" fmla="*/ 71 h 113"/>
                  <a:gd name="T22" fmla="*/ 46 w 74"/>
                  <a:gd name="T23" fmla="*/ 66 h 113"/>
                  <a:gd name="T24" fmla="*/ 37 w 74"/>
                  <a:gd name="T25" fmla="*/ 64 h 113"/>
                  <a:gd name="T26" fmla="*/ 37 w 74"/>
                  <a:gd name="T27" fmla="*/ 17 h 113"/>
                  <a:gd name="T28" fmla="*/ 31 w 74"/>
                  <a:gd name="T29" fmla="*/ 19 h 113"/>
                  <a:gd name="T30" fmla="*/ 26 w 74"/>
                  <a:gd name="T31" fmla="*/ 24 h 113"/>
                  <a:gd name="T32" fmla="*/ 24 w 74"/>
                  <a:gd name="T33" fmla="*/ 32 h 113"/>
                  <a:gd name="T34" fmla="*/ 26 w 74"/>
                  <a:gd name="T35" fmla="*/ 40 h 113"/>
                  <a:gd name="T36" fmla="*/ 31 w 74"/>
                  <a:gd name="T37" fmla="*/ 44 h 113"/>
                  <a:gd name="T38" fmla="*/ 37 w 74"/>
                  <a:gd name="T39" fmla="*/ 47 h 113"/>
                  <a:gd name="T40" fmla="*/ 41 w 74"/>
                  <a:gd name="T41" fmla="*/ 47 h 113"/>
                  <a:gd name="T42" fmla="*/ 47 w 74"/>
                  <a:gd name="T43" fmla="*/ 42 h 113"/>
                  <a:gd name="T44" fmla="*/ 50 w 74"/>
                  <a:gd name="T45" fmla="*/ 36 h 113"/>
                  <a:gd name="T46" fmla="*/ 50 w 74"/>
                  <a:gd name="T47" fmla="*/ 27 h 113"/>
                  <a:gd name="T48" fmla="*/ 47 w 74"/>
                  <a:gd name="T49" fmla="*/ 21 h 113"/>
                  <a:gd name="T50" fmla="*/ 41 w 74"/>
                  <a:gd name="T51" fmla="*/ 18 h 113"/>
                  <a:gd name="T52" fmla="*/ 37 w 74"/>
                  <a:gd name="T53" fmla="*/ 17 h 113"/>
                  <a:gd name="T54" fmla="*/ 37 w 74"/>
                  <a:gd name="T55" fmla="*/ 0 h 113"/>
                  <a:gd name="T56" fmla="*/ 63 w 74"/>
                  <a:gd name="T57" fmla="*/ 8 h 113"/>
                  <a:gd name="T58" fmla="*/ 72 w 74"/>
                  <a:gd name="T59" fmla="*/ 31 h 113"/>
                  <a:gd name="T60" fmla="*/ 70 w 74"/>
                  <a:gd name="T61" fmla="*/ 41 h 113"/>
                  <a:gd name="T62" fmla="*/ 65 w 74"/>
                  <a:gd name="T63" fmla="*/ 50 h 113"/>
                  <a:gd name="T64" fmla="*/ 56 w 74"/>
                  <a:gd name="T65" fmla="*/ 55 h 113"/>
                  <a:gd name="T66" fmla="*/ 66 w 74"/>
                  <a:gd name="T67" fmla="*/ 62 h 113"/>
                  <a:gd name="T68" fmla="*/ 72 w 74"/>
                  <a:gd name="T69" fmla="*/ 71 h 113"/>
                  <a:gd name="T70" fmla="*/ 74 w 74"/>
                  <a:gd name="T71" fmla="*/ 82 h 113"/>
                  <a:gd name="T72" fmla="*/ 70 w 74"/>
                  <a:gd name="T73" fmla="*/ 99 h 113"/>
                  <a:gd name="T74" fmla="*/ 53 w 74"/>
                  <a:gd name="T75" fmla="*/ 112 h 113"/>
                  <a:gd name="T76" fmla="*/ 37 w 74"/>
                  <a:gd name="T77" fmla="*/ 113 h 113"/>
                  <a:gd name="T78" fmla="*/ 10 w 74"/>
                  <a:gd name="T79" fmla="*/ 105 h 113"/>
                  <a:gd name="T80" fmla="*/ 1 w 74"/>
                  <a:gd name="T81" fmla="*/ 91 h 113"/>
                  <a:gd name="T82" fmla="*/ 1 w 74"/>
                  <a:gd name="T83" fmla="*/ 75 h 113"/>
                  <a:gd name="T84" fmla="*/ 5 w 74"/>
                  <a:gd name="T85" fmla="*/ 66 h 113"/>
                  <a:gd name="T86" fmla="*/ 13 w 74"/>
                  <a:gd name="T87" fmla="*/ 58 h 113"/>
                  <a:gd name="T88" fmla="*/ 13 w 74"/>
                  <a:gd name="T89" fmla="*/ 53 h 113"/>
                  <a:gd name="T90" fmla="*/ 7 w 74"/>
                  <a:gd name="T91" fmla="*/ 46 h 113"/>
                  <a:gd name="T92" fmla="*/ 3 w 74"/>
                  <a:gd name="T93" fmla="*/ 36 h 113"/>
                  <a:gd name="T94" fmla="*/ 5 w 74"/>
                  <a:gd name="T95" fmla="*/ 18 h 113"/>
                  <a:gd name="T96" fmla="*/ 23 w 74"/>
                  <a:gd name="T97" fmla="*/ 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" h="113">
                    <a:moveTo>
                      <a:pt x="37" y="64"/>
                    </a:moveTo>
                    <a:lnTo>
                      <a:pt x="33" y="65"/>
                    </a:lnTo>
                    <a:lnTo>
                      <a:pt x="30" y="66"/>
                    </a:lnTo>
                    <a:lnTo>
                      <a:pt x="26" y="68"/>
                    </a:lnTo>
                    <a:lnTo>
                      <a:pt x="24" y="71"/>
                    </a:lnTo>
                    <a:lnTo>
                      <a:pt x="22" y="75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4" y="89"/>
                    </a:lnTo>
                    <a:lnTo>
                      <a:pt x="26" y="93"/>
                    </a:lnTo>
                    <a:lnTo>
                      <a:pt x="30" y="95"/>
                    </a:lnTo>
                    <a:lnTo>
                      <a:pt x="33" y="96"/>
                    </a:lnTo>
                    <a:lnTo>
                      <a:pt x="37" y="97"/>
                    </a:lnTo>
                    <a:lnTo>
                      <a:pt x="37" y="97"/>
                    </a:lnTo>
                    <a:lnTo>
                      <a:pt x="41" y="96"/>
                    </a:lnTo>
                    <a:lnTo>
                      <a:pt x="46" y="95"/>
                    </a:lnTo>
                    <a:lnTo>
                      <a:pt x="49" y="93"/>
                    </a:lnTo>
                    <a:lnTo>
                      <a:pt x="51" y="88"/>
                    </a:lnTo>
                    <a:lnTo>
                      <a:pt x="52" y="85"/>
                    </a:lnTo>
                    <a:lnTo>
                      <a:pt x="53" y="80"/>
                    </a:lnTo>
                    <a:lnTo>
                      <a:pt x="52" y="75"/>
                    </a:lnTo>
                    <a:lnTo>
                      <a:pt x="51" y="71"/>
                    </a:lnTo>
                    <a:lnTo>
                      <a:pt x="49" y="68"/>
                    </a:lnTo>
                    <a:lnTo>
                      <a:pt x="46" y="66"/>
                    </a:lnTo>
                    <a:lnTo>
                      <a:pt x="41" y="65"/>
                    </a:lnTo>
                    <a:lnTo>
                      <a:pt x="37" y="64"/>
                    </a:lnTo>
                    <a:lnTo>
                      <a:pt x="37" y="64"/>
                    </a:lnTo>
                    <a:close/>
                    <a:moveTo>
                      <a:pt x="37" y="17"/>
                    </a:moveTo>
                    <a:lnTo>
                      <a:pt x="34" y="18"/>
                    </a:lnTo>
                    <a:lnTo>
                      <a:pt x="31" y="19"/>
                    </a:lnTo>
                    <a:lnTo>
                      <a:pt x="27" y="21"/>
                    </a:lnTo>
                    <a:lnTo>
                      <a:pt x="26" y="24"/>
                    </a:lnTo>
                    <a:lnTo>
                      <a:pt x="25" y="27"/>
                    </a:lnTo>
                    <a:lnTo>
                      <a:pt x="24" y="32"/>
                    </a:lnTo>
                    <a:lnTo>
                      <a:pt x="25" y="36"/>
                    </a:lnTo>
                    <a:lnTo>
                      <a:pt x="26" y="40"/>
                    </a:lnTo>
                    <a:lnTo>
                      <a:pt x="27" y="42"/>
                    </a:lnTo>
                    <a:lnTo>
                      <a:pt x="31" y="44"/>
                    </a:lnTo>
                    <a:lnTo>
                      <a:pt x="34" y="47"/>
                    </a:lnTo>
                    <a:lnTo>
                      <a:pt x="37" y="47"/>
                    </a:lnTo>
                    <a:lnTo>
                      <a:pt x="37" y="47"/>
                    </a:lnTo>
                    <a:lnTo>
                      <a:pt x="41" y="47"/>
                    </a:lnTo>
                    <a:lnTo>
                      <a:pt x="44" y="44"/>
                    </a:lnTo>
                    <a:lnTo>
                      <a:pt x="47" y="42"/>
                    </a:lnTo>
                    <a:lnTo>
                      <a:pt x="49" y="40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0" y="27"/>
                    </a:lnTo>
                    <a:lnTo>
                      <a:pt x="49" y="24"/>
                    </a:lnTo>
                    <a:lnTo>
                      <a:pt x="47" y="21"/>
                    </a:lnTo>
                    <a:lnTo>
                      <a:pt x="44" y="19"/>
                    </a:lnTo>
                    <a:lnTo>
                      <a:pt x="41" y="18"/>
                    </a:lnTo>
                    <a:lnTo>
                      <a:pt x="37" y="17"/>
                    </a:lnTo>
                    <a:lnTo>
                      <a:pt x="37" y="17"/>
                    </a:lnTo>
                    <a:close/>
                    <a:moveTo>
                      <a:pt x="37" y="0"/>
                    </a:moveTo>
                    <a:lnTo>
                      <a:pt x="37" y="0"/>
                    </a:lnTo>
                    <a:lnTo>
                      <a:pt x="52" y="2"/>
                    </a:lnTo>
                    <a:lnTo>
                      <a:pt x="63" y="8"/>
                    </a:lnTo>
                    <a:lnTo>
                      <a:pt x="70" y="18"/>
                    </a:lnTo>
                    <a:lnTo>
                      <a:pt x="72" y="31"/>
                    </a:lnTo>
                    <a:lnTo>
                      <a:pt x="72" y="36"/>
                    </a:lnTo>
                    <a:lnTo>
                      <a:pt x="70" y="41"/>
                    </a:lnTo>
                    <a:lnTo>
                      <a:pt x="68" y="46"/>
                    </a:lnTo>
                    <a:lnTo>
                      <a:pt x="65" y="50"/>
                    </a:lnTo>
                    <a:lnTo>
                      <a:pt x="61" y="53"/>
                    </a:lnTo>
                    <a:lnTo>
                      <a:pt x="56" y="55"/>
                    </a:lnTo>
                    <a:lnTo>
                      <a:pt x="62" y="58"/>
                    </a:lnTo>
                    <a:lnTo>
                      <a:pt x="66" y="62"/>
                    </a:lnTo>
                    <a:lnTo>
                      <a:pt x="70" y="66"/>
                    </a:lnTo>
                    <a:lnTo>
                      <a:pt x="72" y="71"/>
                    </a:lnTo>
                    <a:lnTo>
                      <a:pt x="74" y="75"/>
                    </a:lnTo>
                    <a:lnTo>
                      <a:pt x="74" y="82"/>
                    </a:lnTo>
                    <a:lnTo>
                      <a:pt x="73" y="91"/>
                    </a:lnTo>
                    <a:lnTo>
                      <a:pt x="70" y="99"/>
                    </a:lnTo>
                    <a:lnTo>
                      <a:pt x="65" y="105"/>
                    </a:lnTo>
                    <a:lnTo>
                      <a:pt x="53" y="112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22" y="112"/>
                    </a:lnTo>
                    <a:lnTo>
                      <a:pt x="10" y="105"/>
                    </a:lnTo>
                    <a:lnTo>
                      <a:pt x="4" y="99"/>
                    </a:lnTo>
                    <a:lnTo>
                      <a:pt x="1" y="91"/>
                    </a:lnTo>
                    <a:lnTo>
                      <a:pt x="0" y="82"/>
                    </a:lnTo>
                    <a:lnTo>
                      <a:pt x="1" y="75"/>
                    </a:lnTo>
                    <a:lnTo>
                      <a:pt x="2" y="71"/>
                    </a:lnTo>
                    <a:lnTo>
                      <a:pt x="5" y="66"/>
                    </a:lnTo>
                    <a:lnTo>
                      <a:pt x="8" y="62"/>
                    </a:lnTo>
                    <a:lnTo>
                      <a:pt x="13" y="58"/>
                    </a:lnTo>
                    <a:lnTo>
                      <a:pt x="19" y="55"/>
                    </a:lnTo>
                    <a:lnTo>
                      <a:pt x="13" y="53"/>
                    </a:lnTo>
                    <a:lnTo>
                      <a:pt x="10" y="50"/>
                    </a:lnTo>
                    <a:lnTo>
                      <a:pt x="7" y="46"/>
                    </a:lnTo>
                    <a:lnTo>
                      <a:pt x="4" y="41"/>
                    </a:lnTo>
                    <a:lnTo>
                      <a:pt x="3" y="36"/>
                    </a:lnTo>
                    <a:lnTo>
                      <a:pt x="3" y="31"/>
                    </a:lnTo>
                    <a:lnTo>
                      <a:pt x="5" y="18"/>
                    </a:lnTo>
                    <a:lnTo>
                      <a:pt x="12" y="8"/>
                    </a:lnTo>
                    <a:lnTo>
                      <a:pt x="23" y="2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Freeform 49">
                <a:extLst>
                  <a:ext uri="{FF2B5EF4-FFF2-40B4-BE49-F238E27FC236}">
                    <a16:creationId xmlns:a16="http://schemas.microsoft.com/office/drawing/2014/main" id="{972027FF-741A-44F2-A644-18FE2F04E8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58125" y="3452813"/>
                <a:ext cx="119063" cy="179387"/>
              </a:xfrm>
              <a:custGeom>
                <a:avLst/>
                <a:gdLst>
                  <a:gd name="T0" fmla="*/ 33 w 75"/>
                  <a:gd name="T1" fmla="*/ 18 h 113"/>
                  <a:gd name="T2" fmla="*/ 27 w 75"/>
                  <a:gd name="T3" fmla="*/ 23 h 113"/>
                  <a:gd name="T4" fmla="*/ 23 w 75"/>
                  <a:gd name="T5" fmla="*/ 33 h 113"/>
                  <a:gd name="T6" fmla="*/ 23 w 75"/>
                  <a:gd name="T7" fmla="*/ 44 h 113"/>
                  <a:gd name="T8" fmla="*/ 26 w 75"/>
                  <a:gd name="T9" fmla="*/ 54 h 113"/>
                  <a:gd name="T10" fmla="*/ 33 w 75"/>
                  <a:gd name="T11" fmla="*/ 58 h 113"/>
                  <a:gd name="T12" fmla="*/ 38 w 75"/>
                  <a:gd name="T13" fmla="*/ 59 h 113"/>
                  <a:gd name="T14" fmla="*/ 46 w 75"/>
                  <a:gd name="T15" fmla="*/ 57 h 113"/>
                  <a:gd name="T16" fmla="*/ 54 w 75"/>
                  <a:gd name="T17" fmla="*/ 52 h 113"/>
                  <a:gd name="T18" fmla="*/ 53 w 75"/>
                  <a:gd name="T19" fmla="*/ 31 h 113"/>
                  <a:gd name="T20" fmla="*/ 46 w 75"/>
                  <a:gd name="T21" fmla="*/ 20 h 113"/>
                  <a:gd name="T22" fmla="*/ 38 w 75"/>
                  <a:gd name="T23" fmla="*/ 17 h 113"/>
                  <a:gd name="T24" fmla="*/ 38 w 75"/>
                  <a:gd name="T25" fmla="*/ 0 h 113"/>
                  <a:gd name="T26" fmla="*/ 48 w 75"/>
                  <a:gd name="T27" fmla="*/ 2 h 113"/>
                  <a:gd name="T28" fmla="*/ 64 w 75"/>
                  <a:gd name="T29" fmla="*/ 11 h 113"/>
                  <a:gd name="T30" fmla="*/ 74 w 75"/>
                  <a:gd name="T31" fmla="*/ 32 h 113"/>
                  <a:gd name="T32" fmla="*/ 75 w 75"/>
                  <a:gd name="T33" fmla="*/ 70 h 113"/>
                  <a:gd name="T34" fmla="*/ 70 w 75"/>
                  <a:gd name="T35" fmla="*/ 94 h 113"/>
                  <a:gd name="T36" fmla="*/ 52 w 75"/>
                  <a:gd name="T37" fmla="*/ 110 h 113"/>
                  <a:gd name="T38" fmla="*/ 33 w 75"/>
                  <a:gd name="T39" fmla="*/ 113 h 113"/>
                  <a:gd name="T40" fmla="*/ 22 w 75"/>
                  <a:gd name="T41" fmla="*/ 112 h 113"/>
                  <a:gd name="T42" fmla="*/ 11 w 75"/>
                  <a:gd name="T43" fmla="*/ 109 h 113"/>
                  <a:gd name="T44" fmla="*/ 19 w 75"/>
                  <a:gd name="T45" fmla="*/ 95 h 113"/>
                  <a:gd name="T46" fmla="*/ 28 w 75"/>
                  <a:gd name="T47" fmla="*/ 96 h 113"/>
                  <a:gd name="T48" fmla="*/ 38 w 75"/>
                  <a:gd name="T49" fmla="*/ 96 h 113"/>
                  <a:gd name="T50" fmla="*/ 45 w 75"/>
                  <a:gd name="T51" fmla="*/ 93 h 113"/>
                  <a:gd name="T52" fmla="*/ 52 w 75"/>
                  <a:gd name="T53" fmla="*/ 82 h 113"/>
                  <a:gd name="T54" fmla="*/ 54 w 75"/>
                  <a:gd name="T55" fmla="*/ 66 h 113"/>
                  <a:gd name="T56" fmla="*/ 44 w 75"/>
                  <a:gd name="T57" fmla="*/ 73 h 113"/>
                  <a:gd name="T58" fmla="*/ 38 w 75"/>
                  <a:gd name="T59" fmla="*/ 75 h 113"/>
                  <a:gd name="T60" fmla="*/ 20 w 75"/>
                  <a:gd name="T61" fmla="*/ 73 h 113"/>
                  <a:gd name="T62" fmla="*/ 2 w 75"/>
                  <a:gd name="T63" fmla="*/ 54 h 113"/>
                  <a:gd name="T64" fmla="*/ 4 w 75"/>
                  <a:gd name="T65" fmla="*/ 23 h 113"/>
                  <a:gd name="T66" fmla="*/ 23 w 75"/>
                  <a:gd name="T67" fmla="*/ 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13">
                    <a:moveTo>
                      <a:pt x="38" y="17"/>
                    </a:moveTo>
                    <a:lnTo>
                      <a:pt x="33" y="18"/>
                    </a:lnTo>
                    <a:lnTo>
                      <a:pt x="30" y="20"/>
                    </a:lnTo>
                    <a:lnTo>
                      <a:pt x="27" y="23"/>
                    </a:lnTo>
                    <a:lnTo>
                      <a:pt x="25" y="27"/>
                    </a:lnTo>
                    <a:lnTo>
                      <a:pt x="23" y="33"/>
                    </a:lnTo>
                    <a:lnTo>
                      <a:pt x="23" y="38"/>
                    </a:lnTo>
                    <a:lnTo>
                      <a:pt x="23" y="44"/>
                    </a:lnTo>
                    <a:lnTo>
                      <a:pt x="24" y="50"/>
                    </a:lnTo>
                    <a:lnTo>
                      <a:pt x="26" y="54"/>
                    </a:lnTo>
                    <a:lnTo>
                      <a:pt x="29" y="57"/>
                    </a:lnTo>
                    <a:lnTo>
                      <a:pt x="33" y="58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43" y="58"/>
                    </a:lnTo>
                    <a:lnTo>
                      <a:pt x="46" y="57"/>
                    </a:lnTo>
                    <a:lnTo>
                      <a:pt x="51" y="55"/>
                    </a:lnTo>
                    <a:lnTo>
                      <a:pt x="54" y="52"/>
                    </a:lnTo>
                    <a:lnTo>
                      <a:pt x="54" y="41"/>
                    </a:lnTo>
                    <a:lnTo>
                      <a:pt x="53" y="31"/>
                    </a:lnTo>
                    <a:lnTo>
                      <a:pt x="50" y="23"/>
                    </a:lnTo>
                    <a:lnTo>
                      <a:pt x="46" y="20"/>
                    </a:lnTo>
                    <a:lnTo>
                      <a:pt x="42" y="18"/>
                    </a:lnTo>
                    <a:lnTo>
                      <a:pt x="38" y="17"/>
                    </a:lnTo>
                    <a:lnTo>
                      <a:pt x="38" y="17"/>
                    </a:lnTo>
                    <a:close/>
                    <a:moveTo>
                      <a:pt x="38" y="0"/>
                    </a:moveTo>
                    <a:lnTo>
                      <a:pt x="38" y="0"/>
                    </a:lnTo>
                    <a:lnTo>
                      <a:pt x="48" y="2"/>
                    </a:lnTo>
                    <a:lnTo>
                      <a:pt x="57" y="5"/>
                    </a:lnTo>
                    <a:lnTo>
                      <a:pt x="64" y="11"/>
                    </a:lnTo>
                    <a:lnTo>
                      <a:pt x="71" y="21"/>
                    </a:lnTo>
                    <a:lnTo>
                      <a:pt x="74" y="32"/>
                    </a:lnTo>
                    <a:lnTo>
                      <a:pt x="75" y="44"/>
                    </a:lnTo>
                    <a:lnTo>
                      <a:pt x="75" y="70"/>
                    </a:lnTo>
                    <a:lnTo>
                      <a:pt x="74" y="83"/>
                    </a:lnTo>
                    <a:lnTo>
                      <a:pt x="70" y="94"/>
                    </a:lnTo>
                    <a:lnTo>
                      <a:pt x="63" y="102"/>
                    </a:lnTo>
                    <a:lnTo>
                      <a:pt x="52" y="110"/>
                    </a:lnTo>
                    <a:lnTo>
                      <a:pt x="38" y="113"/>
                    </a:lnTo>
                    <a:lnTo>
                      <a:pt x="33" y="113"/>
                    </a:lnTo>
                    <a:lnTo>
                      <a:pt x="28" y="113"/>
                    </a:lnTo>
                    <a:lnTo>
                      <a:pt x="22" y="112"/>
                    </a:lnTo>
                    <a:lnTo>
                      <a:pt x="16" y="111"/>
                    </a:lnTo>
                    <a:lnTo>
                      <a:pt x="11" y="109"/>
                    </a:lnTo>
                    <a:lnTo>
                      <a:pt x="13" y="93"/>
                    </a:lnTo>
                    <a:lnTo>
                      <a:pt x="19" y="95"/>
                    </a:lnTo>
                    <a:lnTo>
                      <a:pt x="23" y="96"/>
                    </a:lnTo>
                    <a:lnTo>
                      <a:pt x="28" y="96"/>
                    </a:lnTo>
                    <a:lnTo>
                      <a:pt x="33" y="97"/>
                    </a:lnTo>
                    <a:lnTo>
                      <a:pt x="38" y="96"/>
                    </a:lnTo>
                    <a:lnTo>
                      <a:pt x="42" y="95"/>
                    </a:lnTo>
                    <a:lnTo>
                      <a:pt x="45" y="93"/>
                    </a:lnTo>
                    <a:lnTo>
                      <a:pt x="48" y="90"/>
                    </a:lnTo>
                    <a:lnTo>
                      <a:pt x="52" y="82"/>
                    </a:lnTo>
                    <a:lnTo>
                      <a:pt x="54" y="71"/>
                    </a:lnTo>
                    <a:lnTo>
                      <a:pt x="54" y="66"/>
                    </a:lnTo>
                    <a:lnTo>
                      <a:pt x="50" y="70"/>
                    </a:lnTo>
                    <a:lnTo>
                      <a:pt x="44" y="73"/>
                    </a:lnTo>
                    <a:lnTo>
                      <a:pt x="41" y="74"/>
                    </a:lnTo>
                    <a:lnTo>
                      <a:pt x="38" y="75"/>
                    </a:lnTo>
                    <a:lnTo>
                      <a:pt x="33" y="75"/>
                    </a:lnTo>
                    <a:lnTo>
                      <a:pt x="20" y="73"/>
                    </a:lnTo>
                    <a:lnTo>
                      <a:pt x="9" y="66"/>
                    </a:lnTo>
                    <a:lnTo>
                      <a:pt x="2" y="54"/>
                    </a:lnTo>
                    <a:lnTo>
                      <a:pt x="0" y="38"/>
                    </a:lnTo>
                    <a:lnTo>
                      <a:pt x="4" y="23"/>
                    </a:lnTo>
                    <a:lnTo>
                      <a:pt x="11" y="11"/>
                    </a:lnTo>
                    <a:lnTo>
                      <a:pt x="23" y="3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Freeform 50">
                <a:extLst>
                  <a:ext uri="{FF2B5EF4-FFF2-40B4-BE49-F238E27FC236}">
                    <a16:creationId xmlns:a16="http://schemas.microsoft.com/office/drawing/2014/main" id="{7C50E11D-0DE2-4276-AF1F-06C8124E8F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28025" y="3452813"/>
                <a:ext cx="160338" cy="179387"/>
              </a:xfrm>
              <a:custGeom>
                <a:avLst/>
                <a:gdLst>
                  <a:gd name="T0" fmla="*/ 74 w 101"/>
                  <a:gd name="T1" fmla="*/ 74 h 113"/>
                  <a:gd name="T2" fmla="*/ 70 w 101"/>
                  <a:gd name="T3" fmla="*/ 78 h 113"/>
                  <a:gd name="T4" fmla="*/ 68 w 101"/>
                  <a:gd name="T5" fmla="*/ 85 h 113"/>
                  <a:gd name="T6" fmla="*/ 68 w 101"/>
                  <a:gd name="T7" fmla="*/ 95 h 113"/>
                  <a:gd name="T8" fmla="*/ 72 w 101"/>
                  <a:gd name="T9" fmla="*/ 100 h 113"/>
                  <a:gd name="T10" fmla="*/ 76 w 101"/>
                  <a:gd name="T11" fmla="*/ 101 h 113"/>
                  <a:gd name="T12" fmla="*/ 80 w 101"/>
                  <a:gd name="T13" fmla="*/ 101 h 113"/>
                  <a:gd name="T14" fmla="*/ 84 w 101"/>
                  <a:gd name="T15" fmla="*/ 98 h 113"/>
                  <a:gd name="T16" fmla="*/ 86 w 101"/>
                  <a:gd name="T17" fmla="*/ 90 h 113"/>
                  <a:gd name="T18" fmla="*/ 85 w 101"/>
                  <a:gd name="T19" fmla="*/ 81 h 113"/>
                  <a:gd name="T20" fmla="*/ 82 w 101"/>
                  <a:gd name="T21" fmla="*/ 75 h 113"/>
                  <a:gd name="T22" fmla="*/ 76 w 101"/>
                  <a:gd name="T23" fmla="*/ 74 h 113"/>
                  <a:gd name="T24" fmla="*/ 87 w 101"/>
                  <a:gd name="T25" fmla="*/ 64 h 113"/>
                  <a:gd name="T26" fmla="*/ 97 w 101"/>
                  <a:gd name="T27" fmla="*/ 72 h 113"/>
                  <a:gd name="T28" fmla="*/ 100 w 101"/>
                  <a:gd name="T29" fmla="*/ 80 h 113"/>
                  <a:gd name="T30" fmla="*/ 101 w 101"/>
                  <a:gd name="T31" fmla="*/ 90 h 113"/>
                  <a:gd name="T32" fmla="*/ 99 w 101"/>
                  <a:gd name="T33" fmla="*/ 100 h 113"/>
                  <a:gd name="T34" fmla="*/ 95 w 101"/>
                  <a:gd name="T35" fmla="*/ 106 h 113"/>
                  <a:gd name="T36" fmla="*/ 76 w 101"/>
                  <a:gd name="T37" fmla="*/ 113 h 113"/>
                  <a:gd name="T38" fmla="*/ 67 w 101"/>
                  <a:gd name="T39" fmla="*/ 112 h 113"/>
                  <a:gd name="T40" fmla="*/ 56 w 101"/>
                  <a:gd name="T41" fmla="*/ 103 h 113"/>
                  <a:gd name="T42" fmla="*/ 53 w 101"/>
                  <a:gd name="T43" fmla="*/ 96 h 113"/>
                  <a:gd name="T44" fmla="*/ 53 w 101"/>
                  <a:gd name="T45" fmla="*/ 85 h 113"/>
                  <a:gd name="T46" fmla="*/ 55 w 101"/>
                  <a:gd name="T47" fmla="*/ 73 h 113"/>
                  <a:gd name="T48" fmla="*/ 67 w 101"/>
                  <a:gd name="T49" fmla="*/ 64 h 113"/>
                  <a:gd name="T50" fmla="*/ 24 w 101"/>
                  <a:gd name="T51" fmla="*/ 12 h 113"/>
                  <a:gd name="T52" fmla="*/ 19 w 101"/>
                  <a:gd name="T53" fmla="*/ 13 h 113"/>
                  <a:gd name="T54" fmla="*/ 15 w 101"/>
                  <a:gd name="T55" fmla="*/ 19 h 113"/>
                  <a:gd name="T56" fmla="*/ 14 w 101"/>
                  <a:gd name="T57" fmla="*/ 28 h 113"/>
                  <a:gd name="T58" fmla="*/ 17 w 101"/>
                  <a:gd name="T59" fmla="*/ 36 h 113"/>
                  <a:gd name="T60" fmla="*/ 21 w 101"/>
                  <a:gd name="T61" fmla="*/ 39 h 113"/>
                  <a:gd name="T62" fmla="*/ 24 w 101"/>
                  <a:gd name="T63" fmla="*/ 39 h 113"/>
                  <a:gd name="T64" fmla="*/ 29 w 101"/>
                  <a:gd name="T65" fmla="*/ 38 h 113"/>
                  <a:gd name="T66" fmla="*/ 33 w 101"/>
                  <a:gd name="T67" fmla="*/ 33 h 113"/>
                  <a:gd name="T68" fmla="*/ 34 w 101"/>
                  <a:gd name="T69" fmla="*/ 23 h 113"/>
                  <a:gd name="T70" fmla="*/ 30 w 101"/>
                  <a:gd name="T71" fmla="*/ 16 h 113"/>
                  <a:gd name="T72" fmla="*/ 26 w 101"/>
                  <a:gd name="T73" fmla="*/ 12 h 113"/>
                  <a:gd name="T74" fmla="*/ 24 w 101"/>
                  <a:gd name="T75" fmla="*/ 12 h 113"/>
                  <a:gd name="T76" fmla="*/ 76 w 101"/>
                  <a:gd name="T77" fmla="*/ 14 h 113"/>
                  <a:gd name="T78" fmla="*/ 76 w 101"/>
                  <a:gd name="T79" fmla="*/ 25 h 113"/>
                  <a:gd name="T80" fmla="*/ 24 w 101"/>
                  <a:gd name="T81" fmla="*/ 101 h 113"/>
                  <a:gd name="T82" fmla="*/ 24 w 101"/>
                  <a:gd name="T83" fmla="*/ 87 h 113"/>
                  <a:gd name="T84" fmla="*/ 24 w 101"/>
                  <a:gd name="T85" fmla="*/ 0 h 113"/>
                  <a:gd name="T86" fmla="*/ 34 w 101"/>
                  <a:gd name="T87" fmla="*/ 2 h 113"/>
                  <a:gd name="T88" fmla="*/ 44 w 101"/>
                  <a:gd name="T89" fmla="*/ 10 h 113"/>
                  <a:gd name="T90" fmla="*/ 48 w 101"/>
                  <a:gd name="T91" fmla="*/ 18 h 113"/>
                  <a:gd name="T92" fmla="*/ 48 w 101"/>
                  <a:gd name="T93" fmla="*/ 28 h 113"/>
                  <a:gd name="T94" fmla="*/ 46 w 101"/>
                  <a:gd name="T95" fmla="*/ 38 h 113"/>
                  <a:gd name="T96" fmla="*/ 41 w 101"/>
                  <a:gd name="T97" fmla="*/ 44 h 113"/>
                  <a:gd name="T98" fmla="*/ 24 w 101"/>
                  <a:gd name="T99" fmla="*/ 51 h 113"/>
                  <a:gd name="T100" fmla="*/ 14 w 101"/>
                  <a:gd name="T101" fmla="*/ 50 h 113"/>
                  <a:gd name="T102" fmla="*/ 4 w 101"/>
                  <a:gd name="T103" fmla="*/ 41 h 113"/>
                  <a:gd name="T104" fmla="*/ 0 w 101"/>
                  <a:gd name="T105" fmla="*/ 34 h 113"/>
                  <a:gd name="T106" fmla="*/ 0 w 101"/>
                  <a:gd name="T107" fmla="*/ 23 h 113"/>
                  <a:gd name="T108" fmla="*/ 2 w 101"/>
                  <a:gd name="T109" fmla="*/ 13 h 113"/>
                  <a:gd name="T110" fmla="*/ 6 w 101"/>
                  <a:gd name="T111" fmla="*/ 7 h 113"/>
                  <a:gd name="T112" fmla="*/ 24 w 101"/>
                  <a:gd name="T11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1" h="113">
                    <a:moveTo>
                      <a:pt x="76" y="74"/>
                    </a:moveTo>
                    <a:lnTo>
                      <a:pt x="74" y="74"/>
                    </a:lnTo>
                    <a:lnTo>
                      <a:pt x="71" y="75"/>
                    </a:lnTo>
                    <a:lnTo>
                      <a:pt x="70" y="78"/>
                    </a:lnTo>
                    <a:lnTo>
                      <a:pt x="68" y="81"/>
                    </a:lnTo>
                    <a:lnTo>
                      <a:pt x="68" y="85"/>
                    </a:lnTo>
                    <a:lnTo>
                      <a:pt x="68" y="90"/>
                    </a:lnTo>
                    <a:lnTo>
                      <a:pt x="68" y="95"/>
                    </a:lnTo>
                    <a:lnTo>
                      <a:pt x="70" y="98"/>
                    </a:lnTo>
                    <a:lnTo>
                      <a:pt x="72" y="100"/>
                    </a:lnTo>
                    <a:lnTo>
                      <a:pt x="74" y="101"/>
                    </a:lnTo>
                    <a:lnTo>
                      <a:pt x="76" y="101"/>
                    </a:lnTo>
                    <a:lnTo>
                      <a:pt x="76" y="101"/>
                    </a:lnTo>
                    <a:lnTo>
                      <a:pt x="80" y="101"/>
                    </a:lnTo>
                    <a:lnTo>
                      <a:pt x="82" y="100"/>
                    </a:lnTo>
                    <a:lnTo>
                      <a:pt x="84" y="98"/>
                    </a:lnTo>
                    <a:lnTo>
                      <a:pt x="85" y="95"/>
                    </a:lnTo>
                    <a:lnTo>
                      <a:pt x="86" y="90"/>
                    </a:lnTo>
                    <a:lnTo>
                      <a:pt x="86" y="85"/>
                    </a:lnTo>
                    <a:lnTo>
                      <a:pt x="85" y="81"/>
                    </a:lnTo>
                    <a:lnTo>
                      <a:pt x="84" y="78"/>
                    </a:lnTo>
                    <a:lnTo>
                      <a:pt x="82" y="75"/>
                    </a:lnTo>
                    <a:lnTo>
                      <a:pt x="80" y="74"/>
                    </a:lnTo>
                    <a:lnTo>
                      <a:pt x="76" y="74"/>
                    </a:lnTo>
                    <a:close/>
                    <a:moveTo>
                      <a:pt x="76" y="62"/>
                    </a:moveTo>
                    <a:lnTo>
                      <a:pt x="87" y="64"/>
                    </a:lnTo>
                    <a:lnTo>
                      <a:pt x="95" y="69"/>
                    </a:lnTo>
                    <a:lnTo>
                      <a:pt x="97" y="72"/>
                    </a:lnTo>
                    <a:lnTo>
                      <a:pt x="99" y="75"/>
                    </a:lnTo>
                    <a:lnTo>
                      <a:pt x="100" y="80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100" y="96"/>
                    </a:lnTo>
                    <a:lnTo>
                      <a:pt x="99" y="100"/>
                    </a:lnTo>
                    <a:lnTo>
                      <a:pt x="97" y="103"/>
                    </a:lnTo>
                    <a:lnTo>
                      <a:pt x="95" y="106"/>
                    </a:lnTo>
                    <a:lnTo>
                      <a:pt x="87" y="112"/>
                    </a:lnTo>
                    <a:lnTo>
                      <a:pt x="76" y="113"/>
                    </a:lnTo>
                    <a:lnTo>
                      <a:pt x="76" y="113"/>
                    </a:lnTo>
                    <a:lnTo>
                      <a:pt x="67" y="112"/>
                    </a:lnTo>
                    <a:lnTo>
                      <a:pt x="59" y="106"/>
                    </a:lnTo>
                    <a:lnTo>
                      <a:pt x="56" y="103"/>
                    </a:lnTo>
                    <a:lnTo>
                      <a:pt x="54" y="100"/>
                    </a:lnTo>
                    <a:lnTo>
                      <a:pt x="53" y="96"/>
                    </a:lnTo>
                    <a:lnTo>
                      <a:pt x="53" y="90"/>
                    </a:lnTo>
                    <a:lnTo>
                      <a:pt x="53" y="85"/>
                    </a:lnTo>
                    <a:lnTo>
                      <a:pt x="53" y="79"/>
                    </a:lnTo>
                    <a:lnTo>
                      <a:pt x="55" y="73"/>
                    </a:lnTo>
                    <a:lnTo>
                      <a:pt x="59" y="69"/>
                    </a:lnTo>
                    <a:lnTo>
                      <a:pt x="67" y="64"/>
                    </a:lnTo>
                    <a:lnTo>
                      <a:pt x="76" y="62"/>
                    </a:lnTo>
                    <a:close/>
                    <a:moveTo>
                      <a:pt x="24" y="12"/>
                    </a:moveTo>
                    <a:lnTo>
                      <a:pt x="21" y="12"/>
                    </a:lnTo>
                    <a:lnTo>
                      <a:pt x="19" y="13"/>
                    </a:lnTo>
                    <a:lnTo>
                      <a:pt x="17" y="16"/>
                    </a:lnTo>
                    <a:lnTo>
                      <a:pt x="15" y="19"/>
                    </a:lnTo>
                    <a:lnTo>
                      <a:pt x="14" y="23"/>
                    </a:lnTo>
                    <a:lnTo>
                      <a:pt x="14" y="28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9" y="38"/>
                    </a:lnTo>
                    <a:lnTo>
                      <a:pt x="21" y="39"/>
                    </a:lnTo>
                    <a:lnTo>
                      <a:pt x="24" y="39"/>
                    </a:lnTo>
                    <a:lnTo>
                      <a:pt x="24" y="39"/>
                    </a:lnTo>
                    <a:lnTo>
                      <a:pt x="27" y="39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3" y="33"/>
                    </a:lnTo>
                    <a:lnTo>
                      <a:pt x="34" y="28"/>
                    </a:lnTo>
                    <a:lnTo>
                      <a:pt x="34" y="23"/>
                    </a:lnTo>
                    <a:lnTo>
                      <a:pt x="33" y="19"/>
                    </a:lnTo>
                    <a:lnTo>
                      <a:pt x="30" y="16"/>
                    </a:lnTo>
                    <a:lnTo>
                      <a:pt x="29" y="13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close/>
                    <a:moveTo>
                      <a:pt x="71" y="11"/>
                    </a:moveTo>
                    <a:lnTo>
                      <a:pt x="76" y="14"/>
                    </a:lnTo>
                    <a:lnTo>
                      <a:pt x="82" y="18"/>
                    </a:lnTo>
                    <a:lnTo>
                      <a:pt x="76" y="25"/>
                    </a:lnTo>
                    <a:lnTo>
                      <a:pt x="27" y="103"/>
                    </a:lnTo>
                    <a:lnTo>
                      <a:pt x="24" y="101"/>
                    </a:lnTo>
                    <a:lnTo>
                      <a:pt x="17" y="98"/>
                    </a:lnTo>
                    <a:lnTo>
                      <a:pt x="24" y="87"/>
                    </a:lnTo>
                    <a:lnTo>
                      <a:pt x="71" y="11"/>
                    </a:lnTo>
                    <a:close/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1" y="6"/>
                    </a:lnTo>
                    <a:lnTo>
                      <a:pt x="44" y="10"/>
                    </a:lnTo>
                    <a:lnTo>
                      <a:pt x="46" y="13"/>
                    </a:lnTo>
                    <a:lnTo>
                      <a:pt x="48" y="18"/>
                    </a:lnTo>
                    <a:lnTo>
                      <a:pt x="48" y="23"/>
                    </a:lnTo>
                    <a:lnTo>
                      <a:pt x="48" y="28"/>
                    </a:lnTo>
                    <a:lnTo>
                      <a:pt x="48" y="34"/>
                    </a:lnTo>
                    <a:lnTo>
                      <a:pt x="46" y="38"/>
                    </a:lnTo>
                    <a:lnTo>
                      <a:pt x="44" y="41"/>
                    </a:lnTo>
                    <a:lnTo>
                      <a:pt x="41" y="44"/>
                    </a:lnTo>
                    <a:lnTo>
                      <a:pt x="34" y="50"/>
                    </a:lnTo>
                    <a:lnTo>
                      <a:pt x="24" y="51"/>
                    </a:lnTo>
                    <a:lnTo>
                      <a:pt x="24" y="51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4" y="41"/>
                    </a:lnTo>
                    <a:lnTo>
                      <a:pt x="2" y="38"/>
                    </a:lnTo>
                    <a:lnTo>
                      <a:pt x="0" y="34"/>
                    </a:lnTo>
                    <a:lnTo>
                      <a:pt x="0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4" y="10"/>
                    </a:lnTo>
                    <a:lnTo>
                      <a:pt x="6" y="7"/>
                    </a:lnTo>
                    <a:lnTo>
                      <a:pt x="13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Freeform 51">
                <a:extLst>
                  <a:ext uri="{FF2B5EF4-FFF2-40B4-BE49-F238E27FC236}">
                    <a16:creationId xmlns:a16="http://schemas.microsoft.com/office/drawing/2014/main" id="{D21CC550-15A8-453F-A71F-6595F0D69A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8637" y="3927475"/>
                <a:ext cx="128588" cy="174625"/>
              </a:xfrm>
              <a:custGeom>
                <a:avLst/>
                <a:gdLst>
                  <a:gd name="T0" fmla="*/ 45 w 81"/>
                  <a:gd name="T1" fmla="*/ 29 h 110"/>
                  <a:gd name="T2" fmla="*/ 44 w 81"/>
                  <a:gd name="T3" fmla="*/ 32 h 110"/>
                  <a:gd name="T4" fmla="*/ 34 w 81"/>
                  <a:gd name="T5" fmla="*/ 49 h 110"/>
                  <a:gd name="T6" fmla="*/ 21 w 81"/>
                  <a:gd name="T7" fmla="*/ 69 h 110"/>
                  <a:gd name="T8" fmla="*/ 46 w 81"/>
                  <a:gd name="T9" fmla="*/ 69 h 110"/>
                  <a:gd name="T10" fmla="*/ 46 w 81"/>
                  <a:gd name="T11" fmla="*/ 29 h 110"/>
                  <a:gd name="T12" fmla="*/ 45 w 81"/>
                  <a:gd name="T13" fmla="*/ 29 h 110"/>
                  <a:gd name="T14" fmla="*/ 46 w 81"/>
                  <a:gd name="T15" fmla="*/ 0 h 110"/>
                  <a:gd name="T16" fmla="*/ 69 w 81"/>
                  <a:gd name="T17" fmla="*/ 0 h 110"/>
                  <a:gd name="T18" fmla="*/ 69 w 81"/>
                  <a:gd name="T19" fmla="*/ 69 h 110"/>
                  <a:gd name="T20" fmla="*/ 81 w 81"/>
                  <a:gd name="T21" fmla="*/ 69 h 110"/>
                  <a:gd name="T22" fmla="*/ 81 w 81"/>
                  <a:gd name="T23" fmla="*/ 87 h 110"/>
                  <a:gd name="T24" fmla="*/ 69 w 81"/>
                  <a:gd name="T25" fmla="*/ 87 h 110"/>
                  <a:gd name="T26" fmla="*/ 69 w 81"/>
                  <a:gd name="T27" fmla="*/ 110 h 110"/>
                  <a:gd name="T28" fmla="*/ 46 w 81"/>
                  <a:gd name="T29" fmla="*/ 110 h 110"/>
                  <a:gd name="T30" fmla="*/ 46 w 81"/>
                  <a:gd name="T31" fmla="*/ 87 h 110"/>
                  <a:gd name="T32" fmla="*/ 2 w 81"/>
                  <a:gd name="T33" fmla="*/ 87 h 110"/>
                  <a:gd name="T34" fmla="*/ 0 w 81"/>
                  <a:gd name="T35" fmla="*/ 73 h 110"/>
                  <a:gd name="T36" fmla="*/ 34 w 81"/>
                  <a:gd name="T37" fmla="*/ 19 h 110"/>
                  <a:gd name="T38" fmla="*/ 46 w 81"/>
                  <a:gd name="T39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1" h="110">
                    <a:moveTo>
                      <a:pt x="45" y="29"/>
                    </a:moveTo>
                    <a:lnTo>
                      <a:pt x="44" y="32"/>
                    </a:lnTo>
                    <a:lnTo>
                      <a:pt x="34" y="49"/>
                    </a:lnTo>
                    <a:lnTo>
                      <a:pt x="21" y="69"/>
                    </a:lnTo>
                    <a:lnTo>
                      <a:pt x="46" y="69"/>
                    </a:lnTo>
                    <a:lnTo>
                      <a:pt x="46" y="29"/>
                    </a:lnTo>
                    <a:lnTo>
                      <a:pt x="45" y="29"/>
                    </a:lnTo>
                    <a:close/>
                    <a:moveTo>
                      <a:pt x="46" y="0"/>
                    </a:moveTo>
                    <a:lnTo>
                      <a:pt x="69" y="0"/>
                    </a:lnTo>
                    <a:lnTo>
                      <a:pt x="69" y="69"/>
                    </a:lnTo>
                    <a:lnTo>
                      <a:pt x="81" y="69"/>
                    </a:lnTo>
                    <a:lnTo>
                      <a:pt x="81" y="87"/>
                    </a:lnTo>
                    <a:lnTo>
                      <a:pt x="69" y="87"/>
                    </a:lnTo>
                    <a:lnTo>
                      <a:pt x="69" y="110"/>
                    </a:lnTo>
                    <a:lnTo>
                      <a:pt x="46" y="110"/>
                    </a:lnTo>
                    <a:lnTo>
                      <a:pt x="46" y="87"/>
                    </a:lnTo>
                    <a:lnTo>
                      <a:pt x="2" y="87"/>
                    </a:lnTo>
                    <a:lnTo>
                      <a:pt x="0" y="73"/>
                    </a:lnTo>
                    <a:lnTo>
                      <a:pt x="34" y="1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Freeform 52">
                <a:extLst>
                  <a:ext uri="{FF2B5EF4-FFF2-40B4-BE49-F238E27FC236}">
                    <a16:creationId xmlns:a16="http://schemas.microsoft.com/office/drawing/2014/main" id="{08BA94C6-869E-4EC8-AA87-4842BD430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25" y="3927475"/>
                <a:ext cx="115888" cy="176212"/>
              </a:xfrm>
              <a:custGeom>
                <a:avLst/>
                <a:gdLst>
                  <a:gd name="T0" fmla="*/ 8 w 73"/>
                  <a:gd name="T1" fmla="*/ 0 h 111"/>
                  <a:gd name="T2" fmla="*/ 70 w 73"/>
                  <a:gd name="T3" fmla="*/ 0 h 111"/>
                  <a:gd name="T4" fmla="*/ 70 w 73"/>
                  <a:gd name="T5" fmla="*/ 17 h 111"/>
                  <a:gd name="T6" fmla="*/ 26 w 73"/>
                  <a:gd name="T7" fmla="*/ 17 h 111"/>
                  <a:gd name="T8" fmla="*/ 23 w 73"/>
                  <a:gd name="T9" fmla="*/ 43 h 111"/>
                  <a:gd name="T10" fmla="*/ 26 w 73"/>
                  <a:gd name="T11" fmla="*/ 41 h 111"/>
                  <a:gd name="T12" fmla="*/ 31 w 73"/>
                  <a:gd name="T13" fmla="*/ 40 h 111"/>
                  <a:gd name="T14" fmla="*/ 35 w 73"/>
                  <a:gd name="T15" fmla="*/ 38 h 111"/>
                  <a:gd name="T16" fmla="*/ 40 w 73"/>
                  <a:gd name="T17" fmla="*/ 37 h 111"/>
                  <a:gd name="T18" fmla="*/ 50 w 73"/>
                  <a:gd name="T19" fmla="*/ 38 h 111"/>
                  <a:gd name="T20" fmla="*/ 58 w 73"/>
                  <a:gd name="T21" fmla="*/ 42 h 111"/>
                  <a:gd name="T22" fmla="*/ 65 w 73"/>
                  <a:gd name="T23" fmla="*/ 47 h 111"/>
                  <a:gd name="T24" fmla="*/ 71 w 73"/>
                  <a:gd name="T25" fmla="*/ 59 h 111"/>
                  <a:gd name="T26" fmla="*/ 73 w 73"/>
                  <a:gd name="T27" fmla="*/ 75 h 111"/>
                  <a:gd name="T28" fmla="*/ 71 w 73"/>
                  <a:gd name="T29" fmla="*/ 89 h 111"/>
                  <a:gd name="T30" fmla="*/ 64 w 73"/>
                  <a:gd name="T31" fmla="*/ 102 h 111"/>
                  <a:gd name="T32" fmla="*/ 57 w 73"/>
                  <a:gd name="T33" fmla="*/ 107 h 111"/>
                  <a:gd name="T34" fmla="*/ 48 w 73"/>
                  <a:gd name="T35" fmla="*/ 110 h 111"/>
                  <a:gd name="T36" fmla="*/ 37 w 73"/>
                  <a:gd name="T37" fmla="*/ 111 h 111"/>
                  <a:gd name="T38" fmla="*/ 22 w 73"/>
                  <a:gd name="T39" fmla="*/ 110 h 111"/>
                  <a:gd name="T40" fmla="*/ 10 w 73"/>
                  <a:gd name="T41" fmla="*/ 104 h 111"/>
                  <a:gd name="T42" fmla="*/ 5 w 73"/>
                  <a:gd name="T43" fmla="*/ 97 h 111"/>
                  <a:gd name="T44" fmla="*/ 1 w 73"/>
                  <a:gd name="T45" fmla="*/ 90 h 111"/>
                  <a:gd name="T46" fmla="*/ 0 w 73"/>
                  <a:gd name="T47" fmla="*/ 80 h 111"/>
                  <a:gd name="T48" fmla="*/ 1 w 73"/>
                  <a:gd name="T49" fmla="*/ 80 h 111"/>
                  <a:gd name="T50" fmla="*/ 21 w 73"/>
                  <a:gd name="T51" fmla="*/ 79 h 111"/>
                  <a:gd name="T52" fmla="*/ 22 w 73"/>
                  <a:gd name="T53" fmla="*/ 83 h 111"/>
                  <a:gd name="T54" fmla="*/ 23 w 73"/>
                  <a:gd name="T55" fmla="*/ 88 h 111"/>
                  <a:gd name="T56" fmla="*/ 25 w 73"/>
                  <a:gd name="T57" fmla="*/ 91 h 111"/>
                  <a:gd name="T58" fmla="*/ 29 w 73"/>
                  <a:gd name="T59" fmla="*/ 93 h 111"/>
                  <a:gd name="T60" fmla="*/ 33 w 73"/>
                  <a:gd name="T61" fmla="*/ 94 h 111"/>
                  <a:gd name="T62" fmla="*/ 37 w 73"/>
                  <a:gd name="T63" fmla="*/ 95 h 111"/>
                  <a:gd name="T64" fmla="*/ 40 w 73"/>
                  <a:gd name="T65" fmla="*/ 94 h 111"/>
                  <a:gd name="T66" fmla="*/ 43 w 73"/>
                  <a:gd name="T67" fmla="*/ 93 h 111"/>
                  <a:gd name="T68" fmla="*/ 46 w 73"/>
                  <a:gd name="T69" fmla="*/ 92 h 111"/>
                  <a:gd name="T70" fmla="*/ 48 w 73"/>
                  <a:gd name="T71" fmla="*/ 89 h 111"/>
                  <a:gd name="T72" fmla="*/ 50 w 73"/>
                  <a:gd name="T73" fmla="*/ 85 h 111"/>
                  <a:gd name="T74" fmla="*/ 51 w 73"/>
                  <a:gd name="T75" fmla="*/ 80 h 111"/>
                  <a:gd name="T76" fmla="*/ 52 w 73"/>
                  <a:gd name="T77" fmla="*/ 75 h 111"/>
                  <a:gd name="T78" fmla="*/ 51 w 73"/>
                  <a:gd name="T79" fmla="*/ 68 h 111"/>
                  <a:gd name="T80" fmla="*/ 50 w 73"/>
                  <a:gd name="T81" fmla="*/ 64 h 111"/>
                  <a:gd name="T82" fmla="*/ 48 w 73"/>
                  <a:gd name="T83" fmla="*/ 60 h 111"/>
                  <a:gd name="T84" fmla="*/ 45 w 73"/>
                  <a:gd name="T85" fmla="*/ 57 h 111"/>
                  <a:gd name="T86" fmla="*/ 41 w 73"/>
                  <a:gd name="T87" fmla="*/ 54 h 111"/>
                  <a:gd name="T88" fmla="*/ 36 w 73"/>
                  <a:gd name="T89" fmla="*/ 53 h 111"/>
                  <a:gd name="T90" fmla="*/ 32 w 73"/>
                  <a:gd name="T91" fmla="*/ 54 h 111"/>
                  <a:gd name="T92" fmla="*/ 29 w 73"/>
                  <a:gd name="T93" fmla="*/ 54 h 111"/>
                  <a:gd name="T94" fmla="*/ 26 w 73"/>
                  <a:gd name="T95" fmla="*/ 57 h 111"/>
                  <a:gd name="T96" fmla="*/ 23 w 73"/>
                  <a:gd name="T97" fmla="*/ 59 h 111"/>
                  <a:gd name="T98" fmla="*/ 21 w 73"/>
                  <a:gd name="T99" fmla="*/ 62 h 111"/>
                  <a:gd name="T100" fmla="*/ 2 w 73"/>
                  <a:gd name="T101" fmla="*/ 61 h 111"/>
                  <a:gd name="T102" fmla="*/ 8 w 73"/>
                  <a:gd name="T10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3" h="111">
                    <a:moveTo>
                      <a:pt x="8" y="0"/>
                    </a:moveTo>
                    <a:lnTo>
                      <a:pt x="70" y="0"/>
                    </a:lnTo>
                    <a:lnTo>
                      <a:pt x="70" y="17"/>
                    </a:lnTo>
                    <a:lnTo>
                      <a:pt x="26" y="17"/>
                    </a:lnTo>
                    <a:lnTo>
                      <a:pt x="23" y="43"/>
                    </a:lnTo>
                    <a:lnTo>
                      <a:pt x="26" y="41"/>
                    </a:lnTo>
                    <a:lnTo>
                      <a:pt x="31" y="40"/>
                    </a:lnTo>
                    <a:lnTo>
                      <a:pt x="35" y="38"/>
                    </a:lnTo>
                    <a:lnTo>
                      <a:pt x="40" y="37"/>
                    </a:lnTo>
                    <a:lnTo>
                      <a:pt x="50" y="38"/>
                    </a:lnTo>
                    <a:lnTo>
                      <a:pt x="58" y="42"/>
                    </a:lnTo>
                    <a:lnTo>
                      <a:pt x="65" y="47"/>
                    </a:lnTo>
                    <a:lnTo>
                      <a:pt x="71" y="59"/>
                    </a:lnTo>
                    <a:lnTo>
                      <a:pt x="73" y="75"/>
                    </a:lnTo>
                    <a:lnTo>
                      <a:pt x="71" y="89"/>
                    </a:lnTo>
                    <a:lnTo>
                      <a:pt x="64" y="102"/>
                    </a:lnTo>
                    <a:lnTo>
                      <a:pt x="57" y="107"/>
                    </a:lnTo>
                    <a:lnTo>
                      <a:pt x="48" y="110"/>
                    </a:lnTo>
                    <a:lnTo>
                      <a:pt x="37" y="111"/>
                    </a:lnTo>
                    <a:lnTo>
                      <a:pt x="22" y="110"/>
                    </a:lnTo>
                    <a:lnTo>
                      <a:pt x="10" y="104"/>
                    </a:lnTo>
                    <a:lnTo>
                      <a:pt x="5" y="97"/>
                    </a:lnTo>
                    <a:lnTo>
                      <a:pt x="1" y="90"/>
                    </a:lnTo>
                    <a:lnTo>
                      <a:pt x="0" y="80"/>
                    </a:lnTo>
                    <a:lnTo>
                      <a:pt x="1" y="80"/>
                    </a:lnTo>
                    <a:lnTo>
                      <a:pt x="21" y="79"/>
                    </a:lnTo>
                    <a:lnTo>
                      <a:pt x="22" y="83"/>
                    </a:lnTo>
                    <a:lnTo>
                      <a:pt x="23" y="88"/>
                    </a:lnTo>
                    <a:lnTo>
                      <a:pt x="25" y="91"/>
                    </a:lnTo>
                    <a:lnTo>
                      <a:pt x="29" y="93"/>
                    </a:lnTo>
                    <a:lnTo>
                      <a:pt x="33" y="94"/>
                    </a:lnTo>
                    <a:lnTo>
                      <a:pt x="37" y="95"/>
                    </a:lnTo>
                    <a:lnTo>
                      <a:pt x="40" y="94"/>
                    </a:lnTo>
                    <a:lnTo>
                      <a:pt x="43" y="93"/>
                    </a:lnTo>
                    <a:lnTo>
                      <a:pt x="46" y="92"/>
                    </a:lnTo>
                    <a:lnTo>
                      <a:pt x="48" y="89"/>
                    </a:lnTo>
                    <a:lnTo>
                      <a:pt x="50" y="85"/>
                    </a:lnTo>
                    <a:lnTo>
                      <a:pt x="51" y="80"/>
                    </a:lnTo>
                    <a:lnTo>
                      <a:pt x="52" y="75"/>
                    </a:lnTo>
                    <a:lnTo>
                      <a:pt x="51" y="68"/>
                    </a:lnTo>
                    <a:lnTo>
                      <a:pt x="50" y="64"/>
                    </a:lnTo>
                    <a:lnTo>
                      <a:pt x="48" y="60"/>
                    </a:lnTo>
                    <a:lnTo>
                      <a:pt x="45" y="57"/>
                    </a:lnTo>
                    <a:lnTo>
                      <a:pt x="41" y="54"/>
                    </a:lnTo>
                    <a:lnTo>
                      <a:pt x="36" y="53"/>
                    </a:lnTo>
                    <a:lnTo>
                      <a:pt x="32" y="54"/>
                    </a:lnTo>
                    <a:lnTo>
                      <a:pt x="29" y="54"/>
                    </a:lnTo>
                    <a:lnTo>
                      <a:pt x="26" y="57"/>
                    </a:lnTo>
                    <a:lnTo>
                      <a:pt x="23" y="59"/>
                    </a:lnTo>
                    <a:lnTo>
                      <a:pt x="21" y="62"/>
                    </a:lnTo>
                    <a:lnTo>
                      <a:pt x="2" y="61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Freeform 53">
                <a:extLst>
                  <a:ext uri="{FF2B5EF4-FFF2-40B4-BE49-F238E27FC236}">
                    <a16:creationId xmlns:a16="http://schemas.microsoft.com/office/drawing/2014/main" id="{26496E42-BD56-4DF1-AFF1-8A691CA5A0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59712" y="3924300"/>
                <a:ext cx="122238" cy="179387"/>
              </a:xfrm>
              <a:custGeom>
                <a:avLst/>
                <a:gdLst>
                  <a:gd name="T0" fmla="*/ 34 w 77"/>
                  <a:gd name="T1" fmla="*/ 55 h 113"/>
                  <a:gd name="T2" fmla="*/ 26 w 77"/>
                  <a:gd name="T3" fmla="*/ 59 h 113"/>
                  <a:gd name="T4" fmla="*/ 23 w 77"/>
                  <a:gd name="T5" fmla="*/ 69 h 113"/>
                  <a:gd name="T6" fmla="*/ 28 w 77"/>
                  <a:gd name="T7" fmla="*/ 90 h 113"/>
                  <a:gd name="T8" fmla="*/ 35 w 77"/>
                  <a:gd name="T9" fmla="*/ 96 h 113"/>
                  <a:gd name="T10" fmla="*/ 40 w 77"/>
                  <a:gd name="T11" fmla="*/ 97 h 113"/>
                  <a:gd name="T12" fmla="*/ 49 w 77"/>
                  <a:gd name="T13" fmla="*/ 94 h 113"/>
                  <a:gd name="T14" fmla="*/ 54 w 77"/>
                  <a:gd name="T15" fmla="*/ 86 h 113"/>
                  <a:gd name="T16" fmla="*/ 55 w 77"/>
                  <a:gd name="T17" fmla="*/ 76 h 113"/>
                  <a:gd name="T18" fmla="*/ 54 w 77"/>
                  <a:gd name="T19" fmla="*/ 65 h 113"/>
                  <a:gd name="T20" fmla="*/ 49 w 77"/>
                  <a:gd name="T21" fmla="*/ 58 h 113"/>
                  <a:gd name="T22" fmla="*/ 40 w 77"/>
                  <a:gd name="T23" fmla="*/ 54 h 113"/>
                  <a:gd name="T24" fmla="*/ 45 w 77"/>
                  <a:gd name="T25" fmla="*/ 0 h 113"/>
                  <a:gd name="T26" fmla="*/ 57 w 77"/>
                  <a:gd name="T27" fmla="*/ 1 h 113"/>
                  <a:gd name="T28" fmla="*/ 67 w 77"/>
                  <a:gd name="T29" fmla="*/ 5 h 113"/>
                  <a:gd name="T30" fmla="*/ 58 w 77"/>
                  <a:gd name="T31" fmla="*/ 19 h 113"/>
                  <a:gd name="T32" fmla="*/ 51 w 77"/>
                  <a:gd name="T33" fmla="*/ 18 h 113"/>
                  <a:gd name="T34" fmla="*/ 42 w 77"/>
                  <a:gd name="T35" fmla="*/ 18 h 113"/>
                  <a:gd name="T36" fmla="*/ 36 w 77"/>
                  <a:gd name="T37" fmla="*/ 20 h 113"/>
                  <a:gd name="T38" fmla="*/ 29 w 77"/>
                  <a:gd name="T39" fmla="*/ 25 h 113"/>
                  <a:gd name="T40" fmla="*/ 24 w 77"/>
                  <a:gd name="T41" fmla="*/ 46 h 113"/>
                  <a:gd name="T42" fmla="*/ 28 w 77"/>
                  <a:gd name="T43" fmla="*/ 43 h 113"/>
                  <a:gd name="T44" fmla="*/ 39 w 77"/>
                  <a:gd name="T45" fmla="*/ 38 h 113"/>
                  <a:gd name="T46" fmla="*/ 59 w 77"/>
                  <a:gd name="T47" fmla="*/ 40 h 113"/>
                  <a:gd name="T48" fmla="*/ 75 w 77"/>
                  <a:gd name="T49" fmla="*/ 61 h 113"/>
                  <a:gd name="T50" fmla="*/ 75 w 77"/>
                  <a:gd name="T51" fmla="*/ 91 h 113"/>
                  <a:gd name="T52" fmla="*/ 55 w 77"/>
                  <a:gd name="T53" fmla="*/ 111 h 113"/>
                  <a:gd name="T54" fmla="*/ 39 w 77"/>
                  <a:gd name="T55" fmla="*/ 113 h 113"/>
                  <a:gd name="T56" fmla="*/ 20 w 77"/>
                  <a:gd name="T57" fmla="*/ 108 h 113"/>
                  <a:gd name="T58" fmla="*/ 6 w 77"/>
                  <a:gd name="T59" fmla="*/ 93 h 113"/>
                  <a:gd name="T60" fmla="*/ 0 w 77"/>
                  <a:gd name="T61" fmla="*/ 69 h 113"/>
                  <a:gd name="T62" fmla="*/ 3 w 77"/>
                  <a:gd name="T63" fmla="*/ 34 h 113"/>
                  <a:gd name="T64" fmla="*/ 13 w 77"/>
                  <a:gd name="T65" fmla="*/ 13 h 113"/>
                  <a:gd name="T66" fmla="*/ 39 w 77"/>
                  <a:gd name="T67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7" h="113">
                    <a:moveTo>
                      <a:pt x="39" y="54"/>
                    </a:moveTo>
                    <a:lnTo>
                      <a:pt x="34" y="55"/>
                    </a:lnTo>
                    <a:lnTo>
                      <a:pt x="29" y="56"/>
                    </a:lnTo>
                    <a:lnTo>
                      <a:pt x="26" y="59"/>
                    </a:lnTo>
                    <a:lnTo>
                      <a:pt x="23" y="62"/>
                    </a:lnTo>
                    <a:lnTo>
                      <a:pt x="23" y="69"/>
                    </a:lnTo>
                    <a:lnTo>
                      <a:pt x="24" y="81"/>
                    </a:lnTo>
                    <a:lnTo>
                      <a:pt x="28" y="90"/>
                    </a:lnTo>
                    <a:lnTo>
                      <a:pt x="31" y="93"/>
                    </a:lnTo>
                    <a:lnTo>
                      <a:pt x="35" y="96"/>
                    </a:lnTo>
                    <a:lnTo>
                      <a:pt x="39" y="97"/>
                    </a:lnTo>
                    <a:lnTo>
                      <a:pt x="40" y="97"/>
                    </a:lnTo>
                    <a:lnTo>
                      <a:pt x="44" y="96"/>
                    </a:lnTo>
                    <a:lnTo>
                      <a:pt x="49" y="94"/>
                    </a:lnTo>
                    <a:lnTo>
                      <a:pt x="52" y="91"/>
                    </a:lnTo>
                    <a:lnTo>
                      <a:pt x="54" y="86"/>
                    </a:lnTo>
                    <a:lnTo>
                      <a:pt x="55" y="81"/>
                    </a:lnTo>
                    <a:lnTo>
                      <a:pt x="55" y="76"/>
                    </a:lnTo>
                    <a:lnTo>
                      <a:pt x="55" y="69"/>
                    </a:lnTo>
                    <a:lnTo>
                      <a:pt x="54" y="65"/>
                    </a:lnTo>
                    <a:lnTo>
                      <a:pt x="52" y="61"/>
                    </a:lnTo>
                    <a:lnTo>
                      <a:pt x="49" y="58"/>
                    </a:lnTo>
                    <a:lnTo>
                      <a:pt x="44" y="55"/>
                    </a:lnTo>
                    <a:lnTo>
                      <a:pt x="40" y="54"/>
                    </a:lnTo>
                    <a:lnTo>
                      <a:pt x="39" y="54"/>
                    </a:lnTo>
                    <a:close/>
                    <a:moveTo>
                      <a:pt x="45" y="0"/>
                    </a:moveTo>
                    <a:lnTo>
                      <a:pt x="51" y="1"/>
                    </a:lnTo>
                    <a:lnTo>
                      <a:pt x="57" y="1"/>
                    </a:lnTo>
                    <a:lnTo>
                      <a:pt x="62" y="3"/>
                    </a:lnTo>
                    <a:lnTo>
                      <a:pt x="67" y="5"/>
                    </a:lnTo>
                    <a:lnTo>
                      <a:pt x="63" y="21"/>
                    </a:lnTo>
                    <a:lnTo>
                      <a:pt x="58" y="19"/>
                    </a:lnTo>
                    <a:lnTo>
                      <a:pt x="54" y="18"/>
                    </a:lnTo>
                    <a:lnTo>
                      <a:pt x="51" y="18"/>
                    </a:lnTo>
                    <a:lnTo>
                      <a:pt x="45" y="18"/>
                    </a:lnTo>
                    <a:lnTo>
                      <a:pt x="42" y="18"/>
                    </a:lnTo>
                    <a:lnTo>
                      <a:pt x="39" y="18"/>
                    </a:lnTo>
                    <a:lnTo>
                      <a:pt x="36" y="20"/>
                    </a:lnTo>
                    <a:lnTo>
                      <a:pt x="32" y="22"/>
                    </a:lnTo>
                    <a:lnTo>
                      <a:pt x="29" y="25"/>
                    </a:lnTo>
                    <a:lnTo>
                      <a:pt x="25" y="34"/>
                    </a:lnTo>
                    <a:lnTo>
                      <a:pt x="24" y="46"/>
                    </a:lnTo>
                    <a:lnTo>
                      <a:pt x="24" y="47"/>
                    </a:lnTo>
                    <a:lnTo>
                      <a:pt x="28" y="43"/>
                    </a:lnTo>
                    <a:lnTo>
                      <a:pt x="34" y="40"/>
                    </a:lnTo>
                    <a:lnTo>
                      <a:pt x="39" y="38"/>
                    </a:lnTo>
                    <a:lnTo>
                      <a:pt x="46" y="38"/>
                    </a:lnTo>
                    <a:lnTo>
                      <a:pt x="59" y="40"/>
                    </a:lnTo>
                    <a:lnTo>
                      <a:pt x="69" y="49"/>
                    </a:lnTo>
                    <a:lnTo>
                      <a:pt x="75" y="61"/>
                    </a:lnTo>
                    <a:lnTo>
                      <a:pt x="77" y="76"/>
                    </a:lnTo>
                    <a:lnTo>
                      <a:pt x="75" y="91"/>
                    </a:lnTo>
                    <a:lnTo>
                      <a:pt x="67" y="102"/>
                    </a:lnTo>
                    <a:lnTo>
                      <a:pt x="55" y="111"/>
                    </a:lnTo>
                    <a:lnTo>
                      <a:pt x="40" y="113"/>
                    </a:lnTo>
                    <a:lnTo>
                      <a:pt x="39" y="113"/>
                    </a:lnTo>
                    <a:lnTo>
                      <a:pt x="28" y="112"/>
                    </a:lnTo>
                    <a:lnTo>
                      <a:pt x="20" y="108"/>
                    </a:lnTo>
                    <a:lnTo>
                      <a:pt x="12" y="101"/>
                    </a:lnTo>
                    <a:lnTo>
                      <a:pt x="6" y="93"/>
                    </a:lnTo>
                    <a:lnTo>
                      <a:pt x="3" y="82"/>
                    </a:lnTo>
                    <a:lnTo>
                      <a:pt x="0" y="69"/>
                    </a:lnTo>
                    <a:lnTo>
                      <a:pt x="0" y="48"/>
                    </a:lnTo>
                    <a:lnTo>
                      <a:pt x="3" y="34"/>
                    </a:lnTo>
                    <a:lnTo>
                      <a:pt x="7" y="22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1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Freeform 54">
                <a:extLst>
                  <a:ext uri="{FF2B5EF4-FFF2-40B4-BE49-F238E27FC236}">
                    <a16:creationId xmlns:a16="http://schemas.microsoft.com/office/drawing/2014/main" id="{C74DBE15-5534-478D-9C57-5971EF5E53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7075" y="3971925"/>
                <a:ext cx="120650" cy="130175"/>
              </a:xfrm>
              <a:custGeom>
                <a:avLst/>
                <a:gdLst>
                  <a:gd name="T0" fmla="*/ 0 w 76"/>
                  <a:gd name="T1" fmla="*/ 0 h 82"/>
                  <a:gd name="T2" fmla="*/ 26 w 76"/>
                  <a:gd name="T3" fmla="*/ 0 h 82"/>
                  <a:gd name="T4" fmla="*/ 38 w 76"/>
                  <a:gd name="T5" fmla="*/ 26 h 82"/>
                  <a:gd name="T6" fmla="*/ 38 w 76"/>
                  <a:gd name="T7" fmla="*/ 26 h 82"/>
                  <a:gd name="T8" fmla="*/ 50 w 76"/>
                  <a:gd name="T9" fmla="*/ 0 h 82"/>
                  <a:gd name="T10" fmla="*/ 76 w 76"/>
                  <a:gd name="T11" fmla="*/ 0 h 82"/>
                  <a:gd name="T12" fmla="*/ 52 w 76"/>
                  <a:gd name="T13" fmla="*/ 40 h 82"/>
                  <a:gd name="T14" fmla="*/ 76 w 76"/>
                  <a:gd name="T15" fmla="*/ 82 h 82"/>
                  <a:gd name="T16" fmla="*/ 52 w 76"/>
                  <a:gd name="T17" fmla="*/ 82 h 82"/>
                  <a:gd name="T18" fmla="*/ 39 w 76"/>
                  <a:gd name="T19" fmla="*/ 55 h 82"/>
                  <a:gd name="T20" fmla="*/ 25 w 76"/>
                  <a:gd name="T21" fmla="*/ 82 h 82"/>
                  <a:gd name="T22" fmla="*/ 0 w 76"/>
                  <a:gd name="T23" fmla="*/ 82 h 82"/>
                  <a:gd name="T24" fmla="*/ 26 w 76"/>
                  <a:gd name="T25" fmla="*/ 40 h 82"/>
                  <a:gd name="T26" fmla="*/ 0 w 76"/>
                  <a:gd name="T27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6" h="82">
                    <a:moveTo>
                      <a:pt x="0" y="0"/>
                    </a:moveTo>
                    <a:lnTo>
                      <a:pt x="26" y="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50" y="0"/>
                    </a:lnTo>
                    <a:lnTo>
                      <a:pt x="76" y="0"/>
                    </a:lnTo>
                    <a:lnTo>
                      <a:pt x="52" y="40"/>
                    </a:lnTo>
                    <a:lnTo>
                      <a:pt x="76" y="82"/>
                    </a:lnTo>
                    <a:lnTo>
                      <a:pt x="52" y="82"/>
                    </a:lnTo>
                    <a:lnTo>
                      <a:pt x="39" y="55"/>
                    </a:lnTo>
                    <a:lnTo>
                      <a:pt x="25" y="82"/>
                    </a:lnTo>
                    <a:lnTo>
                      <a:pt x="0" y="82"/>
                    </a:lnTo>
                    <a:lnTo>
                      <a:pt x="26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Freeform 55">
                <a:extLst>
                  <a:ext uri="{FF2B5EF4-FFF2-40B4-BE49-F238E27FC236}">
                    <a16:creationId xmlns:a16="http://schemas.microsoft.com/office/drawing/2014/main" id="{FEA95050-C86B-47F6-92D7-272A1E6B5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2925" y="4398963"/>
                <a:ext cx="71438" cy="174625"/>
              </a:xfrm>
              <a:custGeom>
                <a:avLst/>
                <a:gdLst>
                  <a:gd name="T0" fmla="*/ 45 w 45"/>
                  <a:gd name="T1" fmla="*/ 0 h 110"/>
                  <a:gd name="T2" fmla="*/ 45 w 45"/>
                  <a:gd name="T3" fmla="*/ 110 h 110"/>
                  <a:gd name="T4" fmla="*/ 22 w 45"/>
                  <a:gd name="T5" fmla="*/ 110 h 110"/>
                  <a:gd name="T6" fmla="*/ 22 w 45"/>
                  <a:gd name="T7" fmla="*/ 19 h 110"/>
                  <a:gd name="T8" fmla="*/ 0 w 45"/>
                  <a:gd name="T9" fmla="*/ 19 h 110"/>
                  <a:gd name="T10" fmla="*/ 0 w 45"/>
                  <a:gd name="T11" fmla="*/ 4 h 110"/>
                  <a:gd name="T12" fmla="*/ 45 w 45"/>
                  <a:gd name="T1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110">
                    <a:moveTo>
                      <a:pt x="45" y="0"/>
                    </a:moveTo>
                    <a:lnTo>
                      <a:pt x="45" y="110"/>
                    </a:lnTo>
                    <a:lnTo>
                      <a:pt x="22" y="110"/>
                    </a:lnTo>
                    <a:lnTo>
                      <a:pt x="22" y="19"/>
                    </a:lnTo>
                    <a:lnTo>
                      <a:pt x="0" y="19"/>
                    </a:lnTo>
                    <a:lnTo>
                      <a:pt x="0" y="4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4" name="Freeform 56">
                <a:extLst>
                  <a:ext uri="{FF2B5EF4-FFF2-40B4-BE49-F238E27FC236}">
                    <a16:creationId xmlns:a16="http://schemas.microsoft.com/office/drawing/2014/main" id="{F6A63B43-B795-49D9-81F0-FA5979AFF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2350" y="4397375"/>
                <a:ext cx="120650" cy="176212"/>
              </a:xfrm>
              <a:custGeom>
                <a:avLst/>
                <a:gdLst>
                  <a:gd name="T0" fmla="*/ 37 w 76"/>
                  <a:gd name="T1" fmla="*/ 0 h 111"/>
                  <a:gd name="T2" fmla="*/ 52 w 76"/>
                  <a:gd name="T3" fmla="*/ 2 h 111"/>
                  <a:gd name="T4" fmla="*/ 64 w 76"/>
                  <a:gd name="T5" fmla="*/ 9 h 111"/>
                  <a:gd name="T6" fmla="*/ 71 w 76"/>
                  <a:gd name="T7" fmla="*/ 18 h 111"/>
                  <a:gd name="T8" fmla="*/ 73 w 76"/>
                  <a:gd name="T9" fmla="*/ 32 h 111"/>
                  <a:gd name="T10" fmla="*/ 72 w 76"/>
                  <a:gd name="T11" fmla="*/ 42 h 111"/>
                  <a:gd name="T12" fmla="*/ 68 w 76"/>
                  <a:gd name="T13" fmla="*/ 50 h 111"/>
                  <a:gd name="T14" fmla="*/ 60 w 76"/>
                  <a:gd name="T15" fmla="*/ 60 h 111"/>
                  <a:gd name="T16" fmla="*/ 50 w 76"/>
                  <a:gd name="T17" fmla="*/ 73 h 111"/>
                  <a:gd name="T18" fmla="*/ 31 w 76"/>
                  <a:gd name="T19" fmla="*/ 94 h 111"/>
                  <a:gd name="T20" fmla="*/ 31 w 76"/>
                  <a:gd name="T21" fmla="*/ 94 h 111"/>
                  <a:gd name="T22" fmla="*/ 76 w 76"/>
                  <a:gd name="T23" fmla="*/ 94 h 111"/>
                  <a:gd name="T24" fmla="*/ 76 w 76"/>
                  <a:gd name="T25" fmla="*/ 111 h 111"/>
                  <a:gd name="T26" fmla="*/ 2 w 76"/>
                  <a:gd name="T27" fmla="*/ 111 h 111"/>
                  <a:gd name="T28" fmla="*/ 2 w 76"/>
                  <a:gd name="T29" fmla="*/ 97 h 111"/>
                  <a:gd name="T30" fmla="*/ 37 w 76"/>
                  <a:gd name="T31" fmla="*/ 59 h 111"/>
                  <a:gd name="T32" fmla="*/ 41 w 76"/>
                  <a:gd name="T33" fmla="*/ 54 h 111"/>
                  <a:gd name="T34" fmla="*/ 45 w 76"/>
                  <a:gd name="T35" fmla="*/ 48 h 111"/>
                  <a:gd name="T36" fmla="*/ 48 w 76"/>
                  <a:gd name="T37" fmla="*/ 44 h 111"/>
                  <a:gd name="T38" fmla="*/ 51 w 76"/>
                  <a:gd name="T39" fmla="*/ 38 h 111"/>
                  <a:gd name="T40" fmla="*/ 51 w 76"/>
                  <a:gd name="T41" fmla="*/ 32 h 111"/>
                  <a:gd name="T42" fmla="*/ 51 w 76"/>
                  <a:gd name="T43" fmla="*/ 28 h 111"/>
                  <a:gd name="T44" fmla="*/ 50 w 76"/>
                  <a:gd name="T45" fmla="*/ 25 h 111"/>
                  <a:gd name="T46" fmla="*/ 48 w 76"/>
                  <a:gd name="T47" fmla="*/ 22 h 111"/>
                  <a:gd name="T48" fmla="*/ 44 w 76"/>
                  <a:gd name="T49" fmla="*/ 18 h 111"/>
                  <a:gd name="T50" fmla="*/ 41 w 76"/>
                  <a:gd name="T51" fmla="*/ 17 h 111"/>
                  <a:gd name="T52" fmla="*/ 37 w 76"/>
                  <a:gd name="T53" fmla="*/ 16 h 111"/>
                  <a:gd name="T54" fmla="*/ 33 w 76"/>
                  <a:gd name="T55" fmla="*/ 17 h 111"/>
                  <a:gd name="T56" fmla="*/ 28 w 76"/>
                  <a:gd name="T57" fmla="*/ 19 h 111"/>
                  <a:gd name="T58" fmla="*/ 25 w 76"/>
                  <a:gd name="T59" fmla="*/ 22 h 111"/>
                  <a:gd name="T60" fmla="*/ 23 w 76"/>
                  <a:gd name="T61" fmla="*/ 26 h 111"/>
                  <a:gd name="T62" fmla="*/ 22 w 76"/>
                  <a:gd name="T63" fmla="*/ 30 h 111"/>
                  <a:gd name="T64" fmla="*/ 21 w 76"/>
                  <a:gd name="T65" fmla="*/ 35 h 111"/>
                  <a:gd name="T66" fmla="*/ 0 w 76"/>
                  <a:gd name="T67" fmla="*/ 35 h 111"/>
                  <a:gd name="T68" fmla="*/ 0 w 76"/>
                  <a:gd name="T69" fmla="*/ 35 h 111"/>
                  <a:gd name="T70" fmla="*/ 2 w 76"/>
                  <a:gd name="T71" fmla="*/ 22 h 111"/>
                  <a:gd name="T72" fmla="*/ 9 w 76"/>
                  <a:gd name="T73" fmla="*/ 10 h 111"/>
                  <a:gd name="T74" fmla="*/ 17 w 76"/>
                  <a:gd name="T75" fmla="*/ 4 h 111"/>
                  <a:gd name="T76" fmla="*/ 26 w 76"/>
                  <a:gd name="T77" fmla="*/ 1 h 111"/>
                  <a:gd name="T78" fmla="*/ 37 w 76"/>
                  <a:gd name="T7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6" h="111">
                    <a:moveTo>
                      <a:pt x="37" y="0"/>
                    </a:moveTo>
                    <a:lnTo>
                      <a:pt x="52" y="2"/>
                    </a:lnTo>
                    <a:lnTo>
                      <a:pt x="64" y="9"/>
                    </a:lnTo>
                    <a:lnTo>
                      <a:pt x="71" y="18"/>
                    </a:lnTo>
                    <a:lnTo>
                      <a:pt x="73" y="32"/>
                    </a:lnTo>
                    <a:lnTo>
                      <a:pt x="72" y="42"/>
                    </a:lnTo>
                    <a:lnTo>
                      <a:pt x="68" y="50"/>
                    </a:lnTo>
                    <a:lnTo>
                      <a:pt x="60" y="60"/>
                    </a:lnTo>
                    <a:lnTo>
                      <a:pt x="50" y="73"/>
                    </a:lnTo>
                    <a:lnTo>
                      <a:pt x="31" y="94"/>
                    </a:lnTo>
                    <a:lnTo>
                      <a:pt x="31" y="94"/>
                    </a:lnTo>
                    <a:lnTo>
                      <a:pt x="76" y="94"/>
                    </a:lnTo>
                    <a:lnTo>
                      <a:pt x="76" y="111"/>
                    </a:lnTo>
                    <a:lnTo>
                      <a:pt x="2" y="111"/>
                    </a:lnTo>
                    <a:lnTo>
                      <a:pt x="2" y="97"/>
                    </a:lnTo>
                    <a:lnTo>
                      <a:pt x="37" y="59"/>
                    </a:lnTo>
                    <a:lnTo>
                      <a:pt x="41" y="54"/>
                    </a:lnTo>
                    <a:lnTo>
                      <a:pt x="45" y="48"/>
                    </a:lnTo>
                    <a:lnTo>
                      <a:pt x="48" y="44"/>
                    </a:lnTo>
                    <a:lnTo>
                      <a:pt x="51" y="38"/>
                    </a:lnTo>
                    <a:lnTo>
                      <a:pt x="51" y="32"/>
                    </a:lnTo>
                    <a:lnTo>
                      <a:pt x="51" y="28"/>
                    </a:lnTo>
                    <a:lnTo>
                      <a:pt x="50" y="25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1" y="17"/>
                    </a:lnTo>
                    <a:lnTo>
                      <a:pt x="37" y="16"/>
                    </a:lnTo>
                    <a:lnTo>
                      <a:pt x="33" y="17"/>
                    </a:lnTo>
                    <a:lnTo>
                      <a:pt x="28" y="19"/>
                    </a:lnTo>
                    <a:lnTo>
                      <a:pt x="25" y="22"/>
                    </a:lnTo>
                    <a:lnTo>
                      <a:pt x="23" y="26"/>
                    </a:lnTo>
                    <a:lnTo>
                      <a:pt x="22" y="30"/>
                    </a:lnTo>
                    <a:lnTo>
                      <a:pt x="21" y="35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22"/>
                    </a:lnTo>
                    <a:lnTo>
                      <a:pt x="9" y="10"/>
                    </a:lnTo>
                    <a:lnTo>
                      <a:pt x="17" y="4"/>
                    </a:lnTo>
                    <a:lnTo>
                      <a:pt x="26" y="1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Freeform 57">
                <a:extLst>
                  <a:ext uri="{FF2B5EF4-FFF2-40B4-BE49-F238E27FC236}">
                    <a16:creationId xmlns:a16="http://schemas.microsoft.com/office/drawing/2014/main" id="{248E8D8C-EC9E-4019-B1B5-607E63862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6537" y="4397375"/>
                <a:ext cx="122238" cy="179387"/>
              </a:xfrm>
              <a:custGeom>
                <a:avLst/>
                <a:gdLst>
                  <a:gd name="T0" fmla="*/ 53 w 77"/>
                  <a:gd name="T1" fmla="*/ 1 h 113"/>
                  <a:gd name="T2" fmla="*/ 71 w 77"/>
                  <a:gd name="T3" fmla="*/ 14 h 113"/>
                  <a:gd name="T4" fmla="*/ 75 w 77"/>
                  <a:gd name="T5" fmla="*/ 31 h 113"/>
                  <a:gd name="T6" fmla="*/ 73 w 77"/>
                  <a:gd name="T7" fmla="*/ 41 h 113"/>
                  <a:gd name="T8" fmla="*/ 68 w 77"/>
                  <a:gd name="T9" fmla="*/ 48 h 113"/>
                  <a:gd name="T10" fmla="*/ 58 w 77"/>
                  <a:gd name="T11" fmla="*/ 55 h 113"/>
                  <a:gd name="T12" fmla="*/ 69 w 77"/>
                  <a:gd name="T13" fmla="*/ 61 h 113"/>
                  <a:gd name="T14" fmla="*/ 75 w 77"/>
                  <a:gd name="T15" fmla="*/ 70 h 113"/>
                  <a:gd name="T16" fmla="*/ 77 w 77"/>
                  <a:gd name="T17" fmla="*/ 80 h 113"/>
                  <a:gd name="T18" fmla="*/ 72 w 77"/>
                  <a:gd name="T19" fmla="*/ 97 h 113"/>
                  <a:gd name="T20" fmla="*/ 54 w 77"/>
                  <a:gd name="T21" fmla="*/ 111 h 113"/>
                  <a:gd name="T22" fmla="*/ 24 w 77"/>
                  <a:gd name="T23" fmla="*/ 111 h 113"/>
                  <a:gd name="T24" fmla="*/ 6 w 77"/>
                  <a:gd name="T25" fmla="*/ 99 h 113"/>
                  <a:gd name="T26" fmla="*/ 0 w 77"/>
                  <a:gd name="T27" fmla="*/ 81 h 113"/>
                  <a:gd name="T28" fmla="*/ 23 w 77"/>
                  <a:gd name="T29" fmla="*/ 81 h 113"/>
                  <a:gd name="T30" fmla="*/ 24 w 77"/>
                  <a:gd name="T31" fmla="*/ 89 h 113"/>
                  <a:gd name="T32" fmla="*/ 30 w 77"/>
                  <a:gd name="T33" fmla="*/ 94 h 113"/>
                  <a:gd name="T34" fmla="*/ 39 w 77"/>
                  <a:gd name="T35" fmla="*/ 96 h 113"/>
                  <a:gd name="T36" fmla="*/ 47 w 77"/>
                  <a:gd name="T37" fmla="*/ 94 h 113"/>
                  <a:gd name="T38" fmla="*/ 53 w 77"/>
                  <a:gd name="T39" fmla="*/ 89 h 113"/>
                  <a:gd name="T40" fmla="*/ 55 w 77"/>
                  <a:gd name="T41" fmla="*/ 80 h 113"/>
                  <a:gd name="T42" fmla="*/ 53 w 77"/>
                  <a:gd name="T43" fmla="*/ 71 h 113"/>
                  <a:gd name="T44" fmla="*/ 47 w 77"/>
                  <a:gd name="T45" fmla="*/ 65 h 113"/>
                  <a:gd name="T46" fmla="*/ 38 w 77"/>
                  <a:gd name="T47" fmla="*/ 63 h 113"/>
                  <a:gd name="T48" fmla="*/ 25 w 77"/>
                  <a:gd name="T49" fmla="*/ 47 h 113"/>
                  <a:gd name="T50" fmla="*/ 42 w 77"/>
                  <a:gd name="T51" fmla="*/ 46 h 113"/>
                  <a:gd name="T52" fmla="*/ 49 w 77"/>
                  <a:gd name="T53" fmla="*/ 43 h 113"/>
                  <a:gd name="T54" fmla="*/ 53 w 77"/>
                  <a:gd name="T55" fmla="*/ 35 h 113"/>
                  <a:gd name="T56" fmla="*/ 53 w 77"/>
                  <a:gd name="T57" fmla="*/ 27 h 113"/>
                  <a:gd name="T58" fmla="*/ 49 w 77"/>
                  <a:gd name="T59" fmla="*/ 20 h 113"/>
                  <a:gd name="T60" fmla="*/ 43 w 77"/>
                  <a:gd name="T61" fmla="*/ 17 h 113"/>
                  <a:gd name="T62" fmla="*/ 34 w 77"/>
                  <a:gd name="T63" fmla="*/ 17 h 113"/>
                  <a:gd name="T64" fmla="*/ 28 w 77"/>
                  <a:gd name="T65" fmla="*/ 20 h 113"/>
                  <a:gd name="T66" fmla="*/ 24 w 77"/>
                  <a:gd name="T67" fmla="*/ 26 h 113"/>
                  <a:gd name="T68" fmla="*/ 2 w 77"/>
                  <a:gd name="T69" fmla="*/ 30 h 113"/>
                  <a:gd name="T70" fmla="*/ 5 w 77"/>
                  <a:gd name="T71" fmla="*/ 17 h 113"/>
                  <a:gd name="T72" fmla="*/ 24 w 77"/>
                  <a:gd name="T73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7" h="113">
                    <a:moveTo>
                      <a:pt x="38" y="0"/>
                    </a:moveTo>
                    <a:lnTo>
                      <a:pt x="53" y="1"/>
                    </a:lnTo>
                    <a:lnTo>
                      <a:pt x="65" y="8"/>
                    </a:lnTo>
                    <a:lnTo>
                      <a:pt x="71" y="14"/>
                    </a:lnTo>
                    <a:lnTo>
                      <a:pt x="74" y="22"/>
                    </a:lnTo>
                    <a:lnTo>
                      <a:pt x="75" y="31"/>
                    </a:lnTo>
                    <a:lnTo>
                      <a:pt x="75" y="35"/>
                    </a:lnTo>
                    <a:lnTo>
                      <a:pt x="73" y="41"/>
                    </a:lnTo>
                    <a:lnTo>
                      <a:pt x="71" y="45"/>
                    </a:lnTo>
                    <a:lnTo>
                      <a:pt x="68" y="48"/>
                    </a:lnTo>
                    <a:lnTo>
                      <a:pt x="63" y="53"/>
                    </a:lnTo>
                    <a:lnTo>
                      <a:pt x="58" y="55"/>
                    </a:lnTo>
                    <a:lnTo>
                      <a:pt x="63" y="58"/>
                    </a:lnTo>
                    <a:lnTo>
                      <a:pt x="69" y="61"/>
                    </a:lnTo>
                    <a:lnTo>
                      <a:pt x="72" y="65"/>
                    </a:lnTo>
                    <a:lnTo>
                      <a:pt x="75" y="70"/>
                    </a:lnTo>
                    <a:lnTo>
                      <a:pt x="76" y="75"/>
                    </a:lnTo>
                    <a:lnTo>
                      <a:pt x="77" y="80"/>
                    </a:lnTo>
                    <a:lnTo>
                      <a:pt x="76" y="90"/>
                    </a:lnTo>
                    <a:lnTo>
                      <a:pt x="72" y="97"/>
                    </a:lnTo>
                    <a:lnTo>
                      <a:pt x="65" y="104"/>
                    </a:lnTo>
                    <a:lnTo>
                      <a:pt x="54" y="111"/>
                    </a:lnTo>
                    <a:lnTo>
                      <a:pt x="38" y="113"/>
                    </a:lnTo>
                    <a:lnTo>
                      <a:pt x="24" y="111"/>
                    </a:lnTo>
                    <a:lnTo>
                      <a:pt x="11" y="105"/>
                    </a:lnTo>
                    <a:lnTo>
                      <a:pt x="6" y="99"/>
                    </a:lnTo>
                    <a:lnTo>
                      <a:pt x="1" y="91"/>
                    </a:lnTo>
                    <a:lnTo>
                      <a:pt x="0" y="81"/>
                    </a:lnTo>
                    <a:lnTo>
                      <a:pt x="1" y="81"/>
                    </a:lnTo>
                    <a:lnTo>
                      <a:pt x="23" y="81"/>
                    </a:lnTo>
                    <a:lnTo>
                      <a:pt x="23" y="86"/>
                    </a:lnTo>
                    <a:lnTo>
                      <a:pt x="24" y="89"/>
                    </a:lnTo>
                    <a:lnTo>
                      <a:pt x="27" y="92"/>
                    </a:lnTo>
                    <a:lnTo>
                      <a:pt x="30" y="94"/>
                    </a:lnTo>
                    <a:lnTo>
                      <a:pt x="33" y="95"/>
                    </a:lnTo>
                    <a:lnTo>
                      <a:pt x="39" y="96"/>
                    </a:lnTo>
                    <a:lnTo>
                      <a:pt x="43" y="95"/>
                    </a:lnTo>
                    <a:lnTo>
                      <a:pt x="47" y="94"/>
                    </a:lnTo>
                    <a:lnTo>
                      <a:pt x="51" y="92"/>
                    </a:lnTo>
                    <a:lnTo>
                      <a:pt x="53" y="89"/>
                    </a:lnTo>
                    <a:lnTo>
                      <a:pt x="55" y="85"/>
                    </a:lnTo>
                    <a:lnTo>
                      <a:pt x="55" y="80"/>
                    </a:lnTo>
                    <a:lnTo>
                      <a:pt x="55" y="75"/>
                    </a:lnTo>
                    <a:lnTo>
                      <a:pt x="53" y="71"/>
                    </a:lnTo>
                    <a:lnTo>
                      <a:pt x="51" y="68"/>
                    </a:lnTo>
                    <a:lnTo>
                      <a:pt x="47" y="65"/>
                    </a:lnTo>
                    <a:lnTo>
                      <a:pt x="43" y="64"/>
                    </a:lnTo>
                    <a:lnTo>
                      <a:pt x="38" y="63"/>
                    </a:lnTo>
                    <a:lnTo>
                      <a:pt x="25" y="63"/>
                    </a:lnTo>
                    <a:lnTo>
                      <a:pt x="25" y="47"/>
                    </a:lnTo>
                    <a:lnTo>
                      <a:pt x="38" y="47"/>
                    </a:lnTo>
                    <a:lnTo>
                      <a:pt x="42" y="46"/>
                    </a:lnTo>
                    <a:lnTo>
                      <a:pt x="46" y="45"/>
                    </a:lnTo>
                    <a:lnTo>
                      <a:pt x="49" y="43"/>
                    </a:lnTo>
                    <a:lnTo>
                      <a:pt x="52" y="40"/>
                    </a:lnTo>
                    <a:lnTo>
                      <a:pt x="53" y="35"/>
                    </a:lnTo>
                    <a:lnTo>
                      <a:pt x="53" y="31"/>
                    </a:lnTo>
                    <a:lnTo>
                      <a:pt x="53" y="27"/>
                    </a:lnTo>
                    <a:lnTo>
                      <a:pt x="52" y="24"/>
                    </a:lnTo>
                    <a:lnTo>
                      <a:pt x="49" y="20"/>
                    </a:lnTo>
                    <a:lnTo>
                      <a:pt x="46" y="18"/>
                    </a:lnTo>
                    <a:lnTo>
                      <a:pt x="43" y="17"/>
                    </a:lnTo>
                    <a:lnTo>
                      <a:pt x="39" y="16"/>
                    </a:lnTo>
                    <a:lnTo>
                      <a:pt x="34" y="17"/>
                    </a:lnTo>
                    <a:lnTo>
                      <a:pt x="31" y="18"/>
                    </a:lnTo>
                    <a:lnTo>
                      <a:pt x="28" y="20"/>
                    </a:lnTo>
                    <a:lnTo>
                      <a:pt x="26" y="23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" y="30"/>
                    </a:lnTo>
                    <a:lnTo>
                      <a:pt x="2" y="29"/>
                    </a:lnTo>
                    <a:lnTo>
                      <a:pt x="5" y="17"/>
                    </a:lnTo>
                    <a:lnTo>
                      <a:pt x="12" y="8"/>
                    </a:lnTo>
                    <a:lnTo>
                      <a:pt x="24" y="1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6" name="Rectangle 58">
                <a:extLst>
                  <a:ext uri="{FF2B5EF4-FFF2-40B4-BE49-F238E27FC236}">
                    <a16:creationId xmlns:a16="http://schemas.microsoft.com/office/drawing/2014/main" id="{A5F6B19C-3874-46CC-B0C1-E8C5B6FA17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74062" y="4487863"/>
                <a:ext cx="68263" cy="26987"/>
              </a:xfrm>
              <a:prstGeom prst="rect">
                <a:avLst/>
              </a:prstGeom>
              <a:solidFill>
                <a:srgbClr val="FFFFF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Freeform 59">
                <a:extLst>
                  <a:ext uri="{FF2B5EF4-FFF2-40B4-BE49-F238E27FC236}">
                    <a16:creationId xmlns:a16="http://schemas.microsoft.com/office/drawing/2014/main" id="{8E10F753-E23B-47FB-A5C0-E9486830D4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84987" y="4868863"/>
                <a:ext cx="115888" cy="180975"/>
              </a:xfrm>
              <a:custGeom>
                <a:avLst/>
                <a:gdLst>
                  <a:gd name="T0" fmla="*/ 36 w 73"/>
                  <a:gd name="T1" fmla="*/ 18 h 114"/>
                  <a:gd name="T2" fmla="*/ 33 w 73"/>
                  <a:gd name="T3" fmla="*/ 18 h 114"/>
                  <a:gd name="T4" fmla="*/ 30 w 73"/>
                  <a:gd name="T5" fmla="*/ 19 h 114"/>
                  <a:gd name="T6" fmla="*/ 27 w 73"/>
                  <a:gd name="T7" fmla="*/ 21 h 114"/>
                  <a:gd name="T8" fmla="*/ 25 w 73"/>
                  <a:gd name="T9" fmla="*/ 23 h 114"/>
                  <a:gd name="T10" fmla="*/ 22 w 73"/>
                  <a:gd name="T11" fmla="*/ 31 h 114"/>
                  <a:gd name="T12" fmla="*/ 21 w 73"/>
                  <a:gd name="T13" fmla="*/ 42 h 114"/>
                  <a:gd name="T14" fmla="*/ 21 w 73"/>
                  <a:gd name="T15" fmla="*/ 71 h 114"/>
                  <a:gd name="T16" fmla="*/ 22 w 73"/>
                  <a:gd name="T17" fmla="*/ 83 h 114"/>
                  <a:gd name="T18" fmla="*/ 25 w 73"/>
                  <a:gd name="T19" fmla="*/ 90 h 114"/>
                  <a:gd name="T20" fmla="*/ 27 w 73"/>
                  <a:gd name="T21" fmla="*/ 93 h 114"/>
                  <a:gd name="T22" fmla="*/ 30 w 73"/>
                  <a:gd name="T23" fmla="*/ 95 h 114"/>
                  <a:gd name="T24" fmla="*/ 33 w 73"/>
                  <a:gd name="T25" fmla="*/ 96 h 114"/>
                  <a:gd name="T26" fmla="*/ 36 w 73"/>
                  <a:gd name="T27" fmla="*/ 97 h 114"/>
                  <a:gd name="T28" fmla="*/ 37 w 73"/>
                  <a:gd name="T29" fmla="*/ 97 h 114"/>
                  <a:gd name="T30" fmla="*/ 40 w 73"/>
                  <a:gd name="T31" fmla="*/ 96 h 114"/>
                  <a:gd name="T32" fmla="*/ 44 w 73"/>
                  <a:gd name="T33" fmla="*/ 95 h 114"/>
                  <a:gd name="T34" fmla="*/ 46 w 73"/>
                  <a:gd name="T35" fmla="*/ 93 h 114"/>
                  <a:gd name="T36" fmla="*/ 48 w 73"/>
                  <a:gd name="T37" fmla="*/ 90 h 114"/>
                  <a:gd name="T38" fmla="*/ 51 w 73"/>
                  <a:gd name="T39" fmla="*/ 83 h 114"/>
                  <a:gd name="T40" fmla="*/ 52 w 73"/>
                  <a:gd name="T41" fmla="*/ 71 h 114"/>
                  <a:gd name="T42" fmla="*/ 52 w 73"/>
                  <a:gd name="T43" fmla="*/ 42 h 114"/>
                  <a:gd name="T44" fmla="*/ 51 w 73"/>
                  <a:gd name="T45" fmla="*/ 31 h 114"/>
                  <a:gd name="T46" fmla="*/ 48 w 73"/>
                  <a:gd name="T47" fmla="*/ 23 h 114"/>
                  <a:gd name="T48" fmla="*/ 45 w 73"/>
                  <a:gd name="T49" fmla="*/ 20 h 114"/>
                  <a:gd name="T50" fmla="*/ 41 w 73"/>
                  <a:gd name="T51" fmla="*/ 18 h 114"/>
                  <a:gd name="T52" fmla="*/ 36 w 73"/>
                  <a:gd name="T53" fmla="*/ 18 h 114"/>
                  <a:gd name="T54" fmla="*/ 36 w 73"/>
                  <a:gd name="T55" fmla="*/ 18 h 114"/>
                  <a:gd name="T56" fmla="*/ 36 w 73"/>
                  <a:gd name="T57" fmla="*/ 0 h 114"/>
                  <a:gd name="T58" fmla="*/ 36 w 73"/>
                  <a:gd name="T59" fmla="*/ 0 h 114"/>
                  <a:gd name="T60" fmla="*/ 47 w 73"/>
                  <a:gd name="T61" fmla="*/ 1 h 114"/>
                  <a:gd name="T62" fmla="*/ 56 w 73"/>
                  <a:gd name="T63" fmla="*/ 5 h 114"/>
                  <a:gd name="T64" fmla="*/ 64 w 73"/>
                  <a:gd name="T65" fmla="*/ 11 h 114"/>
                  <a:gd name="T66" fmla="*/ 69 w 73"/>
                  <a:gd name="T67" fmla="*/ 20 h 114"/>
                  <a:gd name="T68" fmla="*/ 72 w 73"/>
                  <a:gd name="T69" fmla="*/ 31 h 114"/>
                  <a:gd name="T70" fmla="*/ 73 w 73"/>
                  <a:gd name="T71" fmla="*/ 44 h 114"/>
                  <a:gd name="T72" fmla="*/ 73 w 73"/>
                  <a:gd name="T73" fmla="*/ 69 h 114"/>
                  <a:gd name="T74" fmla="*/ 72 w 73"/>
                  <a:gd name="T75" fmla="*/ 83 h 114"/>
                  <a:gd name="T76" fmla="*/ 69 w 73"/>
                  <a:gd name="T77" fmla="*/ 93 h 114"/>
                  <a:gd name="T78" fmla="*/ 64 w 73"/>
                  <a:gd name="T79" fmla="*/ 102 h 114"/>
                  <a:gd name="T80" fmla="*/ 56 w 73"/>
                  <a:gd name="T81" fmla="*/ 108 h 114"/>
                  <a:gd name="T82" fmla="*/ 48 w 73"/>
                  <a:gd name="T83" fmla="*/ 113 h 114"/>
                  <a:gd name="T84" fmla="*/ 37 w 73"/>
                  <a:gd name="T85" fmla="*/ 114 h 114"/>
                  <a:gd name="T86" fmla="*/ 36 w 73"/>
                  <a:gd name="T87" fmla="*/ 114 h 114"/>
                  <a:gd name="T88" fmla="*/ 26 w 73"/>
                  <a:gd name="T89" fmla="*/ 113 h 114"/>
                  <a:gd name="T90" fmla="*/ 17 w 73"/>
                  <a:gd name="T91" fmla="*/ 108 h 114"/>
                  <a:gd name="T92" fmla="*/ 9 w 73"/>
                  <a:gd name="T93" fmla="*/ 102 h 114"/>
                  <a:gd name="T94" fmla="*/ 4 w 73"/>
                  <a:gd name="T95" fmla="*/ 93 h 114"/>
                  <a:gd name="T96" fmla="*/ 1 w 73"/>
                  <a:gd name="T97" fmla="*/ 83 h 114"/>
                  <a:gd name="T98" fmla="*/ 0 w 73"/>
                  <a:gd name="T99" fmla="*/ 69 h 114"/>
                  <a:gd name="T100" fmla="*/ 0 w 73"/>
                  <a:gd name="T101" fmla="*/ 44 h 114"/>
                  <a:gd name="T102" fmla="*/ 1 w 73"/>
                  <a:gd name="T103" fmla="*/ 31 h 114"/>
                  <a:gd name="T104" fmla="*/ 4 w 73"/>
                  <a:gd name="T105" fmla="*/ 20 h 114"/>
                  <a:gd name="T106" fmla="*/ 9 w 73"/>
                  <a:gd name="T107" fmla="*/ 11 h 114"/>
                  <a:gd name="T108" fmla="*/ 17 w 73"/>
                  <a:gd name="T109" fmla="*/ 5 h 114"/>
                  <a:gd name="T110" fmla="*/ 25 w 73"/>
                  <a:gd name="T111" fmla="*/ 1 h 114"/>
                  <a:gd name="T112" fmla="*/ 36 w 73"/>
                  <a:gd name="T1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" h="114">
                    <a:moveTo>
                      <a:pt x="36" y="18"/>
                    </a:moveTo>
                    <a:lnTo>
                      <a:pt x="33" y="18"/>
                    </a:lnTo>
                    <a:lnTo>
                      <a:pt x="30" y="19"/>
                    </a:lnTo>
                    <a:lnTo>
                      <a:pt x="27" y="21"/>
                    </a:lnTo>
                    <a:lnTo>
                      <a:pt x="25" y="23"/>
                    </a:lnTo>
                    <a:lnTo>
                      <a:pt x="22" y="31"/>
                    </a:lnTo>
                    <a:lnTo>
                      <a:pt x="21" y="42"/>
                    </a:lnTo>
                    <a:lnTo>
                      <a:pt x="21" y="71"/>
                    </a:lnTo>
                    <a:lnTo>
                      <a:pt x="22" y="83"/>
                    </a:lnTo>
                    <a:lnTo>
                      <a:pt x="25" y="90"/>
                    </a:lnTo>
                    <a:lnTo>
                      <a:pt x="27" y="93"/>
                    </a:lnTo>
                    <a:lnTo>
                      <a:pt x="30" y="95"/>
                    </a:lnTo>
                    <a:lnTo>
                      <a:pt x="33" y="96"/>
                    </a:lnTo>
                    <a:lnTo>
                      <a:pt x="36" y="97"/>
                    </a:lnTo>
                    <a:lnTo>
                      <a:pt x="37" y="97"/>
                    </a:lnTo>
                    <a:lnTo>
                      <a:pt x="40" y="96"/>
                    </a:lnTo>
                    <a:lnTo>
                      <a:pt x="44" y="95"/>
                    </a:lnTo>
                    <a:lnTo>
                      <a:pt x="46" y="93"/>
                    </a:lnTo>
                    <a:lnTo>
                      <a:pt x="48" y="90"/>
                    </a:lnTo>
                    <a:lnTo>
                      <a:pt x="51" y="83"/>
                    </a:lnTo>
                    <a:lnTo>
                      <a:pt x="52" y="71"/>
                    </a:lnTo>
                    <a:lnTo>
                      <a:pt x="52" y="42"/>
                    </a:lnTo>
                    <a:lnTo>
                      <a:pt x="51" y="31"/>
                    </a:lnTo>
                    <a:lnTo>
                      <a:pt x="48" y="23"/>
                    </a:lnTo>
                    <a:lnTo>
                      <a:pt x="45" y="20"/>
                    </a:lnTo>
                    <a:lnTo>
                      <a:pt x="41" y="18"/>
                    </a:lnTo>
                    <a:lnTo>
                      <a:pt x="36" y="18"/>
                    </a:lnTo>
                    <a:lnTo>
                      <a:pt x="36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47" y="1"/>
                    </a:lnTo>
                    <a:lnTo>
                      <a:pt x="56" y="5"/>
                    </a:lnTo>
                    <a:lnTo>
                      <a:pt x="64" y="11"/>
                    </a:lnTo>
                    <a:lnTo>
                      <a:pt x="69" y="20"/>
                    </a:lnTo>
                    <a:lnTo>
                      <a:pt x="72" y="31"/>
                    </a:lnTo>
                    <a:lnTo>
                      <a:pt x="73" y="44"/>
                    </a:lnTo>
                    <a:lnTo>
                      <a:pt x="73" y="69"/>
                    </a:lnTo>
                    <a:lnTo>
                      <a:pt x="72" y="83"/>
                    </a:lnTo>
                    <a:lnTo>
                      <a:pt x="69" y="93"/>
                    </a:lnTo>
                    <a:lnTo>
                      <a:pt x="64" y="102"/>
                    </a:lnTo>
                    <a:lnTo>
                      <a:pt x="56" y="108"/>
                    </a:lnTo>
                    <a:lnTo>
                      <a:pt x="48" y="113"/>
                    </a:lnTo>
                    <a:lnTo>
                      <a:pt x="37" y="114"/>
                    </a:lnTo>
                    <a:lnTo>
                      <a:pt x="36" y="114"/>
                    </a:lnTo>
                    <a:lnTo>
                      <a:pt x="26" y="113"/>
                    </a:lnTo>
                    <a:lnTo>
                      <a:pt x="17" y="108"/>
                    </a:lnTo>
                    <a:lnTo>
                      <a:pt x="9" y="102"/>
                    </a:lnTo>
                    <a:lnTo>
                      <a:pt x="4" y="93"/>
                    </a:lnTo>
                    <a:lnTo>
                      <a:pt x="1" y="83"/>
                    </a:lnTo>
                    <a:lnTo>
                      <a:pt x="0" y="69"/>
                    </a:lnTo>
                    <a:lnTo>
                      <a:pt x="0" y="44"/>
                    </a:lnTo>
                    <a:lnTo>
                      <a:pt x="1" y="31"/>
                    </a:lnTo>
                    <a:lnTo>
                      <a:pt x="4" y="20"/>
                    </a:lnTo>
                    <a:lnTo>
                      <a:pt x="9" y="11"/>
                    </a:lnTo>
                    <a:lnTo>
                      <a:pt x="17" y="5"/>
                    </a:lnTo>
                    <a:lnTo>
                      <a:pt x="25" y="1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60">
                <a:extLst>
                  <a:ext uri="{FF2B5EF4-FFF2-40B4-BE49-F238E27FC236}">
                    <a16:creationId xmlns:a16="http://schemas.microsoft.com/office/drawing/2014/main" id="{1CD20F3D-B4D4-412F-AF97-6DB59AF8C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5687" y="4922838"/>
                <a:ext cx="57150" cy="63500"/>
              </a:xfrm>
              <a:custGeom>
                <a:avLst/>
                <a:gdLst>
                  <a:gd name="T0" fmla="*/ 18 w 36"/>
                  <a:gd name="T1" fmla="*/ 0 h 40"/>
                  <a:gd name="T2" fmla="*/ 22 w 36"/>
                  <a:gd name="T3" fmla="*/ 0 h 40"/>
                  <a:gd name="T4" fmla="*/ 27 w 36"/>
                  <a:gd name="T5" fmla="*/ 2 h 40"/>
                  <a:gd name="T6" fmla="*/ 31 w 36"/>
                  <a:gd name="T7" fmla="*/ 4 h 40"/>
                  <a:gd name="T8" fmla="*/ 33 w 36"/>
                  <a:gd name="T9" fmla="*/ 8 h 40"/>
                  <a:gd name="T10" fmla="*/ 35 w 36"/>
                  <a:gd name="T11" fmla="*/ 12 h 40"/>
                  <a:gd name="T12" fmla="*/ 36 w 36"/>
                  <a:gd name="T13" fmla="*/ 17 h 40"/>
                  <a:gd name="T14" fmla="*/ 36 w 36"/>
                  <a:gd name="T15" fmla="*/ 24 h 40"/>
                  <a:gd name="T16" fmla="*/ 35 w 36"/>
                  <a:gd name="T17" fmla="*/ 28 h 40"/>
                  <a:gd name="T18" fmla="*/ 33 w 36"/>
                  <a:gd name="T19" fmla="*/ 33 h 40"/>
                  <a:gd name="T20" fmla="*/ 31 w 36"/>
                  <a:gd name="T21" fmla="*/ 36 h 40"/>
                  <a:gd name="T22" fmla="*/ 28 w 36"/>
                  <a:gd name="T23" fmla="*/ 38 h 40"/>
                  <a:gd name="T24" fmla="*/ 22 w 36"/>
                  <a:gd name="T25" fmla="*/ 40 h 40"/>
                  <a:gd name="T26" fmla="*/ 18 w 36"/>
                  <a:gd name="T27" fmla="*/ 40 h 40"/>
                  <a:gd name="T28" fmla="*/ 13 w 36"/>
                  <a:gd name="T29" fmla="*/ 40 h 40"/>
                  <a:gd name="T30" fmla="*/ 8 w 36"/>
                  <a:gd name="T31" fmla="*/ 38 h 40"/>
                  <a:gd name="T32" fmla="*/ 4 w 36"/>
                  <a:gd name="T33" fmla="*/ 36 h 40"/>
                  <a:gd name="T34" fmla="*/ 2 w 36"/>
                  <a:gd name="T35" fmla="*/ 33 h 40"/>
                  <a:gd name="T36" fmla="*/ 0 w 36"/>
                  <a:gd name="T37" fmla="*/ 28 h 40"/>
                  <a:gd name="T38" fmla="*/ 0 w 36"/>
                  <a:gd name="T39" fmla="*/ 24 h 40"/>
                  <a:gd name="T40" fmla="*/ 0 w 36"/>
                  <a:gd name="T41" fmla="*/ 17 h 40"/>
                  <a:gd name="T42" fmla="*/ 0 w 36"/>
                  <a:gd name="T43" fmla="*/ 12 h 40"/>
                  <a:gd name="T44" fmla="*/ 2 w 36"/>
                  <a:gd name="T45" fmla="*/ 8 h 40"/>
                  <a:gd name="T46" fmla="*/ 4 w 36"/>
                  <a:gd name="T47" fmla="*/ 5 h 40"/>
                  <a:gd name="T48" fmla="*/ 8 w 36"/>
                  <a:gd name="T49" fmla="*/ 2 h 40"/>
                  <a:gd name="T50" fmla="*/ 13 w 36"/>
                  <a:gd name="T51" fmla="*/ 0 h 40"/>
                  <a:gd name="T52" fmla="*/ 18 w 36"/>
                  <a:gd name="T5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40">
                    <a:moveTo>
                      <a:pt x="18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31" y="4"/>
                    </a:lnTo>
                    <a:lnTo>
                      <a:pt x="33" y="8"/>
                    </a:lnTo>
                    <a:lnTo>
                      <a:pt x="35" y="12"/>
                    </a:lnTo>
                    <a:lnTo>
                      <a:pt x="36" y="17"/>
                    </a:lnTo>
                    <a:lnTo>
                      <a:pt x="36" y="24"/>
                    </a:lnTo>
                    <a:lnTo>
                      <a:pt x="35" y="28"/>
                    </a:lnTo>
                    <a:lnTo>
                      <a:pt x="33" y="33"/>
                    </a:lnTo>
                    <a:lnTo>
                      <a:pt x="31" y="36"/>
                    </a:lnTo>
                    <a:lnTo>
                      <a:pt x="28" y="38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3" y="40"/>
                    </a:lnTo>
                    <a:lnTo>
                      <a:pt x="8" y="38"/>
                    </a:lnTo>
                    <a:lnTo>
                      <a:pt x="4" y="36"/>
                    </a:lnTo>
                    <a:lnTo>
                      <a:pt x="2" y="33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 61">
                <a:extLst>
                  <a:ext uri="{FF2B5EF4-FFF2-40B4-BE49-F238E27FC236}">
                    <a16:creationId xmlns:a16="http://schemas.microsoft.com/office/drawing/2014/main" id="{73E6FFD6-42E3-4909-880C-5B86C3F21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8125" y="4902200"/>
                <a:ext cx="120650" cy="127000"/>
              </a:xfrm>
              <a:custGeom>
                <a:avLst/>
                <a:gdLst>
                  <a:gd name="T0" fmla="*/ 28 w 76"/>
                  <a:gd name="T1" fmla="*/ 0 h 80"/>
                  <a:gd name="T2" fmla="*/ 50 w 76"/>
                  <a:gd name="T3" fmla="*/ 0 h 80"/>
                  <a:gd name="T4" fmla="*/ 50 w 76"/>
                  <a:gd name="T5" fmla="*/ 30 h 80"/>
                  <a:gd name="T6" fmla="*/ 76 w 76"/>
                  <a:gd name="T7" fmla="*/ 30 h 80"/>
                  <a:gd name="T8" fmla="*/ 76 w 76"/>
                  <a:gd name="T9" fmla="*/ 49 h 80"/>
                  <a:gd name="T10" fmla="*/ 50 w 76"/>
                  <a:gd name="T11" fmla="*/ 49 h 80"/>
                  <a:gd name="T12" fmla="*/ 50 w 76"/>
                  <a:gd name="T13" fmla="*/ 80 h 80"/>
                  <a:gd name="T14" fmla="*/ 28 w 76"/>
                  <a:gd name="T15" fmla="*/ 80 h 80"/>
                  <a:gd name="T16" fmla="*/ 28 w 76"/>
                  <a:gd name="T17" fmla="*/ 49 h 80"/>
                  <a:gd name="T18" fmla="*/ 0 w 76"/>
                  <a:gd name="T19" fmla="*/ 49 h 80"/>
                  <a:gd name="T20" fmla="*/ 0 w 76"/>
                  <a:gd name="T21" fmla="*/ 30 h 80"/>
                  <a:gd name="T22" fmla="*/ 28 w 76"/>
                  <a:gd name="T23" fmla="*/ 30 h 80"/>
                  <a:gd name="T24" fmla="*/ 28 w 76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0">
                    <a:moveTo>
                      <a:pt x="28" y="0"/>
                    </a:moveTo>
                    <a:lnTo>
                      <a:pt x="50" y="0"/>
                    </a:lnTo>
                    <a:lnTo>
                      <a:pt x="50" y="30"/>
                    </a:lnTo>
                    <a:lnTo>
                      <a:pt x="76" y="30"/>
                    </a:lnTo>
                    <a:lnTo>
                      <a:pt x="76" y="49"/>
                    </a:lnTo>
                    <a:lnTo>
                      <a:pt x="50" y="49"/>
                    </a:lnTo>
                    <a:lnTo>
                      <a:pt x="50" y="80"/>
                    </a:lnTo>
                    <a:lnTo>
                      <a:pt x="28" y="80"/>
                    </a:lnTo>
                    <a:lnTo>
                      <a:pt x="28" y="49"/>
                    </a:lnTo>
                    <a:lnTo>
                      <a:pt x="0" y="49"/>
                    </a:lnTo>
                    <a:lnTo>
                      <a:pt x="0" y="30"/>
                    </a:lnTo>
                    <a:lnTo>
                      <a:pt x="28" y="3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 62">
                <a:extLst>
                  <a:ext uri="{FF2B5EF4-FFF2-40B4-BE49-F238E27FC236}">
                    <a16:creationId xmlns:a16="http://schemas.microsoft.com/office/drawing/2014/main" id="{D110C3F3-B4D8-4120-BD98-F71DFF9943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51837" y="4927600"/>
                <a:ext cx="109538" cy="79375"/>
              </a:xfrm>
              <a:custGeom>
                <a:avLst/>
                <a:gdLst>
                  <a:gd name="T0" fmla="*/ 0 w 69"/>
                  <a:gd name="T1" fmla="*/ 32 h 50"/>
                  <a:gd name="T2" fmla="*/ 69 w 69"/>
                  <a:gd name="T3" fmla="*/ 32 h 50"/>
                  <a:gd name="T4" fmla="*/ 69 w 69"/>
                  <a:gd name="T5" fmla="*/ 50 h 50"/>
                  <a:gd name="T6" fmla="*/ 0 w 69"/>
                  <a:gd name="T7" fmla="*/ 50 h 50"/>
                  <a:gd name="T8" fmla="*/ 0 w 69"/>
                  <a:gd name="T9" fmla="*/ 32 h 50"/>
                  <a:gd name="T10" fmla="*/ 0 w 69"/>
                  <a:gd name="T11" fmla="*/ 0 h 50"/>
                  <a:gd name="T12" fmla="*/ 69 w 69"/>
                  <a:gd name="T13" fmla="*/ 0 h 50"/>
                  <a:gd name="T14" fmla="*/ 69 w 69"/>
                  <a:gd name="T15" fmla="*/ 17 h 50"/>
                  <a:gd name="T16" fmla="*/ 0 w 69"/>
                  <a:gd name="T17" fmla="*/ 17 h 50"/>
                  <a:gd name="T18" fmla="*/ 0 w 6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50">
                    <a:moveTo>
                      <a:pt x="0" y="32"/>
                    </a:moveTo>
                    <a:lnTo>
                      <a:pt x="69" y="32"/>
                    </a:lnTo>
                    <a:lnTo>
                      <a:pt x="69" y="50"/>
                    </a:lnTo>
                    <a:lnTo>
                      <a:pt x="0" y="50"/>
                    </a:lnTo>
                    <a:lnTo>
                      <a:pt x="0" y="32"/>
                    </a:lnTo>
                    <a:close/>
                    <a:moveTo>
                      <a:pt x="0" y="0"/>
                    </a:moveTo>
                    <a:lnTo>
                      <a:pt x="69" y="0"/>
                    </a:lnTo>
                    <a:lnTo>
                      <a:pt x="69" y="17"/>
                    </a:lnTo>
                    <a:lnTo>
                      <a:pt x="0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C98A3D39-8999-4CC8-8ADD-0B69E8B7AB4D}"/>
                </a:ext>
              </a:extLst>
            </p:cNvPr>
            <p:cNvGrpSpPr/>
            <p:nvPr/>
          </p:nvGrpSpPr>
          <p:grpSpPr>
            <a:xfrm>
              <a:off x="9099549" y="2667000"/>
              <a:ext cx="1879600" cy="965200"/>
              <a:chOff x="8837612" y="1447800"/>
              <a:chExt cx="1879600" cy="965200"/>
            </a:xfrm>
          </p:grpSpPr>
          <p:sp>
            <p:nvSpPr>
              <p:cNvPr id="206" name="Freeform 63">
                <a:extLst>
                  <a:ext uri="{FF2B5EF4-FFF2-40B4-BE49-F238E27FC236}">
                    <a16:creationId xmlns:a16="http://schemas.microsoft.com/office/drawing/2014/main" id="{D495EA8B-F972-47C7-A8E4-473C54DC3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879600" cy="965200"/>
              </a:xfrm>
              <a:custGeom>
                <a:avLst/>
                <a:gdLst>
                  <a:gd name="T0" fmla="*/ 0 w 1184"/>
                  <a:gd name="T1" fmla="*/ 0 h 608"/>
                  <a:gd name="T2" fmla="*/ 151 w 1184"/>
                  <a:gd name="T3" fmla="*/ 5 h 608"/>
                  <a:gd name="T4" fmla="*/ 1165 w 1184"/>
                  <a:gd name="T5" fmla="*/ 496 h 608"/>
                  <a:gd name="T6" fmla="*/ 1176 w 1184"/>
                  <a:gd name="T7" fmla="*/ 503 h 608"/>
                  <a:gd name="T8" fmla="*/ 1182 w 1184"/>
                  <a:gd name="T9" fmla="*/ 514 h 608"/>
                  <a:gd name="T10" fmla="*/ 1184 w 1184"/>
                  <a:gd name="T11" fmla="*/ 527 h 608"/>
                  <a:gd name="T12" fmla="*/ 1180 w 1184"/>
                  <a:gd name="T13" fmla="*/ 540 h 608"/>
                  <a:gd name="T14" fmla="*/ 1157 w 1184"/>
                  <a:gd name="T15" fmla="*/ 590 h 608"/>
                  <a:gd name="T16" fmla="*/ 1148 w 1184"/>
                  <a:gd name="T17" fmla="*/ 599 h 608"/>
                  <a:gd name="T18" fmla="*/ 1137 w 1184"/>
                  <a:gd name="T19" fmla="*/ 606 h 608"/>
                  <a:gd name="T20" fmla="*/ 1125 w 1184"/>
                  <a:gd name="T21" fmla="*/ 608 h 608"/>
                  <a:gd name="T22" fmla="*/ 1112 w 1184"/>
                  <a:gd name="T23" fmla="*/ 605 h 608"/>
                  <a:gd name="T24" fmla="*/ 98 w 1184"/>
                  <a:gd name="T25" fmla="*/ 115 h 608"/>
                  <a:gd name="T26" fmla="*/ 0 w 1184"/>
                  <a:gd name="T27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4" h="608">
                    <a:moveTo>
                      <a:pt x="0" y="0"/>
                    </a:moveTo>
                    <a:lnTo>
                      <a:pt x="151" y="5"/>
                    </a:lnTo>
                    <a:lnTo>
                      <a:pt x="1165" y="496"/>
                    </a:lnTo>
                    <a:lnTo>
                      <a:pt x="1176" y="503"/>
                    </a:lnTo>
                    <a:lnTo>
                      <a:pt x="1182" y="514"/>
                    </a:lnTo>
                    <a:lnTo>
                      <a:pt x="1184" y="527"/>
                    </a:lnTo>
                    <a:lnTo>
                      <a:pt x="1180" y="540"/>
                    </a:lnTo>
                    <a:lnTo>
                      <a:pt x="1157" y="590"/>
                    </a:lnTo>
                    <a:lnTo>
                      <a:pt x="1148" y="599"/>
                    </a:lnTo>
                    <a:lnTo>
                      <a:pt x="1137" y="606"/>
                    </a:lnTo>
                    <a:lnTo>
                      <a:pt x="1125" y="608"/>
                    </a:lnTo>
                    <a:lnTo>
                      <a:pt x="1112" y="605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7" name="Freeform 64">
                <a:extLst>
                  <a:ext uri="{FF2B5EF4-FFF2-40B4-BE49-F238E27FC236}">
                    <a16:creationId xmlns:a16="http://schemas.microsoft.com/office/drawing/2014/main" id="{7F7D8B92-86D0-4C0C-ACF3-B506FA076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854200" cy="965200"/>
              </a:xfrm>
              <a:custGeom>
                <a:avLst/>
                <a:gdLst>
                  <a:gd name="T0" fmla="*/ 0 w 1168"/>
                  <a:gd name="T1" fmla="*/ 0 h 608"/>
                  <a:gd name="T2" fmla="*/ 129 w 1168"/>
                  <a:gd name="T3" fmla="*/ 63 h 608"/>
                  <a:gd name="T4" fmla="*/ 1168 w 1168"/>
                  <a:gd name="T5" fmla="*/ 564 h 608"/>
                  <a:gd name="T6" fmla="*/ 1157 w 1168"/>
                  <a:gd name="T7" fmla="*/ 590 h 608"/>
                  <a:gd name="T8" fmla="*/ 1148 w 1168"/>
                  <a:gd name="T9" fmla="*/ 599 h 608"/>
                  <a:gd name="T10" fmla="*/ 1137 w 1168"/>
                  <a:gd name="T11" fmla="*/ 606 h 608"/>
                  <a:gd name="T12" fmla="*/ 1125 w 1168"/>
                  <a:gd name="T13" fmla="*/ 608 h 608"/>
                  <a:gd name="T14" fmla="*/ 1112 w 1168"/>
                  <a:gd name="T15" fmla="*/ 605 h 608"/>
                  <a:gd name="T16" fmla="*/ 98 w 1168"/>
                  <a:gd name="T17" fmla="*/ 115 h 608"/>
                  <a:gd name="T18" fmla="*/ 0 w 1168"/>
                  <a:gd name="T19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8" h="608">
                    <a:moveTo>
                      <a:pt x="0" y="0"/>
                    </a:moveTo>
                    <a:lnTo>
                      <a:pt x="129" y="63"/>
                    </a:lnTo>
                    <a:lnTo>
                      <a:pt x="1168" y="564"/>
                    </a:lnTo>
                    <a:lnTo>
                      <a:pt x="1157" y="590"/>
                    </a:lnTo>
                    <a:lnTo>
                      <a:pt x="1148" y="599"/>
                    </a:lnTo>
                    <a:lnTo>
                      <a:pt x="1137" y="606"/>
                    </a:lnTo>
                    <a:lnTo>
                      <a:pt x="1125" y="608"/>
                    </a:lnTo>
                    <a:lnTo>
                      <a:pt x="1112" y="605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8" name="Freeform 66">
                <a:extLst>
                  <a:ext uri="{FF2B5EF4-FFF2-40B4-BE49-F238E27FC236}">
                    <a16:creationId xmlns:a16="http://schemas.microsoft.com/office/drawing/2014/main" id="{E1E3AB3E-E549-4BD4-9CA0-36541DFC2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746250" cy="925512"/>
              </a:xfrm>
              <a:custGeom>
                <a:avLst/>
                <a:gdLst>
                  <a:gd name="T0" fmla="*/ 0 w 1100"/>
                  <a:gd name="T1" fmla="*/ 0 h 583"/>
                  <a:gd name="T2" fmla="*/ 129 w 1100"/>
                  <a:gd name="T3" fmla="*/ 63 h 583"/>
                  <a:gd name="T4" fmla="*/ 1100 w 1100"/>
                  <a:gd name="T5" fmla="*/ 531 h 583"/>
                  <a:gd name="T6" fmla="*/ 1085 w 1100"/>
                  <a:gd name="T7" fmla="*/ 559 h 583"/>
                  <a:gd name="T8" fmla="*/ 1068 w 1100"/>
                  <a:gd name="T9" fmla="*/ 583 h 583"/>
                  <a:gd name="T10" fmla="*/ 98 w 1100"/>
                  <a:gd name="T11" fmla="*/ 115 h 583"/>
                  <a:gd name="T12" fmla="*/ 0 w 1100"/>
                  <a:gd name="T13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00" h="583">
                    <a:moveTo>
                      <a:pt x="0" y="0"/>
                    </a:moveTo>
                    <a:lnTo>
                      <a:pt x="129" y="63"/>
                    </a:lnTo>
                    <a:lnTo>
                      <a:pt x="1100" y="531"/>
                    </a:lnTo>
                    <a:lnTo>
                      <a:pt x="1085" y="559"/>
                    </a:lnTo>
                    <a:lnTo>
                      <a:pt x="1068" y="583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E7A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9" name="Freeform 67">
                <a:extLst>
                  <a:ext uri="{FF2B5EF4-FFF2-40B4-BE49-F238E27FC236}">
                    <a16:creationId xmlns:a16="http://schemas.microsoft.com/office/drawing/2014/main" id="{683643C5-9948-4C78-B51A-17F10044C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724025" cy="898525"/>
              </a:xfrm>
              <a:custGeom>
                <a:avLst/>
                <a:gdLst>
                  <a:gd name="T0" fmla="*/ 0 w 1086"/>
                  <a:gd name="T1" fmla="*/ 0 h 566"/>
                  <a:gd name="T2" fmla="*/ 151 w 1086"/>
                  <a:gd name="T3" fmla="*/ 5 h 566"/>
                  <a:gd name="T4" fmla="*/ 1086 w 1086"/>
                  <a:gd name="T5" fmla="*/ 457 h 566"/>
                  <a:gd name="T6" fmla="*/ 1072 w 1086"/>
                  <a:gd name="T7" fmla="*/ 497 h 566"/>
                  <a:gd name="T8" fmla="*/ 1055 w 1086"/>
                  <a:gd name="T9" fmla="*/ 534 h 566"/>
                  <a:gd name="T10" fmla="*/ 1034 w 1086"/>
                  <a:gd name="T11" fmla="*/ 566 h 566"/>
                  <a:gd name="T12" fmla="*/ 98 w 1086"/>
                  <a:gd name="T13" fmla="*/ 115 h 566"/>
                  <a:gd name="T14" fmla="*/ 0 w 1086"/>
                  <a:gd name="T15" fmla="*/ 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6" h="566">
                    <a:moveTo>
                      <a:pt x="0" y="0"/>
                    </a:moveTo>
                    <a:lnTo>
                      <a:pt x="151" y="5"/>
                    </a:lnTo>
                    <a:lnTo>
                      <a:pt x="1086" y="457"/>
                    </a:lnTo>
                    <a:lnTo>
                      <a:pt x="1072" y="497"/>
                    </a:lnTo>
                    <a:lnTo>
                      <a:pt x="1055" y="534"/>
                    </a:lnTo>
                    <a:lnTo>
                      <a:pt x="1034" y="566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60000"/>
                  <a:lumOff val="4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0" name="Freeform 68">
                <a:extLst>
                  <a:ext uri="{FF2B5EF4-FFF2-40B4-BE49-F238E27FC236}">
                    <a16:creationId xmlns:a16="http://schemas.microsoft.com/office/drawing/2014/main" id="{2E501446-4743-4231-99FC-C92CAE025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690688" cy="898525"/>
              </a:xfrm>
              <a:custGeom>
                <a:avLst/>
                <a:gdLst>
                  <a:gd name="T0" fmla="*/ 0 w 1065"/>
                  <a:gd name="T1" fmla="*/ 0 h 566"/>
                  <a:gd name="T2" fmla="*/ 129 w 1065"/>
                  <a:gd name="T3" fmla="*/ 63 h 566"/>
                  <a:gd name="T4" fmla="*/ 1065 w 1065"/>
                  <a:gd name="T5" fmla="*/ 514 h 566"/>
                  <a:gd name="T6" fmla="*/ 1050 w 1065"/>
                  <a:gd name="T7" fmla="*/ 542 h 566"/>
                  <a:gd name="T8" fmla="*/ 1034 w 1065"/>
                  <a:gd name="T9" fmla="*/ 566 h 566"/>
                  <a:gd name="T10" fmla="*/ 98 w 1065"/>
                  <a:gd name="T11" fmla="*/ 115 h 566"/>
                  <a:gd name="T12" fmla="*/ 0 w 1065"/>
                  <a:gd name="T13" fmla="*/ 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5" h="566">
                    <a:moveTo>
                      <a:pt x="0" y="0"/>
                    </a:moveTo>
                    <a:lnTo>
                      <a:pt x="129" y="63"/>
                    </a:lnTo>
                    <a:lnTo>
                      <a:pt x="1065" y="514"/>
                    </a:lnTo>
                    <a:lnTo>
                      <a:pt x="1050" y="542"/>
                    </a:lnTo>
                    <a:lnTo>
                      <a:pt x="1034" y="566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7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Freeform 69">
                <a:extLst>
                  <a:ext uri="{FF2B5EF4-FFF2-40B4-BE49-F238E27FC236}">
                    <a16:creationId xmlns:a16="http://schemas.microsoft.com/office/drawing/2014/main" id="{DB7244AA-5312-444D-BFF0-5201BCF5A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239713" cy="182562"/>
              </a:xfrm>
              <a:custGeom>
                <a:avLst/>
                <a:gdLst>
                  <a:gd name="T0" fmla="*/ 0 w 151"/>
                  <a:gd name="T1" fmla="*/ 0 h 115"/>
                  <a:gd name="T2" fmla="*/ 151 w 151"/>
                  <a:gd name="T3" fmla="*/ 5 h 115"/>
                  <a:gd name="T4" fmla="*/ 142 w 151"/>
                  <a:gd name="T5" fmla="*/ 34 h 115"/>
                  <a:gd name="T6" fmla="*/ 129 w 151"/>
                  <a:gd name="T7" fmla="*/ 63 h 115"/>
                  <a:gd name="T8" fmla="*/ 114 w 151"/>
                  <a:gd name="T9" fmla="*/ 89 h 115"/>
                  <a:gd name="T10" fmla="*/ 98 w 151"/>
                  <a:gd name="T11" fmla="*/ 115 h 115"/>
                  <a:gd name="T12" fmla="*/ 0 w 151"/>
                  <a:gd name="T13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15">
                    <a:moveTo>
                      <a:pt x="0" y="0"/>
                    </a:moveTo>
                    <a:lnTo>
                      <a:pt x="151" y="5"/>
                    </a:lnTo>
                    <a:lnTo>
                      <a:pt x="142" y="34"/>
                    </a:lnTo>
                    <a:lnTo>
                      <a:pt x="129" y="63"/>
                    </a:lnTo>
                    <a:lnTo>
                      <a:pt x="114" y="89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60000"/>
                  <a:lumOff val="4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Freeform 70">
                <a:extLst>
                  <a:ext uri="{FF2B5EF4-FFF2-40B4-BE49-F238E27FC236}">
                    <a16:creationId xmlns:a16="http://schemas.microsoft.com/office/drawing/2014/main" id="{1791E351-A946-4489-9AC3-F95B0A8C6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204788" cy="182562"/>
              </a:xfrm>
              <a:custGeom>
                <a:avLst/>
                <a:gdLst>
                  <a:gd name="T0" fmla="*/ 0 w 129"/>
                  <a:gd name="T1" fmla="*/ 0 h 115"/>
                  <a:gd name="T2" fmla="*/ 129 w 129"/>
                  <a:gd name="T3" fmla="*/ 63 h 115"/>
                  <a:gd name="T4" fmla="*/ 114 w 129"/>
                  <a:gd name="T5" fmla="*/ 89 h 115"/>
                  <a:gd name="T6" fmla="*/ 98 w 129"/>
                  <a:gd name="T7" fmla="*/ 115 h 115"/>
                  <a:gd name="T8" fmla="*/ 0 w 129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15">
                    <a:moveTo>
                      <a:pt x="0" y="0"/>
                    </a:moveTo>
                    <a:lnTo>
                      <a:pt x="129" y="63"/>
                    </a:lnTo>
                    <a:lnTo>
                      <a:pt x="114" y="89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Freeform 71">
                <a:extLst>
                  <a:ext uri="{FF2B5EF4-FFF2-40B4-BE49-F238E27FC236}">
                    <a16:creationId xmlns:a16="http://schemas.microsoft.com/office/drawing/2014/main" id="{6D8BED6A-54CE-4DDB-B6C5-001FEC066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79375" cy="60325"/>
              </a:xfrm>
              <a:custGeom>
                <a:avLst/>
                <a:gdLst>
                  <a:gd name="T0" fmla="*/ 0 w 50"/>
                  <a:gd name="T1" fmla="*/ 0 h 38"/>
                  <a:gd name="T2" fmla="*/ 50 w 50"/>
                  <a:gd name="T3" fmla="*/ 2 h 38"/>
                  <a:gd name="T4" fmla="*/ 43 w 50"/>
                  <a:gd name="T5" fmla="*/ 20 h 38"/>
                  <a:gd name="T6" fmla="*/ 32 w 50"/>
                  <a:gd name="T7" fmla="*/ 38 h 38"/>
                  <a:gd name="T8" fmla="*/ 0 w 50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8">
                    <a:moveTo>
                      <a:pt x="0" y="0"/>
                    </a:moveTo>
                    <a:lnTo>
                      <a:pt x="50" y="2"/>
                    </a:lnTo>
                    <a:lnTo>
                      <a:pt x="43" y="20"/>
                    </a:lnTo>
                    <a:lnTo>
                      <a:pt x="3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69702E3F-FECD-457D-BFE2-449FC065E0A0}"/>
              </a:ext>
            </a:extLst>
          </p:cNvPr>
          <p:cNvGrpSpPr/>
          <p:nvPr/>
        </p:nvGrpSpPr>
        <p:grpSpPr>
          <a:xfrm>
            <a:off x="32781" y="2450137"/>
            <a:ext cx="1108564" cy="1061352"/>
            <a:chOff x="5789613" y="1071563"/>
            <a:chExt cx="4570412" cy="4799012"/>
          </a:xfrm>
        </p:grpSpPr>
        <p:sp>
          <p:nvSpPr>
            <p:cNvPr id="263" name="Freeform 199">
              <a:extLst>
                <a:ext uri="{FF2B5EF4-FFF2-40B4-BE49-F238E27FC236}">
                  <a16:creationId xmlns:a16="http://schemas.microsoft.com/office/drawing/2014/main" id="{2979063B-10B2-4EB6-8F1A-22233A9D67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613" y="1282700"/>
              <a:ext cx="4570412" cy="4587875"/>
            </a:xfrm>
            <a:custGeom>
              <a:avLst/>
              <a:gdLst>
                <a:gd name="T0" fmla="*/ 2824 w 5758"/>
                <a:gd name="T1" fmla="*/ 5781 h 5781"/>
                <a:gd name="T2" fmla="*/ 2923 w 5758"/>
                <a:gd name="T3" fmla="*/ 5612 h 5781"/>
                <a:gd name="T4" fmla="*/ 3392 w 5758"/>
                <a:gd name="T5" fmla="*/ 5669 h 5781"/>
                <a:gd name="T6" fmla="*/ 2346 w 5758"/>
                <a:gd name="T7" fmla="*/ 5565 h 5781"/>
                <a:gd name="T8" fmla="*/ 2125 w 5758"/>
                <a:gd name="T9" fmla="*/ 5680 h 5781"/>
                <a:gd name="T10" fmla="*/ 3478 w 5758"/>
                <a:gd name="T11" fmla="*/ 5548 h 5781"/>
                <a:gd name="T12" fmla="*/ 3584 w 5758"/>
                <a:gd name="T13" fmla="*/ 5695 h 5781"/>
                <a:gd name="T14" fmla="*/ 1656 w 5758"/>
                <a:gd name="T15" fmla="*/ 5323 h 5781"/>
                <a:gd name="T16" fmla="*/ 1549 w 5758"/>
                <a:gd name="T17" fmla="*/ 5456 h 5781"/>
                <a:gd name="T18" fmla="*/ 4332 w 5758"/>
                <a:gd name="T19" fmla="*/ 5334 h 5781"/>
                <a:gd name="T20" fmla="*/ 4029 w 5758"/>
                <a:gd name="T21" fmla="*/ 5462 h 5781"/>
                <a:gd name="T22" fmla="*/ 995 w 5758"/>
                <a:gd name="T23" fmla="*/ 4873 h 5781"/>
                <a:gd name="T24" fmla="*/ 1132 w 5758"/>
                <a:gd name="T25" fmla="*/ 5146 h 5781"/>
                <a:gd name="T26" fmla="*/ 941 w 5758"/>
                <a:gd name="T27" fmla="*/ 4882 h 5781"/>
                <a:gd name="T28" fmla="*/ 4729 w 5758"/>
                <a:gd name="T29" fmla="*/ 5110 h 5781"/>
                <a:gd name="T30" fmla="*/ 4696 w 5758"/>
                <a:gd name="T31" fmla="*/ 4917 h 5781"/>
                <a:gd name="T32" fmla="*/ 711 w 5758"/>
                <a:gd name="T33" fmla="*/ 4534 h 5781"/>
                <a:gd name="T34" fmla="*/ 496 w 5758"/>
                <a:gd name="T35" fmla="*/ 4521 h 5781"/>
                <a:gd name="T36" fmla="*/ 5273 w 5758"/>
                <a:gd name="T37" fmla="*/ 4506 h 5781"/>
                <a:gd name="T38" fmla="*/ 5059 w 5758"/>
                <a:gd name="T39" fmla="*/ 4519 h 5781"/>
                <a:gd name="T40" fmla="*/ 332 w 5758"/>
                <a:gd name="T41" fmla="*/ 3843 h 5781"/>
                <a:gd name="T42" fmla="*/ 244 w 5758"/>
                <a:gd name="T43" fmla="*/ 4063 h 5781"/>
                <a:gd name="T44" fmla="*/ 5528 w 5758"/>
                <a:gd name="T45" fmla="*/ 3754 h 5781"/>
                <a:gd name="T46" fmla="*/ 5480 w 5758"/>
                <a:gd name="T47" fmla="*/ 4075 h 5781"/>
                <a:gd name="T48" fmla="*/ 5451 w 5758"/>
                <a:gd name="T49" fmla="*/ 3791 h 5781"/>
                <a:gd name="T50" fmla="*/ 200 w 5758"/>
                <a:gd name="T51" fmla="*/ 3351 h 5781"/>
                <a:gd name="T52" fmla="*/ 15 w 5758"/>
                <a:gd name="T53" fmla="*/ 3241 h 5781"/>
                <a:gd name="T54" fmla="*/ 5742 w 5758"/>
                <a:gd name="T55" fmla="*/ 3276 h 5781"/>
                <a:gd name="T56" fmla="*/ 5575 w 5758"/>
                <a:gd name="T57" fmla="*/ 3254 h 5781"/>
                <a:gd name="T58" fmla="*/ 179 w 5758"/>
                <a:gd name="T59" fmla="*/ 2561 h 5781"/>
                <a:gd name="T60" fmla="*/ 169 w 5758"/>
                <a:gd name="T61" fmla="*/ 2672 h 5781"/>
                <a:gd name="T62" fmla="*/ 0 w 5758"/>
                <a:gd name="T63" fmla="*/ 2678 h 5781"/>
                <a:gd name="T64" fmla="*/ 13 w 5758"/>
                <a:gd name="T65" fmla="*/ 2559 h 5781"/>
                <a:gd name="T66" fmla="*/ 5746 w 5758"/>
                <a:gd name="T67" fmla="*/ 2540 h 5781"/>
                <a:gd name="T68" fmla="*/ 5590 w 5758"/>
                <a:gd name="T69" fmla="*/ 2663 h 5781"/>
                <a:gd name="T70" fmla="*/ 346 w 5758"/>
                <a:gd name="T71" fmla="*/ 1869 h 5781"/>
                <a:gd name="T72" fmla="*/ 308 w 5758"/>
                <a:gd name="T73" fmla="*/ 2005 h 5781"/>
                <a:gd name="T74" fmla="*/ 128 w 5758"/>
                <a:gd name="T75" fmla="*/ 2067 h 5781"/>
                <a:gd name="T76" fmla="*/ 161 w 5758"/>
                <a:gd name="T77" fmla="*/ 1917 h 5781"/>
                <a:gd name="T78" fmla="*/ 5557 w 5758"/>
                <a:gd name="T79" fmla="*/ 1816 h 5781"/>
                <a:gd name="T80" fmla="*/ 5520 w 5758"/>
                <a:gd name="T81" fmla="*/ 2108 h 5781"/>
                <a:gd name="T82" fmla="*/ 5473 w 5758"/>
                <a:gd name="T83" fmla="*/ 1789 h 5781"/>
                <a:gd name="T84" fmla="*/ 5313 w 5758"/>
                <a:gd name="T85" fmla="*/ 1491 h 5781"/>
                <a:gd name="T86" fmla="*/ 5126 w 5758"/>
                <a:gd name="T87" fmla="*/ 1213 h 5781"/>
                <a:gd name="T88" fmla="*/ 4910 w 5758"/>
                <a:gd name="T89" fmla="*/ 837 h 5781"/>
                <a:gd name="T90" fmla="*/ 4683 w 5758"/>
                <a:gd name="T91" fmla="*/ 853 h 5781"/>
                <a:gd name="T92" fmla="*/ 4346 w 5758"/>
                <a:gd name="T93" fmla="*/ 400 h 5781"/>
                <a:gd name="T94" fmla="*/ 4176 w 5758"/>
                <a:gd name="T95" fmla="*/ 496 h 5781"/>
                <a:gd name="T96" fmla="*/ 1826 w 5758"/>
                <a:gd name="T97" fmla="*/ 362 h 5781"/>
                <a:gd name="T98" fmla="*/ 1711 w 5758"/>
                <a:gd name="T99" fmla="*/ 431 h 5781"/>
                <a:gd name="T100" fmla="*/ 1551 w 5758"/>
                <a:gd name="T101" fmla="*/ 459 h 5781"/>
                <a:gd name="T102" fmla="*/ 1625 w 5758"/>
                <a:gd name="T103" fmla="*/ 287 h 5781"/>
                <a:gd name="T104" fmla="*/ 1720 w 5758"/>
                <a:gd name="T105" fmla="*/ 243 h 5781"/>
                <a:gd name="T106" fmla="*/ 3800 w 5758"/>
                <a:gd name="T107" fmla="*/ 208 h 5781"/>
                <a:gd name="T108" fmla="*/ 3506 w 5758"/>
                <a:gd name="T109" fmla="*/ 233 h 5781"/>
                <a:gd name="T110" fmla="*/ 2432 w 5758"/>
                <a:gd name="T111" fmla="*/ 200 h 5781"/>
                <a:gd name="T112" fmla="*/ 2315 w 5758"/>
                <a:gd name="T113" fmla="*/ 226 h 5781"/>
                <a:gd name="T114" fmla="*/ 2145 w 5758"/>
                <a:gd name="T115" fmla="*/ 164 h 5781"/>
                <a:gd name="T116" fmla="*/ 2286 w 5758"/>
                <a:gd name="T117" fmla="*/ 61 h 5781"/>
                <a:gd name="T118" fmla="*/ 2892 w 5758"/>
                <a:gd name="T119" fmla="*/ 0 h 5781"/>
                <a:gd name="T120" fmla="*/ 3079 w 5758"/>
                <a:gd name="T121" fmla="*/ 171 h 5781"/>
                <a:gd name="T122" fmla="*/ 2846 w 5758"/>
                <a:gd name="T123" fmla="*/ 13 h 5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58" h="5781">
                  <a:moveTo>
                    <a:pt x="2974" y="5779"/>
                  </a:moveTo>
                  <a:lnTo>
                    <a:pt x="2973" y="5779"/>
                  </a:lnTo>
                  <a:lnTo>
                    <a:pt x="2954" y="5779"/>
                  </a:lnTo>
                  <a:lnTo>
                    <a:pt x="2936" y="5781"/>
                  </a:lnTo>
                  <a:lnTo>
                    <a:pt x="2923" y="5781"/>
                  </a:lnTo>
                  <a:lnTo>
                    <a:pt x="2918" y="5781"/>
                  </a:lnTo>
                  <a:lnTo>
                    <a:pt x="2899" y="5781"/>
                  </a:lnTo>
                  <a:lnTo>
                    <a:pt x="2879" y="5781"/>
                  </a:lnTo>
                  <a:lnTo>
                    <a:pt x="2923" y="5781"/>
                  </a:lnTo>
                  <a:lnTo>
                    <a:pt x="2974" y="5779"/>
                  </a:lnTo>
                  <a:close/>
                  <a:moveTo>
                    <a:pt x="2806" y="5612"/>
                  </a:moveTo>
                  <a:lnTo>
                    <a:pt x="2810" y="5612"/>
                  </a:lnTo>
                  <a:lnTo>
                    <a:pt x="2828" y="5612"/>
                  </a:lnTo>
                  <a:lnTo>
                    <a:pt x="2844" y="5612"/>
                  </a:lnTo>
                  <a:lnTo>
                    <a:pt x="2863" y="5614"/>
                  </a:lnTo>
                  <a:lnTo>
                    <a:pt x="2879" y="5614"/>
                  </a:lnTo>
                  <a:lnTo>
                    <a:pt x="2879" y="5781"/>
                  </a:lnTo>
                  <a:lnTo>
                    <a:pt x="2861" y="5781"/>
                  </a:lnTo>
                  <a:lnTo>
                    <a:pt x="2843" y="5781"/>
                  </a:lnTo>
                  <a:lnTo>
                    <a:pt x="2824" y="5781"/>
                  </a:lnTo>
                  <a:lnTo>
                    <a:pt x="2806" y="5779"/>
                  </a:lnTo>
                  <a:lnTo>
                    <a:pt x="2800" y="5779"/>
                  </a:lnTo>
                  <a:lnTo>
                    <a:pt x="2775" y="5775"/>
                  </a:lnTo>
                  <a:lnTo>
                    <a:pt x="2753" y="5763"/>
                  </a:lnTo>
                  <a:lnTo>
                    <a:pt x="2734" y="5744"/>
                  </a:lnTo>
                  <a:lnTo>
                    <a:pt x="2723" y="5722"/>
                  </a:lnTo>
                  <a:lnTo>
                    <a:pt x="2720" y="5698"/>
                  </a:lnTo>
                  <a:lnTo>
                    <a:pt x="2723" y="5673"/>
                  </a:lnTo>
                  <a:lnTo>
                    <a:pt x="2734" y="5649"/>
                  </a:lnTo>
                  <a:lnTo>
                    <a:pt x="2753" y="5629"/>
                  </a:lnTo>
                  <a:lnTo>
                    <a:pt x="2778" y="5616"/>
                  </a:lnTo>
                  <a:lnTo>
                    <a:pt x="2806" y="5612"/>
                  </a:lnTo>
                  <a:close/>
                  <a:moveTo>
                    <a:pt x="2967" y="5612"/>
                  </a:moveTo>
                  <a:lnTo>
                    <a:pt x="2951" y="5612"/>
                  </a:lnTo>
                  <a:lnTo>
                    <a:pt x="2932" y="5612"/>
                  </a:lnTo>
                  <a:lnTo>
                    <a:pt x="2923" y="5612"/>
                  </a:lnTo>
                  <a:lnTo>
                    <a:pt x="2916" y="5612"/>
                  </a:lnTo>
                  <a:lnTo>
                    <a:pt x="2897" y="5614"/>
                  </a:lnTo>
                  <a:lnTo>
                    <a:pt x="2879" y="5614"/>
                  </a:lnTo>
                  <a:lnTo>
                    <a:pt x="2923" y="5612"/>
                  </a:lnTo>
                  <a:lnTo>
                    <a:pt x="2967" y="5612"/>
                  </a:lnTo>
                  <a:lnTo>
                    <a:pt x="2989" y="5614"/>
                  </a:lnTo>
                  <a:lnTo>
                    <a:pt x="3007" y="5621"/>
                  </a:lnTo>
                  <a:lnTo>
                    <a:pt x="3029" y="5636"/>
                  </a:lnTo>
                  <a:lnTo>
                    <a:pt x="3044" y="5656"/>
                  </a:lnTo>
                  <a:lnTo>
                    <a:pt x="3053" y="5680"/>
                  </a:lnTo>
                  <a:lnTo>
                    <a:pt x="3053" y="5702"/>
                  </a:lnTo>
                  <a:lnTo>
                    <a:pt x="3050" y="5726"/>
                  </a:lnTo>
                  <a:lnTo>
                    <a:pt x="3039" y="5746"/>
                  </a:lnTo>
                  <a:lnTo>
                    <a:pt x="3022" y="5763"/>
                  </a:lnTo>
                  <a:lnTo>
                    <a:pt x="3000" y="5774"/>
                  </a:lnTo>
                  <a:lnTo>
                    <a:pt x="2974" y="5779"/>
                  </a:lnTo>
                  <a:lnTo>
                    <a:pt x="2967" y="5612"/>
                  </a:lnTo>
                  <a:close/>
                  <a:moveTo>
                    <a:pt x="3451" y="5554"/>
                  </a:moveTo>
                  <a:lnTo>
                    <a:pt x="3485" y="5717"/>
                  </a:lnTo>
                  <a:lnTo>
                    <a:pt x="3465" y="5719"/>
                  </a:lnTo>
                  <a:lnTo>
                    <a:pt x="3445" y="5715"/>
                  </a:lnTo>
                  <a:lnTo>
                    <a:pt x="3427" y="5708"/>
                  </a:lnTo>
                  <a:lnTo>
                    <a:pt x="3405" y="5691"/>
                  </a:lnTo>
                  <a:lnTo>
                    <a:pt x="3392" y="5669"/>
                  </a:lnTo>
                  <a:lnTo>
                    <a:pt x="3385" y="5647"/>
                  </a:lnTo>
                  <a:lnTo>
                    <a:pt x="3387" y="5621"/>
                  </a:lnTo>
                  <a:lnTo>
                    <a:pt x="3394" y="5599"/>
                  </a:lnTo>
                  <a:lnTo>
                    <a:pt x="3407" y="5579"/>
                  </a:lnTo>
                  <a:lnTo>
                    <a:pt x="3425" y="5563"/>
                  </a:lnTo>
                  <a:lnTo>
                    <a:pt x="3451" y="5554"/>
                  </a:lnTo>
                  <a:close/>
                  <a:moveTo>
                    <a:pt x="2136" y="5515"/>
                  </a:moveTo>
                  <a:lnTo>
                    <a:pt x="2165" y="5519"/>
                  </a:lnTo>
                  <a:lnTo>
                    <a:pt x="2169" y="5519"/>
                  </a:lnTo>
                  <a:lnTo>
                    <a:pt x="2183" y="5524"/>
                  </a:lnTo>
                  <a:lnTo>
                    <a:pt x="2200" y="5528"/>
                  </a:lnTo>
                  <a:lnTo>
                    <a:pt x="2216" y="5532"/>
                  </a:lnTo>
                  <a:lnTo>
                    <a:pt x="2233" y="5535"/>
                  </a:lnTo>
                  <a:lnTo>
                    <a:pt x="2249" y="5539"/>
                  </a:lnTo>
                  <a:lnTo>
                    <a:pt x="2266" y="5544"/>
                  </a:lnTo>
                  <a:lnTo>
                    <a:pt x="2282" y="5548"/>
                  </a:lnTo>
                  <a:lnTo>
                    <a:pt x="2299" y="5552"/>
                  </a:lnTo>
                  <a:lnTo>
                    <a:pt x="2315" y="5555"/>
                  </a:lnTo>
                  <a:lnTo>
                    <a:pt x="2322" y="5555"/>
                  </a:lnTo>
                  <a:lnTo>
                    <a:pt x="2346" y="5565"/>
                  </a:lnTo>
                  <a:lnTo>
                    <a:pt x="2366" y="5581"/>
                  </a:lnTo>
                  <a:lnTo>
                    <a:pt x="2381" y="5601"/>
                  </a:lnTo>
                  <a:lnTo>
                    <a:pt x="2386" y="5623"/>
                  </a:lnTo>
                  <a:lnTo>
                    <a:pt x="2388" y="5649"/>
                  </a:lnTo>
                  <a:lnTo>
                    <a:pt x="2381" y="5671"/>
                  </a:lnTo>
                  <a:lnTo>
                    <a:pt x="2368" y="5693"/>
                  </a:lnTo>
                  <a:lnTo>
                    <a:pt x="2348" y="5709"/>
                  </a:lnTo>
                  <a:lnTo>
                    <a:pt x="2330" y="5719"/>
                  </a:lnTo>
                  <a:lnTo>
                    <a:pt x="2310" y="5722"/>
                  </a:lnTo>
                  <a:lnTo>
                    <a:pt x="2288" y="5720"/>
                  </a:lnTo>
                  <a:lnTo>
                    <a:pt x="2280" y="5719"/>
                  </a:lnTo>
                  <a:lnTo>
                    <a:pt x="2264" y="5715"/>
                  </a:lnTo>
                  <a:lnTo>
                    <a:pt x="2245" y="5711"/>
                  </a:lnTo>
                  <a:lnTo>
                    <a:pt x="2227" y="5708"/>
                  </a:lnTo>
                  <a:lnTo>
                    <a:pt x="2211" y="5702"/>
                  </a:lnTo>
                  <a:lnTo>
                    <a:pt x="2192" y="5698"/>
                  </a:lnTo>
                  <a:lnTo>
                    <a:pt x="2176" y="5695"/>
                  </a:lnTo>
                  <a:lnTo>
                    <a:pt x="2158" y="5689"/>
                  </a:lnTo>
                  <a:lnTo>
                    <a:pt x="2141" y="5686"/>
                  </a:lnTo>
                  <a:lnTo>
                    <a:pt x="2125" y="5680"/>
                  </a:lnTo>
                  <a:lnTo>
                    <a:pt x="2121" y="5680"/>
                  </a:lnTo>
                  <a:lnTo>
                    <a:pt x="2099" y="5671"/>
                  </a:lnTo>
                  <a:lnTo>
                    <a:pt x="2081" y="5656"/>
                  </a:lnTo>
                  <a:lnTo>
                    <a:pt x="2066" y="5631"/>
                  </a:lnTo>
                  <a:lnTo>
                    <a:pt x="2059" y="5605"/>
                  </a:lnTo>
                  <a:lnTo>
                    <a:pt x="2060" y="5579"/>
                  </a:lnTo>
                  <a:lnTo>
                    <a:pt x="2071" y="5555"/>
                  </a:lnTo>
                  <a:lnTo>
                    <a:pt x="2088" y="5535"/>
                  </a:lnTo>
                  <a:lnTo>
                    <a:pt x="2110" y="5522"/>
                  </a:lnTo>
                  <a:lnTo>
                    <a:pt x="2136" y="5515"/>
                  </a:lnTo>
                  <a:close/>
                  <a:moveTo>
                    <a:pt x="3608" y="5515"/>
                  </a:moveTo>
                  <a:lnTo>
                    <a:pt x="3592" y="5519"/>
                  </a:lnTo>
                  <a:lnTo>
                    <a:pt x="3575" y="5524"/>
                  </a:lnTo>
                  <a:lnTo>
                    <a:pt x="3559" y="5528"/>
                  </a:lnTo>
                  <a:lnTo>
                    <a:pt x="3548" y="5532"/>
                  </a:lnTo>
                  <a:lnTo>
                    <a:pt x="3544" y="5532"/>
                  </a:lnTo>
                  <a:lnTo>
                    <a:pt x="3528" y="5535"/>
                  </a:lnTo>
                  <a:lnTo>
                    <a:pt x="3511" y="5539"/>
                  </a:lnTo>
                  <a:lnTo>
                    <a:pt x="3495" y="5544"/>
                  </a:lnTo>
                  <a:lnTo>
                    <a:pt x="3478" y="5548"/>
                  </a:lnTo>
                  <a:lnTo>
                    <a:pt x="3462" y="5552"/>
                  </a:lnTo>
                  <a:lnTo>
                    <a:pt x="3451" y="5554"/>
                  </a:lnTo>
                  <a:lnTo>
                    <a:pt x="3548" y="5530"/>
                  </a:lnTo>
                  <a:lnTo>
                    <a:pt x="3608" y="5515"/>
                  </a:lnTo>
                  <a:close/>
                  <a:moveTo>
                    <a:pt x="3630" y="5511"/>
                  </a:moveTo>
                  <a:lnTo>
                    <a:pt x="3650" y="5513"/>
                  </a:lnTo>
                  <a:lnTo>
                    <a:pt x="3676" y="5524"/>
                  </a:lnTo>
                  <a:lnTo>
                    <a:pt x="3694" y="5541"/>
                  </a:lnTo>
                  <a:lnTo>
                    <a:pt x="3707" y="5559"/>
                  </a:lnTo>
                  <a:lnTo>
                    <a:pt x="3713" y="5583"/>
                  </a:lnTo>
                  <a:lnTo>
                    <a:pt x="3714" y="5605"/>
                  </a:lnTo>
                  <a:lnTo>
                    <a:pt x="3709" y="5629"/>
                  </a:lnTo>
                  <a:lnTo>
                    <a:pt x="3696" y="5649"/>
                  </a:lnTo>
                  <a:lnTo>
                    <a:pt x="3678" y="5665"/>
                  </a:lnTo>
                  <a:lnTo>
                    <a:pt x="3654" y="5676"/>
                  </a:lnTo>
                  <a:lnTo>
                    <a:pt x="3652" y="5676"/>
                  </a:lnTo>
                  <a:lnTo>
                    <a:pt x="3636" y="5680"/>
                  </a:lnTo>
                  <a:lnTo>
                    <a:pt x="3619" y="5686"/>
                  </a:lnTo>
                  <a:lnTo>
                    <a:pt x="3601" y="5689"/>
                  </a:lnTo>
                  <a:lnTo>
                    <a:pt x="3584" y="5695"/>
                  </a:lnTo>
                  <a:lnTo>
                    <a:pt x="3566" y="5698"/>
                  </a:lnTo>
                  <a:lnTo>
                    <a:pt x="3550" y="5702"/>
                  </a:lnTo>
                  <a:lnTo>
                    <a:pt x="3548" y="5704"/>
                  </a:lnTo>
                  <a:lnTo>
                    <a:pt x="3531" y="5708"/>
                  </a:lnTo>
                  <a:lnTo>
                    <a:pt x="3515" y="5711"/>
                  </a:lnTo>
                  <a:lnTo>
                    <a:pt x="3496" y="5715"/>
                  </a:lnTo>
                  <a:lnTo>
                    <a:pt x="3485" y="5717"/>
                  </a:lnTo>
                  <a:lnTo>
                    <a:pt x="3548" y="5616"/>
                  </a:lnTo>
                  <a:lnTo>
                    <a:pt x="3608" y="5515"/>
                  </a:lnTo>
                  <a:lnTo>
                    <a:pt x="3608" y="5515"/>
                  </a:lnTo>
                  <a:lnTo>
                    <a:pt x="3630" y="5511"/>
                  </a:lnTo>
                  <a:close/>
                  <a:moveTo>
                    <a:pt x="1537" y="5264"/>
                  </a:moveTo>
                  <a:lnTo>
                    <a:pt x="1564" y="5273"/>
                  </a:lnTo>
                  <a:lnTo>
                    <a:pt x="1570" y="5277"/>
                  </a:lnTo>
                  <a:lnTo>
                    <a:pt x="1584" y="5284"/>
                  </a:lnTo>
                  <a:lnTo>
                    <a:pt x="1599" y="5293"/>
                  </a:lnTo>
                  <a:lnTo>
                    <a:pt x="1614" y="5301"/>
                  </a:lnTo>
                  <a:lnTo>
                    <a:pt x="1626" y="5308"/>
                  </a:lnTo>
                  <a:lnTo>
                    <a:pt x="1641" y="5315"/>
                  </a:lnTo>
                  <a:lnTo>
                    <a:pt x="1656" y="5323"/>
                  </a:lnTo>
                  <a:lnTo>
                    <a:pt x="1672" y="5330"/>
                  </a:lnTo>
                  <a:lnTo>
                    <a:pt x="1687" y="5337"/>
                  </a:lnTo>
                  <a:lnTo>
                    <a:pt x="1701" y="5345"/>
                  </a:lnTo>
                  <a:lnTo>
                    <a:pt x="1709" y="5348"/>
                  </a:lnTo>
                  <a:lnTo>
                    <a:pt x="1729" y="5363"/>
                  </a:lnTo>
                  <a:lnTo>
                    <a:pt x="1744" y="5381"/>
                  </a:lnTo>
                  <a:lnTo>
                    <a:pt x="1755" y="5409"/>
                  </a:lnTo>
                  <a:lnTo>
                    <a:pt x="1755" y="5436"/>
                  </a:lnTo>
                  <a:lnTo>
                    <a:pt x="1747" y="5460"/>
                  </a:lnTo>
                  <a:lnTo>
                    <a:pt x="1733" y="5480"/>
                  </a:lnTo>
                  <a:lnTo>
                    <a:pt x="1714" y="5497"/>
                  </a:lnTo>
                  <a:lnTo>
                    <a:pt x="1691" y="5506"/>
                  </a:lnTo>
                  <a:lnTo>
                    <a:pt x="1663" y="5508"/>
                  </a:lnTo>
                  <a:lnTo>
                    <a:pt x="1636" y="5500"/>
                  </a:lnTo>
                  <a:lnTo>
                    <a:pt x="1628" y="5497"/>
                  </a:lnTo>
                  <a:lnTo>
                    <a:pt x="1612" y="5488"/>
                  </a:lnTo>
                  <a:lnTo>
                    <a:pt x="1597" y="5480"/>
                  </a:lnTo>
                  <a:lnTo>
                    <a:pt x="1581" y="5473"/>
                  </a:lnTo>
                  <a:lnTo>
                    <a:pt x="1566" y="5466"/>
                  </a:lnTo>
                  <a:lnTo>
                    <a:pt x="1549" y="5456"/>
                  </a:lnTo>
                  <a:lnTo>
                    <a:pt x="1535" y="5449"/>
                  </a:lnTo>
                  <a:lnTo>
                    <a:pt x="1518" y="5440"/>
                  </a:lnTo>
                  <a:lnTo>
                    <a:pt x="1504" y="5433"/>
                  </a:lnTo>
                  <a:lnTo>
                    <a:pt x="1489" y="5423"/>
                  </a:lnTo>
                  <a:lnTo>
                    <a:pt x="1484" y="5422"/>
                  </a:lnTo>
                  <a:lnTo>
                    <a:pt x="1463" y="5407"/>
                  </a:lnTo>
                  <a:lnTo>
                    <a:pt x="1451" y="5389"/>
                  </a:lnTo>
                  <a:lnTo>
                    <a:pt x="1441" y="5367"/>
                  </a:lnTo>
                  <a:lnTo>
                    <a:pt x="1440" y="5337"/>
                  </a:lnTo>
                  <a:lnTo>
                    <a:pt x="1449" y="5312"/>
                  </a:lnTo>
                  <a:lnTo>
                    <a:pt x="1463" y="5290"/>
                  </a:lnTo>
                  <a:lnTo>
                    <a:pt x="1484" y="5273"/>
                  </a:lnTo>
                  <a:lnTo>
                    <a:pt x="1509" y="5264"/>
                  </a:lnTo>
                  <a:lnTo>
                    <a:pt x="1537" y="5264"/>
                  </a:lnTo>
                  <a:close/>
                  <a:moveTo>
                    <a:pt x="4255" y="5256"/>
                  </a:moveTo>
                  <a:lnTo>
                    <a:pt x="4278" y="5262"/>
                  </a:lnTo>
                  <a:lnTo>
                    <a:pt x="4300" y="5275"/>
                  </a:lnTo>
                  <a:lnTo>
                    <a:pt x="4315" y="5291"/>
                  </a:lnTo>
                  <a:lnTo>
                    <a:pt x="4326" y="5312"/>
                  </a:lnTo>
                  <a:lnTo>
                    <a:pt x="4332" y="5334"/>
                  </a:lnTo>
                  <a:lnTo>
                    <a:pt x="4332" y="5356"/>
                  </a:lnTo>
                  <a:lnTo>
                    <a:pt x="4324" y="5378"/>
                  </a:lnTo>
                  <a:lnTo>
                    <a:pt x="4310" y="5398"/>
                  </a:lnTo>
                  <a:lnTo>
                    <a:pt x="4289" y="5414"/>
                  </a:lnTo>
                  <a:lnTo>
                    <a:pt x="4286" y="5416"/>
                  </a:lnTo>
                  <a:lnTo>
                    <a:pt x="4271" y="5423"/>
                  </a:lnTo>
                  <a:lnTo>
                    <a:pt x="4256" y="5433"/>
                  </a:lnTo>
                  <a:lnTo>
                    <a:pt x="4240" y="5440"/>
                  </a:lnTo>
                  <a:lnTo>
                    <a:pt x="4225" y="5449"/>
                  </a:lnTo>
                  <a:lnTo>
                    <a:pt x="4209" y="5456"/>
                  </a:lnTo>
                  <a:lnTo>
                    <a:pt x="4194" y="5466"/>
                  </a:lnTo>
                  <a:lnTo>
                    <a:pt x="4178" y="5473"/>
                  </a:lnTo>
                  <a:lnTo>
                    <a:pt x="4163" y="5480"/>
                  </a:lnTo>
                  <a:lnTo>
                    <a:pt x="4147" y="5488"/>
                  </a:lnTo>
                  <a:lnTo>
                    <a:pt x="4137" y="5493"/>
                  </a:lnTo>
                  <a:lnTo>
                    <a:pt x="4114" y="5500"/>
                  </a:lnTo>
                  <a:lnTo>
                    <a:pt x="4088" y="5500"/>
                  </a:lnTo>
                  <a:lnTo>
                    <a:pt x="4064" y="5493"/>
                  </a:lnTo>
                  <a:lnTo>
                    <a:pt x="4044" y="5480"/>
                  </a:lnTo>
                  <a:lnTo>
                    <a:pt x="4029" y="5462"/>
                  </a:lnTo>
                  <a:lnTo>
                    <a:pt x="4020" y="5442"/>
                  </a:lnTo>
                  <a:lnTo>
                    <a:pt x="4017" y="5420"/>
                  </a:lnTo>
                  <a:lnTo>
                    <a:pt x="4018" y="5398"/>
                  </a:lnTo>
                  <a:lnTo>
                    <a:pt x="4028" y="5376"/>
                  </a:lnTo>
                  <a:lnTo>
                    <a:pt x="4042" y="5357"/>
                  </a:lnTo>
                  <a:lnTo>
                    <a:pt x="4062" y="5343"/>
                  </a:lnTo>
                  <a:lnTo>
                    <a:pt x="4073" y="5337"/>
                  </a:lnTo>
                  <a:lnTo>
                    <a:pt x="4088" y="5330"/>
                  </a:lnTo>
                  <a:lnTo>
                    <a:pt x="4103" y="5323"/>
                  </a:lnTo>
                  <a:lnTo>
                    <a:pt x="4117" y="5315"/>
                  </a:lnTo>
                  <a:lnTo>
                    <a:pt x="4132" y="5308"/>
                  </a:lnTo>
                  <a:lnTo>
                    <a:pt x="4147" y="5301"/>
                  </a:lnTo>
                  <a:lnTo>
                    <a:pt x="4161" y="5293"/>
                  </a:lnTo>
                  <a:lnTo>
                    <a:pt x="4176" y="5284"/>
                  </a:lnTo>
                  <a:lnTo>
                    <a:pt x="4191" y="5277"/>
                  </a:lnTo>
                  <a:lnTo>
                    <a:pt x="4205" y="5269"/>
                  </a:lnTo>
                  <a:lnTo>
                    <a:pt x="4207" y="5267"/>
                  </a:lnTo>
                  <a:lnTo>
                    <a:pt x="4229" y="5258"/>
                  </a:lnTo>
                  <a:lnTo>
                    <a:pt x="4255" y="5256"/>
                  </a:lnTo>
                  <a:close/>
                  <a:moveTo>
                    <a:pt x="995" y="4873"/>
                  </a:moveTo>
                  <a:lnTo>
                    <a:pt x="1018" y="4881"/>
                  </a:lnTo>
                  <a:lnTo>
                    <a:pt x="1038" y="4893"/>
                  </a:lnTo>
                  <a:lnTo>
                    <a:pt x="1038" y="4895"/>
                  </a:lnTo>
                  <a:lnTo>
                    <a:pt x="1051" y="4906"/>
                  </a:lnTo>
                  <a:lnTo>
                    <a:pt x="1064" y="4917"/>
                  </a:lnTo>
                  <a:lnTo>
                    <a:pt x="1075" y="4928"/>
                  </a:lnTo>
                  <a:lnTo>
                    <a:pt x="1088" y="4939"/>
                  </a:lnTo>
                  <a:lnTo>
                    <a:pt x="1101" y="4950"/>
                  </a:lnTo>
                  <a:lnTo>
                    <a:pt x="1112" y="4959"/>
                  </a:lnTo>
                  <a:lnTo>
                    <a:pt x="1125" y="4970"/>
                  </a:lnTo>
                  <a:lnTo>
                    <a:pt x="1137" y="4981"/>
                  </a:lnTo>
                  <a:lnTo>
                    <a:pt x="1150" y="4992"/>
                  </a:lnTo>
                  <a:lnTo>
                    <a:pt x="1161" y="5002"/>
                  </a:lnTo>
                  <a:lnTo>
                    <a:pt x="1178" y="5020"/>
                  </a:lnTo>
                  <a:lnTo>
                    <a:pt x="1189" y="5042"/>
                  </a:lnTo>
                  <a:lnTo>
                    <a:pt x="1192" y="5069"/>
                  </a:lnTo>
                  <a:lnTo>
                    <a:pt x="1187" y="5095"/>
                  </a:lnTo>
                  <a:lnTo>
                    <a:pt x="1174" y="5117"/>
                  </a:lnTo>
                  <a:lnTo>
                    <a:pt x="1154" y="5135"/>
                  </a:lnTo>
                  <a:lnTo>
                    <a:pt x="1132" y="5146"/>
                  </a:lnTo>
                  <a:lnTo>
                    <a:pt x="1106" y="5150"/>
                  </a:lnTo>
                  <a:lnTo>
                    <a:pt x="1081" y="5145"/>
                  </a:lnTo>
                  <a:lnTo>
                    <a:pt x="1055" y="5130"/>
                  </a:lnTo>
                  <a:lnTo>
                    <a:pt x="1044" y="5121"/>
                  </a:lnTo>
                  <a:lnTo>
                    <a:pt x="1029" y="5110"/>
                  </a:lnTo>
                  <a:lnTo>
                    <a:pt x="1017" y="5099"/>
                  </a:lnTo>
                  <a:lnTo>
                    <a:pt x="1004" y="5088"/>
                  </a:lnTo>
                  <a:lnTo>
                    <a:pt x="991" y="5077"/>
                  </a:lnTo>
                  <a:lnTo>
                    <a:pt x="978" y="5064"/>
                  </a:lnTo>
                  <a:lnTo>
                    <a:pt x="965" y="5053"/>
                  </a:lnTo>
                  <a:lnTo>
                    <a:pt x="952" y="5042"/>
                  </a:lnTo>
                  <a:lnTo>
                    <a:pt x="940" y="5031"/>
                  </a:lnTo>
                  <a:lnTo>
                    <a:pt x="927" y="5018"/>
                  </a:lnTo>
                  <a:lnTo>
                    <a:pt x="925" y="5018"/>
                  </a:lnTo>
                  <a:lnTo>
                    <a:pt x="907" y="4994"/>
                  </a:lnTo>
                  <a:lnTo>
                    <a:pt x="899" y="4969"/>
                  </a:lnTo>
                  <a:lnTo>
                    <a:pt x="899" y="4943"/>
                  </a:lnTo>
                  <a:lnTo>
                    <a:pt x="907" y="4919"/>
                  </a:lnTo>
                  <a:lnTo>
                    <a:pt x="921" y="4899"/>
                  </a:lnTo>
                  <a:lnTo>
                    <a:pt x="941" y="4882"/>
                  </a:lnTo>
                  <a:lnTo>
                    <a:pt x="965" y="4873"/>
                  </a:lnTo>
                  <a:lnTo>
                    <a:pt x="995" y="4873"/>
                  </a:lnTo>
                  <a:close/>
                  <a:moveTo>
                    <a:pt x="4777" y="4862"/>
                  </a:moveTo>
                  <a:lnTo>
                    <a:pt x="4802" y="4864"/>
                  </a:lnTo>
                  <a:lnTo>
                    <a:pt x="4826" y="4871"/>
                  </a:lnTo>
                  <a:lnTo>
                    <a:pt x="4846" y="4886"/>
                  </a:lnTo>
                  <a:lnTo>
                    <a:pt x="4863" y="4908"/>
                  </a:lnTo>
                  <a:lnTo>
                    <a:pt x="4872" y="4934"/>
                  </a:lnTo>
                  <a:lnTo>
                    <a:pt x="4870" y="4961"/>
                  </a:lnTo>
                  <a:lnTo>
                    <a:pt x="4861" y="4985"/>
                  </a:lnTo>
                  <a:lnTo>
                    <a:pt x="4844" y="5007"/>
                  </a:lnTo>
                  <a:lnTo>
                    <a:pt x="4833" y="5018"/>
                  </a:lnTo>
                  <a:lnTo>
                    <a:pt x="4821" y="5031"/>
                  </a:lnTo>
                  <a:lnTo>
                    <a:pt x="4808" y="5042"/>
                  </a:lnTo>
                  <a:lnTo>
                    <a:pt x="4795" y="5053"/>
                  </a:lnTo>
                  <a:lnTo>
                    <a:pt x="4782" y="5064"/>
                  </a:lnTo>
                  <a:lnTo>
                    <a:pt x="4769" y="5077"/>
                  </a:lnTo>
                  <a:lnTo>
                    <a:pt x="4756" y="5088"/>
                  </a:lnTo>
                  <a:lnTo>
                    <a:pt x="4742" y="5099"/>
                  </a:lnTo>
                  <a:lnTo>
                    <a:pt x="4729" y="5110"/>
                  </a:lnTo>
                  <a:lnTo>
                    <a:pt x="4716" y="5121"/>
                  </a:lnTo>
                  <a:lnTo>
                    <a:pt x="4716" y="5121"/>
                  </a:lnTo>
                  <a:lnTo>
                    <a:pt x="4692" y="5135"/>
                  </a:lnTo>
                  <a:lnTo>
                    <a:pt x="4669" y="5141"/>
                  </a:lnTo>
                  <a:lnTo>
                    <a:pt x="4643" y="5139"/>
                  </a:lnTo>
                  <a:lnTo>
                    <a:pt x="4619" y="5130"/>
                  </a:lnTo>
                  <a:lnTo>
                    <a:pt x="4601" y="5113"/>
                  </a:lnTo>
                  <a:lnTo>
                    <a:pt x="4586" y="5091"/>
                  </a:lnTo>
                  <a:lnTo>
                    <a:pt x="4579" y="5064"/>
                  </a:lnTo>
                  <a:lnTo>
                    <a:pt x="4581" y="5038"/>
                  </a:lnTo>
                  <a:lnTo>
                    <a:pt x="4592" y="5013"/>
                  </a:lnTo>
                  <a:lnTo>
                    <a:pt x="4608" y="4992"/>
                  </a:lnTo>
                  <a:lnTo>
                    <a:pt x="4610" y="4992"/>
                  </a:lnTo>
                  <a:lnTo>
                    <a:pt x="4623" y="4981"/>
                  </a:lnTo>
                  <a:lnTo>
                    <a:pt x="4634" y="4970"/>
                  </a:lnTo>
                  <a:lnTo>
                    <a:pt x="4647" y="4959"/>
                  </a:lnTo>
                  <a:lnTo>
                    <a:pt x="4659" y="4950"/>
                  </a:lnTo>
                  <a:lnTo>
                    <a:pt x="4672" y="4939"/>
                  </a:lnTo>
                  <a:lnTo>
                    <a:pt x="4683" y="4928"/>
                  </a:lnTo>
                  <a:lnTo>
                    <a:pt x="4696" y="4917"/>
                  </a:lnTo>
                  <a:lnTo>
                    <a:pt x="4709" y="4906"/>
                  </a:lnTo>
                  <a:lnTo>
                    <a:pt x="4720" y="4895"/>
                  </a:lnTo>
                  <a:lnTo>
                    <a:pt x="4731" y="4884"/>
                  </a:lnTo>
                  <a:lnTo>
                    <a:pt x="4753" y="4870"/>
                  </a:lnTo>
                  <a:lnTo>
                    <a:pt x="4777" y="4862"/>
                  </a:lnTo>
                  <a:close/>
                  <a:moveTo>
                    <a:pt x="551" y="4363"/>
                  </a:moveTo>
                  <a:lnTo>
                    <a:pt x="575" y="4369"/>
                  </a:lnTo>
                  <a:lnTo>
                    <a:pt x="597" y="4380"/>
                  </a:lnTo>
                  <a:lnTo>
                    <a:pt x="617" y="4400"/>
                  </a:lnTo>
                  <a:lnTo>
                    <a:pt x="625" y="4413"/>
                  </a:lnTo>
                  <a:lnTo>
                    <a:pt x="634" y="4426"/>
                  </a:lnTo>
                  <a:lnTo>
                    <a:pt x="643" y="4440"/>
                  </a:lnTo>
                  <a:lnTo>
                    <a:pt x="652" y="4453"/>
                  </a:lnTo>
                  <a:lnTo>
                    <a:pt x="663" y="4466"/>
                  </a:lnTo>
                  <a:lnTo>
                    <a:pt x="672" y="4481"/>
                  </a:lnTo>
                  <a:lnTo>
                    <a:pt x="681" y="4494"/>
                  </a:lnTo>
                  <a:lnTo>
                    <a:pt x="690" y="4506"/>
                  </a:lnTo>
                  <a:lnTo>
                    <a:pt x="701" y="4519"/>
                  </a:lnTo>
                  <a:lnTo>
                    <a:pt x="711" y="4532"/>
                  </a:lnTo>
                  <a:lnTo>
                    <a:pt x="711" y="4534"/>
                  </a:lnTo>
                  <a:lnTo>
                    <a:pt x="723" y="4556"/>
                  </a:lnTo>
                  <a:lnTo>
                    <a:pt x="729" y="4578"/>
                  </a:lnTo>
                  <a:lnTo>
                    <a:pt x="727" y="4602"/>
                  </a:lnTo>
                  <a:lnTo>
                    <a:pt x="718" y="4624"/>
                  </a:lnTo>
                  <a:lnTo>
                    <a:pt x="705" y="4642"/>
                  </a:lnTo>
                  <a:lnTo>
                    <a:pt x="687" y="4657"/>
                  </a:lnTo>
                  <a:lnTo>
                    <a:pt x="663" y="4666"/>
                  </a:lnTo>
                  <a:lnTo>
                    <a:pt x="639" y="4668"/>
                  </a:lnTo>
                  <a:lnTo>
                    <a:pt x="615" y="4662"/>
                  </a:lnTo>
                  <a:lnTo>
                    <a:pt x="595" y="4651"/>
                  </a:lnTo>
                  <a:lnTo>
                    <a:pt x="579" y="4635"/>
                  </a:lnTo>
                  <a:lnTo>
                    <a:pt x="577" y="4633"/>
                  </a:lnTo>
                  <a:lnTo>
                    <a:pt x="566" y="4620"/>
                  </a:lnTo>
                  <a:lnTo>
                    <a:pt x="557" y="4605"/>
                  </a:lnTo>
                  <a:lnTo>
                    <a:pt x="546" y="4593"/>
                  </a:lnTo>
                  <a:lnTo>
                    <a:pt x="537" y="4578"/>
                  </a:lnTo>
                  <a:lnTo>
                    <a:pt x="526" y="4563"/>
                  </a:lnTo>
                  <a:lnTo>
                    <a:pt x="516" y="4550"/>
                  </a:lnTo>
                  <a:lnTo>
                    <a:pt x="506" y="4536"/>
                  </a:lnTo>
                  <a:lnTo>
                    <a:pt x="496" y="4521"/>
                  </a:lnTo>
                  <a:lnTo>
                    <a:pt x="485" y="4506"/>
                  </a:lnTo>
                  <a:lnTo>
                    <a:pt x="478" y="4495"/>
                  </a:lnTo>
                  <a:lnTo>
                    <a:pt x="471" y="4481"/>
                  </a:lnTo>
                  <a:lnTo>
                    <a:pt x="465" y="4464"/>
                  </a:lnTo>
                  <a:lnTo>
                    <a:pt x="465" y="4435"/>
                  </a:lnTo>
                  <a:lnTo>
                    <a:pt x="473" y="4411"/>
                  </a:lnTo>
                  <a:lnTo>
                    <a:pt x="485" y="4391"/>
                  </a:lnTo>
                  <a:lnTo>
                    <a:pt x="506" y="4376"/>
                  </a:lnTo>
                  <a:lnTo>
                    <a:pt x="527" y="4367"/>
                  </a:lnTo>
                  <a:lnTo>
                    <a:pt x="551" y="4363"/>
                  </a:lnTo>
                  <a:close/>
                  <a:moveTo>
                    <a:pt x="5205" y="4354"/>
                  </a:moveTo>
                  <a:lnTo>
                    <a:pt x="5235" y="4354"/>
                  </a:lnTo>
                  <a:lnTo>
                    <a:pt x="5262" y="4363"/>
                  </a:lnTo>
                  <a:lnTo>
                    <a:pt x="5282" y="4380"/>
                  </a:lnTo>
                  <a:lnTo>
                    <a:pt x="5297" y="4402"/>
                  </a:lnTo>
                  <a:lnTo>
                    <a:pt x="5304" y="4428"/>
                  </a:lnTo>
                  <a:lnTo>
                    <a:pt x="5302" y="4455"/>
                  </a:lnTo>
                  <a:lnTo>
                    <a:pt x="5289" y="4483"/>
                  </a:lnTo>
                  <a:lnTo>
                    <a:pt x="5284" y="4492"/>
                  </a:lnTo>
                  <a:lnTo>
                    <a:pt x="5273" y="4506"/>
                  </a:lnTo>
                  <a:lnTo>
                    <a:pt x="5264" y="4521"/>
                  </a:lnTo>
                  <a:lnTo>
                    <a:pt x="5255" y="4536"/>
                  </a:lnTo>
                  <a:lnTo>
                    <a:pt x="5244" y="4550"/>
                  </a:lnTo>
                  <a:lnTo>
                    <a:pt x="5235" y="4563"/>
                  </a:lnTo>
                  <a:lnTo>
                    <a:pt x="5224" y="4578"/>
                  </a:lnTo>
                  <a:lnTo>
                    <a:pt x="5214" y="4593"/>
                  </a:lnTo>
                  <a:lnTo>
                    <a:pt x="5203" y="4605"/>
                  </a:lnTo>
                  <a:lnTo>
                    <a:pt x="5192" y="4620"/>
                  </a:lnTo>
                  <a:lnTo>
                    <a:pt x="5191" y="4624"/>
                  </a:lnTo>
                  <a:lnTo>
                    <a:pt x="5170" y="4642"/>
                  </a:lnTo>
                  <a:lnTo>
                    <a:pt x="5148" y="4653"/>
                  </a:lnTo>
                  <a:lnTo>
                    <a:pt x="5123" y="4657"/>
                  </a:lnTo>
                  <a:lnTo>
                    <a:pt x="5097" y="4653"/>
                  </a:lnTo>
                  <a:lnTo>
                    <a:pt x="5073" y="4640"/>
                  </a:lnTo>
                  <a:lnTo>
                    <a:pt x="5055" y="4622"/>
                  </a:lnTo>
                  <a:lnTo>
                    <a:pt x="5044" y="4598"/>
                  </a:lnTo>
                  <a:lnTo>
                    <a:pt x="5040" y="4572"/>
                  </a:lnTo>
                  <a:lnTo>
                    <a:pt x="5044" y="4547"/>
                  </a:lnTo>
                  <a:lnTo>
                    <a:pt x="5057" y="4523"/>
                  </a:lnTo>
                  <a:lnTo>
                    <a:pt x="5059" y="4519"/>
                  </a:lnTo>
                  <a:lnTo>
                    <a:pt x="5068" y="4506"/>
                  </a:lnTo>
                  <a:lnTo>
                    <a:pt x="5079" y="4494"/>
                  </a:lnTo>
                  <a:lnTo>
                    <a:pt x="5088" y="4481"/>
                  </a:lnTo>
                  <a:lnTo>
                    <a:pt x="5097" y="4466"/>
                  </a:lnTo>
                  <a:lnTo>
                    <a:pt x="5106" y="4453"/>
                  </a:lnTo>
                  <a:lnTo>
                    <a:pt x="5115" y="4440"/>
                  </a:lnTo>
                  <a:lnTo>
                    <a:pt x="5126" y="4426"/>
                  </a:lnTo>
                  <a:lnTo>
                    <a:pt x="5136" y="4413"/>
                  </a:lnTo>
                  <a:lnTo>
                    <a:pt x="5145" y="4400"/>
                  </a:lnTo>
                  <a:lnTo>
                    <a:pt x="5150" y="4389"/>
                  </a:lnTo>
                  <a:lnTo>
                    <a:pt x="5165" y="4373"/>
                  </a:lnTo>
                  <a:lnTo>
                    <a:pt x="5183" y="4360"/>
                  </a:lnTo>
                  <a:lnTo>
                    <a:pt x="5205" y="4354"/>
                  </a:lnTo>
                  <a:close/>
                  <a:moveTo>
                    <a:pt x="249" y="3767"/>
                  </a:moveTo>
                  <a:lnTo>
                    <a:pt x="273" y="3771"/>
                  </a:lnTo>
                  <a:lnTo>
                    <a:pt x="293" y="3782"/>
                  </a:lnTo>
                  <a:lnTo>
                    <a:pt x="311" y="3799"/>
                  </a:lnTo>
                  <a:lnTo>
                    <a:pt x="324" y="3822"/>
                  </a:lnTo>
                  <a:lnTo>
                    <a:pt x="326" y="3826"/>
                  </a:lnTo>
                  <a:lnTo>
                    <a:pt x="332" y="3843"/>
                  </a:lnTo>
                  <a:lnTo>
                    <a:pt x="337" y="3857"/>
                  </a:lnTo>
                  <a:lnTo>
                    <a:pt x="342" y="3874"/>
                  </a:lnTo>
                  <a:lnTo>
                    <a:pt x="350" y="3888"/>
                  </a:lnTo>
                  <a:lnTo>
                    <a:pt x="355" y="3905"/>
                  </a:lnTo>
                  <a:lnTo>
                    <a:pt x="361" y="3920"/>
                  </a:lnTo>
                  <a:lnTo>
                    <a:pt x="368" y="3934"/>
                  </a:lnTo>
                  <a:lnTo>
                    <a:pt x="374" y="3951"/>
                  </a:lnTo>
                  <a:lnTo>
                    <a:pt x="381" y="3965"/>
                  </a:lnTo>
                  <a:lnTo>
                    <a:pt x="385" y="3973"/>
                  </a:lnTo>
                  <a:lnTo>
                    <a:pt x="388" y="3987"/>
                  </a:lnTo>
                  <a:lnTo>
                    <a:pt x="390" y="4004"/>
                  </a:lnTo>
                  <a:lnTo>
                    <a:pt x="388" y="4030"/>
                  </a:lnTo>
                  <a:lnTo>
                    <a:pt x="379" y="4052"/>
                  </a:lnTo>
                  <a:lnTo>
                    <a:pt x="364" y="4068"/>
                  </a:lnTo>
                  <a:lnTo>
                    <a:pt x="346" y="4081"/>
                  </a:lnTo>
                  <a:lnTo>
                    <a:pt x="326" y="4088"/>
                  </a:lnTo>
                  <a:lnTo>
                    <a:pt x="304" y="4090"/>
                  </a:lnTo>
                  <a:lnTo>
                    <a:pt x="282" y="4086"/>
                  </a:lnTo>
                  <a:lnTo>
                    <a:pt x="262" y="4077"/>
                  </a:lnTo>
                  <a:lnTo>
                    <a:pt x="244" y="4063"/>
                  </a:lnTo>
                  <a:lnTo>
                    <a:pt x="231" y="4041"/>
                  </a:lnTo>
                  <a:lnTo>
                    <a:pt x="227" y="4031"/>
                  </a:lnTo>
                  <a:lnTo>
                    <a:pt x="220" y="4015"/>
                  </a:lnTo>
                  <a:lnTo>
                    <a:pt x="212" y="3998"/>
                  </a:lnTo>
                  <a:lnTo>
                    <a:pt x="207" y="3984"/>
                  </a:lnTo>
                  <a:lnTo>
                    <a:pt x="200" y="3967"/>
                  </a:lnTo>
                  <a:lnTo>
                    <a:pt x="194" y="3951"/>
                  </a:lnTo>
                  <a:lnTo>
                    <a:pt x="187" y="3934"/>
                  </a:lnTo>
                  <a:lnTo>
                    <a:pt x="181" y="3918"/>
                  </a:lnTo>
                  <a:lnTo>
                    <a:pt x="174" y="3901"/>
                  </a:lnTo>
                  <a:lnTo>
                    <a:pt x="169" y="3885"/>
                  </a:lnTo>
                  <a:lnTo>
                    <a:pt x="167" y="3879"/>
                  </a:lnTo>
                  <a:lnTo>
                    <a:pt x="161" y="3859"/>
                  </a:lnTo>
                  <a:lnTo>
                    <a:pt x="163" y="3837"/>
                  </a:lnTo>
                  <a:lnTo>
                    <a:pt x="170" y="3811"/>
                  </a:lnTo>
                  <a:lnTo>
                    <a:pt x="185" y="3791"/>
                  </a:lnTo>
                  <a:lnTo>
                    <a:pt x="205" y="3778"/>
                  </a:lnTo>
                  <a:lnTo>
                    <a:pt x="227" y="3769"/>
                  </a:lnTo>
                  <a:lnTo>
                    <a:pt x="249" y="3767"/>
                  </a:lnTo>
                  <a:close/>
                  <a:moveTo>
                    <a:pt x="5528" y="3754"/>
                  </a:moveTo>
                  <a:lnTo>
                    <a:pt x="5551" y="3760"/>
                  </a:lnTo>
                  <a:lnTo>
                    <a:pt x="5572" y="3773"/>
                  </a:lnTo>
                  <a:lnTo>
                    <a:pt x="5588" y="3791"/>
                  </a:lnTo>
                  <a:lnTo>
                    <a:pt x="5599" y="3813"/>
                  </a:lnTo>
                  <a:lnTo>
                    <a:pt x="5603" y="3839"/>
                  </a:lnTo>
                  <a:lnTo>
                    <a:pt x="5597" y="3866"/>
                  </a:lnTo>
                  <a:lnTo>
                    <a:pt x="5597" y="3868"/>
                  </a:lnTo>
                  <a:lnTo>
                    <a:pt x="5592" y="3885"/>
                  </a:lnTo>
                  <a:lnTo>
                    <a:pt x="5584" y="3901"/>
                  </a:lnTo>
                  <a:lnTo>
                    <a:pt x="5579" y="3918"/>
                  </a:lnTo>
                  <a:lnTo>
                    <a:pt x="5573" y="3934"/>
                  </a:lnTo>
                  <a:lnTo>
                    <a:pt x="5566" y="3951"/>
                  </a:lnTo>
                  <a:lnTo>
                    <a:pt x="5561" y="3967"/>
                  </a:lnTo>
                  <a:lnTo>
                    <a:pt x="5553" y="3984"/>
                  </a:lnTo>
                  <a:lnTo>
                    <a:pt x="5546" y="3998"/>
                  </a:lnTo>
                  <a:lnTo>
                    <a:pt x="5540" y="4015"/>
                  </a:lnTo>
                  <a:lnTo>
                    <a:pt x="5535" y="4026"/>
                  </a:lnTo>
                  <a:lnTo>
                    <a:pt x="5522" y="4048"/>
                  </a:lnTo>
                  <a:lnTo>
                    <a:pt x="5504" y="4064"/>
                  </a:lnTo>
                  <a:lnTo>
                    <a:pt x="5480" y="4075"/>
                  </a:lnTo>
                  <a:lnTo>
                    <a:pt x="5456" y="4077"/>
                  </a:lnTo>
                  <a:lnTo>
                    <a:pt x="5430" y="4074"/>
                  </a:lnTo>
                  <a:lnTo>
                    <a:pt x="5407" y="4061"/>
                  </a:lnTo>
                  <a:lnTo>
                    <a:pt x="5388" y="4041"/>
                  </a:lnTo>
                  <a:lnTo>
                    <a:pt x="5377" y="4015"/>
                  </a:lnTo>
                  <a:lnTo>
                    <a:pt x="5374" y="3989"/>
                  </a:lnTo>
                  <a:lnTo>
                    <a:pt x="5381" y="3962"/>
                  </a:lnTo>
                  <a:lnTo>
                    <a:pt x="5385" y="3951"/>
                  </a:lnTo>
                  <a:lnTo>
                    <a:pt x="5392" y="3934"/>
                  </a:lnTo>
                  <a:lnTo>
                    <a:pt x="5398" y="3920"/>
                  </a:lnTo>
                  <a:lnTo>
                    <a:pt x="5405" y="3905"/>
                  </a:lnTo>
                  <a:lnTo>
                    <a:pt x="5410" y="3888"/>
                  </a:lnTo>
                  <a:lnTo>
                    <a:pt x="5416" y="3874"/>
                  </a:lnTo>
                  <a:lnTo>
                    <a:pt x="5423" y="3857"/>
                  </a:lnTo>
                  <a:lnTo>
                    <a:pt x="5429" y="3843"/>
                  </a:lnTo>
                  <a:lnTo>
                    <a:pt x="5434" y="3826"/>
                  </a:lnTo>
                  <a:lnTo>
                    <a:pt x="5440" y="3811"/>
                  </a:lnTo>
                  <a:lnTo>
                    <a:pt x="5440" y="3810"/>
                  </a:lnTo>
                  <a:lnTo>
                    <a:pt x="5445" y="3800"/>
                  </a:lnTo>
                  <a:lnTo>
                    <a:pt x="5451" y="3791"/>
                  </a:lnTo>
                  <a:lnTo>
                    <a:pt x="5458" y="3782"/>
                  </a:lnTo>
                  <a:lnTo>
                    <a:pt x="5480" y="3764"/>
                  </a:lnTo>
                  <a:lnTo>
                    <a:pt x="5504" y="3754"/>
                  </a:lnTo>
                  <a:lnTo>
                    <a:pt x="5528" y="3754"/>
                  </a:lnTo>
                  <a:close/>
                  <a:moveTo>
                    <a:pt x="93" y="3116"/>
                  </a:moveTo>
                  <a:lnTo>
                    <a:pt x="115" y="3120"/>
                  </a:lnTo>
                  <a:lnTo>
                    <a:pt x="137" y="3129"/>
                  </a:lnTo>
                  <a:lnTo>
                    <a:pt x="156" y="3144"/>
                  </a:lnTo>
                  <a:lnTo>
                    <a:pt x="170" y="3164"/>
                  </a:lnTo>
                  <a:lnTo>
                    <a:pt x="178" y="3190"/>
                  </a:lnTo>
                  <a:lnTo>
                    <a:pt x="178" y="3202"/>
                  </a:lnTo>
                  <a:lnTo>
                    <a:pt x="179" y="3221"/>
                  </a:lnTo>
                  <a:lnTo>
                    <a:pt x="183" y="3237"/>
                  </a:lnTo>
                  <a:lnTo>
                    <a:pt x="185" y="3254"/>
                  </a:lnTo>
                  <a:lnTo>
                    <a:pt x="187" y="3272"/>
                  </a:lnTo>
                  <a:lnTo>
                    <a:pt x="189" y="3289"/>
                  </a:lnTo>
                  <a:lnTo>
                    <a:pt x="192" y="3305"/>
                  </a:lnTo>
                  <a:lnTo>
                    <a:pt x="194" y="3322"/>
                  </a:lnTo>
                  <a:lnTo>
                    <a:pt x="198" y="3338"/>
                  </a:lnTo>
                  <a:lnTo>
                    <a:pt x="200" y="3351"/>
                  </a:lnTo>
                  <a:lnTo>
                    <a:pt x="200" y="3368"/>
                  </a:lnTo>
                  <a:lnTo>
                    <a:pt x="200" y="3382"/>
                  </a:lnTo>
                  <a:lnTo>
                    <a:pt x="190" y="3408"/>
                  </a:lnTo>
                  <a:lnTo>
                    <a:pt x="176" y="3426"/>
                  </a:lnTo>
                  <a:lnTo>
                    <a:pt x="158" y="3439"/>
                  </a:lnTo>
                  <a:lnTo>
                    <a:pt x="137" y="3446"/>
                  </a:lnTo>
                  <a:lnTo>
                    <a:pt x="115" y="3450"/>
                  </a:lnTo>
                  <a:lnTo>
                    <a:pt x="93" y="3446"/>
                  </a:lnTo>
                  <a:lnTo>
                    <a:pt x="73" y="3437"/>
                  </a:lnTo>
                  <a:lnTo>
                    <a:pt x="57" y="3424"/>
                  </a:lnTo>
                  <a:lnTo>
                    <a:pt x="42" y="3404"/>
                  </a:lnTo>
                  <a:lnTo>
                    <a:pt x="35" y="3380"/>
                  </a:lnTo>
                  <a:lnTo>
                    <a:pt x="31" y="3366"/>
                  </a:lnTo>
                  <a:lnTo>
                    <a:pt x="29" y="3349"/>
                  </a:lnTo>
                  <a:lnTo>
                    <a:pt x="26" y="3331"/>
                  </a:lnTo>
                  <a:lnTo>
                    <a:pt x="24" y="3313"/>
                  </a:lnTo>
                  <a:lnTo>
                    <a:pt x="22" y="3294"/>
                  </a:lnTo>
                  <a:lnTo>
                    <a:pt x="18" y="3276"/>
                  </a:lnTo>
                  <a:lnTo>
                    <a:pt x="16" y="3259"/>
                  </a:lnTo>
                  <a:lnTo>
                    <a:pt x="15" y="3241"/>
                  </a:lnTo>
                  <a:lnTo>
                    <a:pt x="11" y="3223"/>
                  </a:lnTo>
                  <a:lnTo>
                    <a:pt x="11" y="3210"/>
                  </a:lnTo>
                  <a:lnTo>
                    <a:pt x="11" y="3190"/>
                  </a:lnTo>
                  <a:lnTo>
                    <a:pt x="15" y="3171"/>
                  </a:lnTo>
                  <a:lnTo>
                    <a:pt x="29" y="3146"/>
                  </a:lnTo>
                  <a:lnTo>
                    <a:pt x="48" y="3129"/>
                  </a:lnTo>
                  <a:lnTo>
                    <a:pt x="70" y="3120"/>
                  </a:lnTo>
                  <a:lnTo>
                    <a:pt x="93" y="3116"/>
                  </a:lnTo>
                  <a:close/>
                  <a:moveTo>
                    <a:pt x="5663" y="3102"/>
                  </a:moveTo>
                  <a:lnTo>
                    <a:pt x="5685" y="3103"/>
                  </a:lnTo>
                  <a:lnTo>
                    <a:pt x="5707" y="3113"/>
                  </a:lnTo>
                  <a:lnTo>
                    <a:pt x="5725" y="3125"/>
                  </a:lnTo>
                  <a:lnTo>
                    <a:pt x="5740" y="3144"/>
                  </a:lnTo>
                  <a:lnTo>
                    <a:pt x="5749" y="3168"/>
                  </a:lnTo>
                  <a:lnTo>
                    <a:pt x="5751" y="3195"/>
                  </a:lnTo>
                  <a:lnTo>
                    <a:pt x="5749" y="3204"/>
                  </a:lnTo>
                  <a:lnTo>
                    <a:pt x="5747" y="3223"/>
                  </a:lnTo>
                  <a:lnTo>
                    <a:pt x="5746" y="3241"/>
                  </a:lnTo>
                  <a:lnTo>
                    <a:pt x="5744" y="3259"/>
                  </a:lnTo>
                  <a:lnTo>
                    <a:pt x="5742" y="3276"/>
                  </a:lnTo>
                  <a:lnTo>
                    <a:pt x="5738" y="3294"/>
                  </a:lnTo>
                  <a:lnTo>
                    <a:pt x="5736" y="3313"/>
                  </a:lnTo>
                  <a:lnTo>
                    <a:pt x="5733" y="3331"/>
                  </a:lnTo>
                  <a:lnTo>
                    <a:pt x="5731" y="3349"/>
                  </a:lnTo>
                  <a:lnTo>
                    <a:pt x="5727" y="3366"/>
                  </a:lnTo>
                  <a:lnTo>
                    <a:pt x="5720" y="3391"/>
                  </a:lnTo>
                  <a:lnTo>
                    <a:pt x="5703" y="3412"/>
                  </a:lnTo>
                  <a:lnTo>
                    <a:pt x="5683" y="3426"/>
                  </a:lnTo>
                  <a:lnTo>
                    <a:pt x="5659" y="3435"/>
                  </a:lnTo>
                  <a:lnTo>
                    <a:pt x="5632" y="3435"/>
                  </a:lnTo>
                  <a:lnTo>
                    <a:pt x="5606" y="3426"/>
                  </a:lnTo>
                  <a:lnTo>
                    <a:pt x="5586" y="3412"/>
                  </a:lnTo>
                  <a:lnTo>
                    <a:pt x="5570" y="3390"/>
                  </a:lnTo>
                  <a:lnTo>
                    <a:pt x="5562" y="3366"/>
                  </a:lnTo>
                  <a:lnTo>
                    <a:pt x="5562" y="3338"/>
                  </a:lnTo>
                  <a:lnTo>
                    <a:pt x="5566" y="3322"/>
                  </a:lnTo>
                  <a:lnTo>
                    <a:pt x="5568" y="3305"/>
                  </a:lnTo>
                  <a:lnTo>
                    <a:pt x="5570" y="3289"/>
                  </a:lnTo>
                  <a:lnTo>
                    <a:pt x="5573" y="3272"/>
                  </a:lnTo>
                  <a:lnTo>
                    <a:pt x="5575" y="3254"/>
                  </a:lnTo>
                  <a:lnTo>
                    <a:pt x="5577" y="3237"/>
                  </a:lnTo>
                  <a:lnTo>
                    <a:pt x="5579" y="3221"/>
                  </a:lnTo>
                  <a:lnTo>
                    <a:pt x="5581" y="3202"/>
                  </a:lnTo>
                  <a:lnTo>
                    <a:pt x="5583" y="3186"/>
                  </a:lnTo>
                  <a:lnTo>
                    <a:pt x="5584" y="3177"/>
                  </a:lnTo>
                  <a:lnTo>
                    <a:pt x="5590" y="3157"/>
                  </a:lnTo>
                  <a:lnTo>
                    <a:pt x="5599" y="3138"/>
                  </a:lnTo>
                  <a:lnTo>
                    <a:pt x="5617" y="3118"/>
                  </a:lnTo>
                  <a:lnTo>
                    <a:pt x="5639" y="3107"/>
                  </a:lnTo>
                  <a:lnTo>
                    <a:pt x="5663" y="3102"/>
                  </a:lnTo>
                  <a:close/>
                  <a:moveTo>
                    <a:pt x="110" y="2449"/>
                  </a:moveTo>
                  <a:lnTo>
                    <a:pt x="134" y="2454"/>
                  </a:lnTo>
                  <a:lnTo>
                    <a:pt x="156" y="2469"/>
                  </a:lnTo>
                  <a:lnTo>
                    <a:pt x="172" y="2489"/>
                  </a:lnTo>
                  <a:lnTo>
                    <a:pt x="181" y="2513"/>
                  </a:lnTo>
                  <a:lnTo>
                    <a:pt x="183" y="2542"/>
                  </a:lnTo>
                  <a:lnTo>
                    <a:pt x="183" y="2544"/>
                  </a:lnTo>
                  <a:lnTo>
                    <a:pt x="181" y="2550"/>
                  </a:lnTo>
                  <a:lnTo>
                    <a:pt x="181" y="2555"/>
                  </a:lnTo>
                  <a:lnTo>
                    <a:pt x="179" y="2561"/>
                  </a:lnTo>
                  <a:lnTo>
                    <a:pt x="179" y="2566"/>
                  </a:lnTo>
                  <a:lnTo>
                    <a:pt x="179" y="2572"/>
                  </a:lnTo>
                  <a:lnTo>
                    <a:pt x="178" y="2577"/>
                  </a:lnTo>
                  <a:lnTo>
                    <a:pt x="178" y="2583"/>
                  </a:lnTo>
                  <a:lnTo>
                    <a:pt x="178" y="2588"/>
                  </a:lnTo>
                  <a:lnTo>
                    <a:pt x="176" y="2594"/>
                  </a:lnTo>
                  <a:lnTo>
                    <a:pt x="176" y="2599"/>
                  </a:lnTo>
                  <a:lnTo>
                    <a:pt x="176" y="2605"/>
                  </a:lnTo>
                  <a:lnTo>
                    <a:pt x="174" y="2610"/>
                  </a:lnTo>
                  <a:lnTo>
                    <a:pt x="174" y="2616"/>
                  </a:lnTo>
                  <a:lnTo>
                    <a:pt x="174" y="2623"/>
                  </a:lnTo>
                  <a:lnTo>
                    <a:pt x="172" y="2628"/>
                  </a:lnTo>
                  <a:lnTo>
                    <a:pt x="172" y="2634"/>
                  </a:lnTo>
                  <a:lnTo>
                    <a:pt x="172" y="2639"/>
                  </a:lnTo>
                  <a:lnTo>
                    <a:pt x="172" y="2645"/>
                  </a:lnTo>
                  <a:lnTo>
                    <a:pt x="170" y="2650"/>
                  </a:lnTo>
                  <a:lnTo>
                    <a:pt x="170" y="2656"/>
                  </a:lnTo>
                  <a:lnTo>
                    <a:pt x="170" y="2661"/>
                  </a:lnTo>
                  <a:lnTo>
                    <a:pt x="170" y="2667"/>
                  </a:lnTo>
                  <a:lnTo>
                    <a:pt x="169" y="2672"/>
                  </a:lnTo>
                  <a:lnTo>
                    <a:pt x="169" y="2678"/>
                  </a:lnTo>
                  <a:lnTo>
                    <a:pt x="169" y="2683"/>
                  </a:lnTo>
                  <a:lnTo>
                    <a:pt x="169" y="2691"/>
                  </a:lnTo>
                  <a:lnTo>
                    <a:pt x="167" y="2696"/>
                  </a:lnTo>
                  <a:lnTo>
                    <a:pt x="167" y="2702"/>
                  </a:lnTo>
                  <a:lnTo>
                    <a:pt x="167" y="2704"/>
                  </a:lnTo>
                  <a:lnTo>
                    <a:pt x="161" y="2727"/>
                  </a:lnTo>
                  <a:lnTo>
                    <a:pt x="150" y="2748"/>
                  </a:lnTo>
                  <a:lnTo>
                    <a:pt x="132" y="2766"/>
                  </a:lnTo>
                  <a:lnTo>
                    <a:pt x="110" y="2777"/>
                  </a:lnTo>
                  <a:lnTo>
                    <a:pt x="86" y="2781"/>
                  </a:lnTo>
                  <a:lnTo>
                    <a:pt x="64" y="2779"/>
                  </a:lnTo>
                  <a:lnTo>
                    <a:pt x="44" y="2772"/>
                  </a:lnTo>
                  <a:lnTo>
                    <a:pt x="26" y="2759"/>
                  </a:lnTo>
                  <a:lnTo>
                    <a:pt x="11" y="2740"/>
                  </a:lnTo>
                  <a:lnTo>
                    <a:pt x="2" y="2718"/>
                  </a:lnTo>
                  <a:lnTo>
                    <a:pt x="0" y="2693"/>
                  </a:lnTo>
                  <a:lnTo>
                    <a:pt x="0" y="2691"/>
                  </a:lnTo>
                  <a:lnTo>
                    <a:pt x="0" y="2683"/>
                  </a:lnTo>
                  <a:lnTo>
                    <a:pt x="0" y="2678"/>
                  </a:lnTo>
                  <a:lnTo>
                    <a:pt x="2" y="2672"/>
                  </a:lnTo>
                  <a:lnTo>
                    <a:pt x="2" y="2665"/>
                  </a:lnTo>
                  <a:lnTo>
                    <a:pt x="2" y="2660"/>
                  </a:lnTo>
                  <a:lnTo>
                    <a:pt x="2" y="2654"/>
                  </a:lnTo>
                  <a:lnTo>
                    <a:pt x="4" y="2649"/>
                  </a:lnTo>
                  <a:lnTo>
                    <a:pt x="4" y="2641"/>
                  </a:lnTo>
                  <a:lnTo>
                    <a:pt x="4" y="2636"/>
                  </a:lnTo>
                  <a:lnTo>
                    <a:pt x="5" y="2630"/>
                  </a:lnTo>
                  <a:lnTo>
                    <a:pt x="5" y="2623"/>
                  </a:lnTo>
                  <a:lnTo>
                    <a:pt x="5" y="2617"/>
                  </a:lnTo>
                  <a:lnTo>
                    <a:pt x="5" y="2612"/>
                  </a:lnTo>
                  <a:lnTo>
                    <a:pt x="7" y="2606"/>
                  </a:lnTo>
                  <a:lnTo>
                    <a:pt x="7" y="2599"/>
                  </a:lnTo>
                  <a:lnTo>
                    <a:pt x="7" y="2594"/>
                  </a:lnTo>
                  <a:lnTo>
                    <a:pt x="9" y="2588"/>
                  </a:lnTo>
                  <a:lnTo>
                    <a:pt x="9" y="2583"/>
                  </a:lnTo>
                  <a:lnTo>
                    <a:pt x="9" y="2575"/>
                  </a:lnTo>
                  <a:lnTo>
                    <a:pt x="11" y="2570"/>
                  </a:lnTo>
                  <a:lnTo>
                    <a:pt x="11" y="2564"/>
                  </a:lnTo>
                  <a:lnTo>
                    <a:pt x="13" y="2559"/>
                  </a:lnTo>
                  <a:lnTo>
                    <a:pt x="13" y="2551"/>
                  </a:lnTo>
                  <a:lnTo>
                    <a:pt x="13" y="2546"/>
                  </a:lnTo>
                  <a:lnTo>
                    <a:pt x="15" y="2540"/>
                  </a:lnTo>
                  <a:lnTo>
                    <a:pt x="15" y="2535"/>
                  </a:lnTo>
                  <a:lnTo>
                    <a:pt x="15" y="2528"/>
                  </a:lnTo>
                  <a:lnTo>
                    <a:pt x="16" y="2522"/>
                  </a:lnTo>
                  <a:lnTo>
                    <a:pt x="16" y="2520"/>
                  </a:lnTo>
                  <a:lnTo>
                    <a:pt x="24" y="2496"/>
                  </a:lnTo>
                  <a:lnTo>
                    <a:pt x="38" y="2474"/>
                  </a:lnTo>
                  <a:lnTo>
                    <a:pt x="60" y="2456"/>
                  </a:lnTo>
                  <a:lnTo>
                    <a:pt x="86" y="2449"/>
                  </a:lnTo>
                  <a:lnTo>
                    <a:pt x="110" y="2449"/>
                  </a:lnTo>
                  <a:close/>
                  <a:moveTo>
                    <a:pt x="5661" y="2434"/>
                  </a:moveTo>
                  <a:lnTo>
                    <a:pt x="5683" y="2438"/>
                  </a:lnTo>
                  <a:lnTo>
                    <a:pt x="5703" y="2447"/>
                  </a:lnTo>
                  <a:lnTo>
                    <a:pt x="5722" y="2462"/>
                  </a:lnTo>
                  <a:lnTo>
                    <a:pt x="5735" y="2482"/>
                  </a:lnTo>
                  <a:lnTo>
                    <a:pt x="5742" y="2506"/>
                  </a:lnTo>
                  <a:lnTo>
                    <a:pt x="5744" y="2522"/>
                  </a:lnTo>
                  <a:lnTo>
                    <a:pt x="5746" y="2540"/>
                  </a:lnTo>
                  <a:lnTo>
                    <a:pt x="5747" y="2559"/>
                  </a:lnTo>
                  <a:lnTo>
                    <a:pt x="5749" y="2577"/>
                  </a:lnTo>
                  <a:lnTo>
                    <a:pt x="5751" y="2595"/>
                  </a:lnTo>
                  <a:lnTo>
                    <a:pt x="5753" y="2614"/>
                  </a:lnTo>
                  <a:lnTo>
                    <a:pt x="5755" y="2632"/>
                  </a:lnTo>
                  <a:lnTo>
                    <a:pt x="5757" y="2650"/>
                  </a:lnTo>
                  <a:lnTo>
                    <a:pt x="5758" y="2669"/>
                  </a:lnTo>
                  <a:lnTo>
                    <a:pt x="5758" y="2678"/>
                  </a:lnTo>
                  <a:lnTo>
                    <a:pt x="5757" y="2705"/>
                  </a:lnTo>
                  <a:lnTo>
                    <a:pt x="5744" y="2731"/>
                  </a:lnTo>
                  <a:lnTo>
                    <a:pt x="5725" y="2751"/>
                  </a:lnTo>
                  <a:lnTo>
                    <a:pt x="5703" y="2762"/>
                  </a:lnTo>
                  <a:lnTo>
                    <a:pt x="5678" y="2768"/>
                  </a:lnTo>
                  <a:lnTo>
                    <a:pt x="5654" y="2764"/>
                  </a:lnTo>
                  <a:lnTo>
                    <a:pt x="5630" y="2753"/>
                  </a:lnTo>
                  <a:lnTo>
                    <a:pt x="5612" y="2738"/>
                  </a:lnTo>
                  <a:lnTo>
                    <a:pt x="5599" y="2716"/>
                  </a:lnTo>
                  <a:lnTo>
                    <a:pt x="5592" y="2691"/>
                  </a:lnTo>
                  <a:lnTo>
                    <a:pt x="5592" y="2682"/>
                  </a:lnTo>
                  <a:lnTo>
                    <a:pt x="5590" y="2663"/>
                  </a:lnTo>
                  <a:lnTo>
                    <a:pt x="5588" y="2647"/>
                  </a:lnTo>
                  <a:lnTo>
                    <a:pt x="5586" y="2628"/>
                  </a:lnTo>
                  <a:lnTo>
                    <a:pt x="5584" y="2612"/>
                  </a:lnTo>
                  <a:lnTo>
                    <a:pt x="5583" y="2595"/>
                  </a:lnTo>
                  <a:lnTo>
                    <a:pt x="5581" y="2577"/>
                  </a:lnTo>
                  <a:lnTo>
                    <a:pt x="5579" y="2561"/>
                  </a:lnTo>
                  <a:lnTo>
                    <a:pt x="5577" y="2544"/>
                  </a:lnTo>
                  <a:lnTo>
                    <a:pt x="5575" y="2528"/>
                  </a:lnTo>
                  <a:lnTo>
                    <a:pt x="5575" y="2502"/>
                  </a:lnTo>
                  <a:lnTo>
                    <a:pt x="5584" y="2478"/>
                  </a:lnTo>
                  <a:lnTo>
                    <a:pt x="5599" y="2458"/>
                  </a:lnTo>
                  <a:lnTo>
                    <a:pt x="5617" y="2443"/>
                  </a:lnTo>
                  <a:lnTo>
                    <a:pt x="5639" y="2436"/>
                  </a:lnTo>
                  <a:lnTo>
                    <a:pt x="5661" y="2434"/>
                  </a:lnTo>
                  <a:close/>
                  <a:moveTo>
                    <a:pt x="260" y="1800"/>
                  </a:moveTo>
                  <a:lnTo>
                    <a:pt x="284" y="1801"/>
                  </a:lnTo>
                  <a:lnTo>
                    <a:pt x="306" y="1811"/>
                  </a:lnTo>
                  <a:lnTo>
                    <a:pt x="324" y="1827"/>
                  </a:lnTo>
                  <a:lnTo>
                    <a:pt x="339" y="1849"/>
                  </a:lnTo>
                  <a:lnTo>
                    <a:pt x="346" y="1869"/>
                  </a:lnTo>
                  <a:lnTo>
                    <a:pt x="346" y="1891"/>
                  </a:lnTo>
                  <a:lnTo>
                    <a:pt x="341" y="1913"/>
                  </a:lnTo>
                  <a:lnTo>
                    <a:pt x="339" y="1917"/>
                  </a:lnTo>
                  <a:lnTo>
                    <a:pt x="337" y="1922"/>
                  </a:lnTo>
                  <a:lnTo>
                    <a:pt x="335" y="1928"/>
                  </a:lnTo>
                  <a:lnTo>
                    <a:pt x="333" y="1933"/>
                  </a:lnTo>
                  <a:lnTo>
                    <a:pt x="332" y="1937"/>
                  </a:lnTo>
                  <a:lnTo>
                    <a:pt x="330" y="1943"/>
                  </a:lnTo>
                  <a:lnTo>
                    <a:pt x="328" y="1948"/>
                  </a:lnTo>
                  <a:lnTo>
                    <a:pt x="326" y="1954"/>
                  </a:lnTo>
                  <a:lnTo>
                    <a:pt x="324" y="1959"/>
                  </a:lnTo>
                  <a:lnTo>
                    <a:pt x="322" y="1963"/>
                  </a:lnTo>
                  <a:lnTo>
                    <a:pt x="321" y="1968"/>
                  </a:lnTo>
                  <a:lnTo>
                    <a:pt x="319" y="1974"/>
                  </a:lnTo>
                  <a:lnTo>
                    <a:pt x="317" y="1979"/>
                  </a:lnTo>
                  <a:lnTo>
                    <a:pt x="315" y="1985"/>
                  </a:lnTo>
                  <a:lnTo>
                    <a:pt x="313" y="1988"/>
                  </a:lnTo>
                  <a:lnTo>
                    <a:pt x="311" y="1994"/>
                  </a:lnTo>
                  <a:lnTo>
                    <a:pt x="310" y="1999"/>
                  </a:lnTo>
                  <a:lnTo>
                    <a:pt x="308" y="2005"/>
                  </a:lnTo>
                  <a:lnTo>
                    <a:pt x="306" y="2010"/>
                  </a:lnTo>
                  <a:lnTo>
                    <a:pt x="304" y="2014"/>
                  </a:lnTo>
                  <a:lnTo>
                    <a:pt x="302" y="2020"/>
                  </a:lnTo>
                  <a:lnTo>
                    <a:pt x="300" y="2025"/>
                  </a:lnTo>
                  <a:lnTo>
                    <a:pt x="299" y="2031"/>
                  </a:lnTo>
                  <a:lnTo>
                    <a:pt x="297" y="2036"/>
                  </a:lnTo>
                  <a:lnTo>
                    <a:pt x="295" y="2042"/>
                  </a:lnTo>
                  <a:lnTo>
                    <a:pt x="293" y="2045"/>
                  </a:lnTo>
                  <a:lnTo>
                    <a:pt x="291" y="2051"/>
                  </a:lnTo>
                  <a:lnTo>
                    <a:pt x="291" y="2056"/>
                  </a:lnTo>
                  <a:lnTo>
                    <a:pt x="289" y="2062"/>
                  </a:lnTo>
                  <a:lnTo>
                    <a:pt x="288" y="2065"/>
                  </a:lnTo>
                  <a:lnTo>
                    <a:pt x="275" y="2091"/>
                  </a:lnTo>
                  <a:lnTo>
                    <a:pt x="256" y="2108"/>
                  </a:lnTo>
                  <a:lnTo>
                    <a:pt x="234" y="2120"/>
                  </a:lnTo>
                  <a:lnTo>
                    <a:pt x="209" y="2124"/>
                  </a:lnTo>
                  <a:lnTo>
                    <a:pt x="183" y="2120"/>
                  </a:lnTo>
                  <a:lnTo>
                    <a:pt x="159" y="2109"/>
                  </a:lnTo>
                  <a:lnTo>
                    <a:pt x="141" y="2091"/>
                  </a:lnTo>
                  <a:lnTo>
                    <a:pt x="128" y="2067"/>
                  </a:lnTo>
                  <a:lnTo>
                    <a:pt x="125" y="2042"/>
                  </a:lnTo>
                  <a:lnTo>
                    <a:pt x="128" y="2016"/>
                  </a:lnTo>
                  <a:lnTo>
                    <a:pt x="130" y="2010"/>
                  </a:lnTo>
                  <a:lnTo>
                    <a:pt x="130" y="2005"/>
                  </a:lnTo>
                  <a:lnTo>
                    <a:pt x="132" y="1999"/>
                  </a:lnTo>
                  <a:lnTo>
                    <a:pt x="134" y="1994"/>
                  </a:lnTo>
                  <a:lnTo>
                    <a:pt x="136" y="1988"/>
                  </a:lnTo>
                  <a:lnTo>
                    <a:pt x="137" y="1983"/>
                  </a:lnTo>
                  <a:lnTo>
                    <a:pt x="139" y="1977"/>
                  </a:lnTo>
                  <a:lnTo>
                    <a:pt x="141" y="1972"/>
                  </a:lnTo>
                  <a:lnTo>
                    <a:pt x="143" y="1966"/>
                  </a:lnTo>
                  <a:lnTo>
                    <a:pt x="145" y="1961"/>
                  </a:lnTo>
                  <a:lnTo>
                    <a:pt x="147" y="1955"/>
                  </a:lnTo>
                  <a:lnTo>
                    <a:pt x="150" y="1950"/>
                  </a:lnTo>
                  <a:lnTo>
                    <a:pt x="152" y="1944"/>
                  </a:lnTo>
                  <a:lnTo>
                    <a:pt x="154" y="1939"/>
                  </a:lnTo>
                  <a:lnTo>
                    <a:pt x="156" y="1933"/>
                  </a:lnTo>
                  <a:lnTo>
                    <a:pt x="158" y="1928"/>
                  </a:lnTo>
                  <a:lnTo>
                    <a:pt x="159" y="1922"/>
                  </a:lnTo>
                  <a:lnTo>
                    <a:pt x="161" y="1917"/>
                  </a:lnTo>
                  <a:lnTo>
                    <a:pt x="163" y="1911"/>
                  </a:lnTo>
                  <a:lnTo>
                    <a:pt x="165" y="1906"/>
                  </a:lnTo>
                  <a:lnTo>
                    <a:pt x="167" y="1900"/>
                  </a:lnTo>
                  <a:lnTo>
                    <a:pt x="169" y="1895"/>
                  </a:lnTo>
                  <a:lnTo>
                    <a:pt x="170" y="1889"/>
                  </a:lnTo>
                  <a:lnTo>
                    <a:pt x="172" y="1884"/>
                  </a:lnTo>
                  <a:lnTo>
                    <a:pt x="174" y="1878"/>
                  </a:lnTo>
                  <a:lnTo>
                    <a:pt x="176" y="1873"/>
                  </a:lnTo>
                  <a:lnTo>
                    <a:pt x="179" y="1869"/>
                  </a:lnTo>
                  <a:lnTo>
                    <a:pt x="181" y="1864"/>
                  </a:lnTo>
                  <a:lnTo>
                    <a:pt x="183" y="1858"/>
                  </a:lnTo>
                  <a:lnTo>
                    <a:pt x="185" y="1853"/>
                  </a:lnTo>
                  <a:lnTo>
                    <a:pt x="198" y="1829"/>
                  </a:lnTo>
                  <a:lnTo>
                    <a:pt x="216" y="1812"/>
                  </a:lnTo>
                  <a:lnTo>
                    <a:pt x="238" y="1803"/>
                  </a:lnTo>
                  <a:lnTo>
                    <a:pt x="260" y="1800"/>
                  </a:lnTo>
                  <a:close/>
                  <a:moveTo>
                    <a:pt x="5496" y="1787"/>
                  </a:moveTo>
                  <a:lnTo>
                    <a:pt x="5518" y="1790"/>
                  </a:lnTo>
                  <a:lnTo>
                    <a:pt x="5539" y="1800"/>
                  </a:lnTo>
                  <a:lnTo>
                    <a:pt x="5557" y="1816"/>
                  </a:lnTo>
                  <a:lnTo>
                    <a:pt x="5570" y="1838"/>
                  </a:lnTo>
                  <a:lnTo>
                    <a:pt x="5573" y="1847"/>
                  </a:lnTo>
                  <a:lnTo>
                    <a:pt x="5579" y="1864"/>
                  </a:lnTo>
                  <a:lnTo>
                    <a:pt x="5584" y="1880"/>
                  </a:lnTo>
                  <a:lnTo>
                    <a:pt x="5592" y="1897"/>
                  </a:lnTo>
                  <a:lnTo>
                    <a:pt x="5597" y="1913"/>
                  </a:lnTo>
                  <a:lnTo>
                    <a:pt x="5603" y="1930"/>
                  </a:lnTo>
                  <a:lnTo>
                    <a:pt x="5610" y="1946"/>
                  </a:lnTo>
                  <a:lnTo>
                    <a:pt x="5615" y="1963"/>
                  </a:lnTo>
                  <a:lnTo>
                    <a:pt x="5621" y="1981"/>
                  </a:lnTo>
                  <a:lnTo>
                    <a:pt x="5626" y="1998"/>
                  </a:lnTo>
                  <a:lnTo>
                    <a:pt x="5626" y="2001"/>
                  </a:lnTo>
                  <a:lnTo>
                    <a:pt x="5630" y="2018"/>
                  </a:lnTo>
                  <a:lnTo>
                    <a:pt x="5632" y="2034"/>
                  </a:lnTo>
                  <a:lnTo>
                    <a:pt x="5625" y="2062"/>
                  </a:lnTo>
                  <a:lnTo>
                    <a:pt x="5610" y="2084"/>
                  </a:lnTo>
                  <a:lnTo>
                    <a:pt x="5592" y="2098"/>
                  </a:lnTo>
                  <a:lnTo>
                    <a:pt x="5570" y="2108"/>
                  </a:lnTo>
                  <a:lnTo>
                    <a:pt x="5544" y="2111"/>
                  </a:lnTo>
                  <a:lnTo>
                    <a:pt x="5520" y="2108"/>
                  </a:lnTo>
                  <a:lnTo>
                    <a:pt x="5500" y="2097"/>
                  </a:lnTo>
                  <a:lnTo>
                    <a:pt x="5482" y="2078"/>
                  </a:lnTo>
                  <a:lnTo>
                    <a:pt x="5469" y="2053"/>
                  </a:lnTo>
                  <a:lnTo>
                    <a:pt x="5467" y="2049"/>
                  </a:lnTo>
                  <a:lnTo>
                    <a:pt x="5462" y="2032"/>
                  </a:lnTo>
                  <a:lnTo>
                    <a:pt x="5456" y="2018"/>
                  </a:lnTo>
                  <a:lnTo>
                    <a:pt x="5451" y="2001"/>
                  </a:lnTo>
                  <a:lnTo>
                    <a:pt x="5445" y="1985"/>
                  </a:lnTo>
                  <a:lnTo>
                    <a:pt x="5440" y="1970"/>
                  </a:lnTo>
                  <a:lnTo>
                    <a:pt x="5434" y="1954"/>
                  </a:lnTo>
                  <a:lnTo>
                    <a:pt x="5429" y="1939"/>
                  </a:lnTo>
                  <a:lnTo>
                    <a:pt x="5423" y="1922"/>
                  </a:lnTo>
                  <a:lnTo>
                    <a:pt x="5416" y="1908"/>
                  </a:lnTo>
                  <a:lnTo>
                    <a:pt x="5414" y="1900"/>
                  </a:lnTo>
                  <a:lnTo>
                    <a:pt x="5409" y="1877"/>
                  </a:lnTo>
                  <a:lnTo>
                    <a:pt x="5409" y="1853"/>
                  </a:lnTo>
                  <a:lnTo>
                    <a:pt x="5418" y="1829"/>
                  </a:lnTo>
                  <a:lnTo>
                    <a:pt x="5432" y="1809"/>
                  </a:lnTo>
                  <a:lnTo>
                    <a:pt x="5451" y="1796"/>
                  </a:lnTo>
                  <a:lnTo>
                    <a:pt x="5473" y="1789"/>
                  </a:lnTo>
                  <a:lnTo>
                    <a:pt x="5496" y="1787"/>
                  </a:lnTo>
                  <a:close/>
                  <a:moveTo>
                    <a:pt x="5178" y="1196"/>
                  </a:moveTo>
                  <a:lnTo>
                    <a:pt x="5203" y="1202"/>
                  </a:lnTo>
                  <a:lnTo>
                    <a:pt x="5225" y="1213"/>
                  </a:lnTo>
                  <a:lnTo>
                    <a:pt x="5244" y="1231"/>
                  </a:lnTo>
                  <a:lnTo>
                    <a:pt x="5255" y="1246"/>
                  </a:lnTo>
                  <a:lnTo>
                    <a:pt x="5264" y="1260"/>
                  </a:lnTo>
                  <a:lnTo>
                    <a:pt x="5273" y="1275"/>
                  </a:lnTo>
                  <a:lnTo>
                    <a:pt x="5284" y="1288"/>
                  </a:lnTo>
                  <a:lnTo>
                    <a:pt x="5293" y="1303"/>
                  </a:lnTo>
                  <a:lnTo>
                    <a:pt x="5302" y="1317"/>
                  </a:lnTo>
                  <a:lnTo>
                    <a:pt x="5311" y="1332"/>
                  </a:lnTo>
                  <a:lnTo>
                    <a:pt x="5321" y="1347"/>
                  </a:lnTo>
                  <a:lnTo>
                    <a:pt x="5330" y="1361"/>
                  </a:lnTo>
                  <a:lnTo>
                    <a:pt x="5339" y="1376"/>
                  </a:lnTo>
                  <a:lnTo>
                    <a:pt x="5350" y="1402"/>
                  </a:lnTo>
                  <a:lnTo>
                    <a:pt x="5352" y="1427"/>
                  </a:lnTo>
                  <a:lnTo>
                    <a:pt x="5344" y="1451"/>
                  </a:lnTo>
                  <a:lnTo>
                    <a:pt x="5332" y="1473"/>
                  </a:lnTo>
                  <a:lnTo>
                    <a:pt x="5313" y="1491"/>
                  </a:lnTo>
                  <a:lnTo>
                    <a:pt x="5288" y="1502"/>
                  </a:lnTo>
                  <a:lnTo>
                    <a:pt x="5262" y="1504"/>
                  </a:lnTo>
                  <a:lnTo>
                    <a:pt x="5236" y="1497"/>
                  </a:lnTo>
                  <a:lnTo>
                    <a:pt x="5214" y="1484"/>
                  </a:lnTo>
                  <a:lnTo>
                    <a:pt x="5196" y="1464"/>
                  </a:lnTo>
                  <a:lnTo>
                    <a:pt x="5189" y="1451"/>
                  </a:lnTo>
                  <a:lnTo>
                    <a:pt x="5180" y="1436"/>
                  </a:lnTo>
                  <a:lnTo>
                    <a:pt x="5170" y="1424"/>
                  </a:lnTo>
                  <a:lnTo>
                    <a:pt x="5161" y="1409"/>
                  </a:lnTo>
                  <a:lnTo>
                    <a:pt x="5152" y="1396"/>
                  </a:lnTo>
                  <a:lnTo>
                    <a:pt x="5145" y="1381"/>
                  </a:lnTo>
                  <a:lnTo>
                    <a:pt x="5136" y="1369"/>
                  </a:lnTo>
                  <a:lnTo>
                    <a:pt x="5126" y="1354"/>
                  </a:lnTo>
                  <a:lnTo>
                    <a:pt x="5115" y="1341"/>
                  </a:lnTo>
                  <a:lnTo>
                    <a:pt x="5108" y="1328"/>
                  </a:lnTo>
                  <a:lnTo>
                    <a:pt x="5095" y="1304"/>
                  </a:lnTo>
                  <a:lnTo>
                    <a:pt x="5092" y="1277"/>
                  </a:lnTo>
                  <a:lnTo>
                    <a:pt x="5097" y="1253"/>
                  </a:lnTo>
                  <a:lnTo>
                    <a:pt x="5108" y="1231"/>
                  </a:lnTo>
                  <a:lnTo>
                    <a:pt x="5126" y="1213"/>
                  </a:lnTo>
                  <a:lnTo>
                    <a:pt x="5152" y="1200"/>
                  </a:lnTo>
                  <a:lnTo>
                    <a:pt x="5178" y="1196"/>
                  </a:lnTo>
                  <a:close/>
                  <a:moveTo>
                    <a:pt x="810" y="864"/>
                  </a:moveTo>
                  <a:lnTo>
                    <a:pt x="793" y="1772"/>
                  </a:lnTo>
                  <a:lnTo>
                    <a:pt x="35" y="1336"/>
                  </a:lnTo>
                  <a:lnTo>
                    <a:pt x="810" y="864"/>
                  </a:lnTo>
                  <a:close/>
                  <a:moveTo>
                    <a:pt x="4735" y="699"/>
                  </a:moveTo>
                  <a:lnTo>
                    <a:pt x="4762" y="705"/>
                  </a:lnTo>
                  <a:lnTo>
                    <a:pt x="4786" y="719"/>
                  </a:lnTo>
                  <a:lnTo>
                    <a:pt x="4795" y="728"/>
                  </a:lnTo>
                  <a:lnTo>
                    <a:pt x="4808" y="740"/>
                  </a:lnTo>
                  <a:lnTo>
                    <a:pt x="4821" y="751"/>
                  </a:lnTo>
                  <a:lnTo>
                    <a:pt x="4833" y="763"/>
                  </a:lnTo>
                  <a:lnTo>
                    <a:pt x="4846" y="774"/>
                  </a:lnTo>
                  <a:lnTo>
                    <a:pt x="4859" y="785"/>
                  </a:lnTo>
                  <a:lnTo>
                    <a:pt x="4872" y="798"/>
                  </a:lnTo>
                  <a:lnTo>
                    <a:pt x="4885" y="809"/>
                  </a:lnTo>
                  <a:lnTo>
                    <a:pt x="4896" y="822"/>
                  </a:lnTo>
                  <a:lnTo>
                    <a:pt x="4909" y="835"/>
                  </a:lnTo>
                  <a:lnTo>
                    <a:pt x="4910" y="837"/>
                  </a:lnTo>
                  <a:lnTo>
                    <a:pt x="4927" y="859"/>
                  </a:lnTo>
                  <a:lnTo>
                    <a:pt x="4936" y="884"/>
                  </a:lnTo>
                  <a:lnTo>
                    <a:pt x="4934" y="912"/>
                  </a:lnTo>
                  <a:lnTo>
                    <a:pt x="4927" y="938"/>
                  </a:lnTo>
                  <a:lnTo>
                    <a:pt x="4910" y="956"/>
                  </a:lnTo>
                  <a:lnTo>
                    <a:pt x="4890" y="971"/>
                  </a:lnTo>
                  <a:lnTo>
                    <a:pt x="4866" y="980"/>
                  </a:lnTo>
                  <a:lnTo>
                    <a:pt x="4841" y="980"/>
                  </a:lnTo>
                  <a:lnTo>
                    <a:pt x="4817" y="972"/>
                  </a:lnTo>
                  <a:lnTo>
                    <a:pt x="4793" y="956"/>
                  </a:lnTo>
                  <a:lnTo>
                    <a:pt x="4791" y="954"/>
                  </a:lnTo>
                  <a:lnTo>
                    <a:pt x="4780" y="941"/>
                  </a:lnTo>
                  <a:lnTo>
                    <a:pt x="4767" y="930"/>
                  </a:lnTo>
                  <a:lnTo>
                    <a:pt x="4756" y="919"/>
                  </a:lnTo>
                  <a:lnTo>
                    <a:pt x="4744" y="908"/>
                  </a:lnTo>
                  <a:lnTo>
                    <a:pt x="4733" y="897"/>
                  </a:lnTo>
                  <a:lnTo>
                    <a:pt x="4720" y="886"/>
                  </a:lnTo>
                  <a:lnTo>
                    <a:pt x="4709" y="875"/>
                  </a:lnTo>
                  <a:lnTo>
                    <a:pt x="4696" y="864"/>
                  </a:lnTo>
                  <a:lnTo>
                    <a:pt x="4683" y="853"/>
                  </a:lnTo>
                  <a:lnTo>
                    <a:pt x="4674" y="846"/>
                  </a:lnTo>
                  <a:lnTo>
                    <a:pt x="4658" y="824"/>
                  </a:lnTo>
                  <a:lnTo>
                    <a:pt x="4648" y="802"/>
                  </a:lnTo>
                  <a:lnTo>
                    <a:pt x="4647" y="776"/>
                  </a:lnTo>
                  <a:lnTo>
                    <a:pt x="4652" y="752"/>
                  </a:lnTo>
                  <a:lnTo>
                    <a:pt x="4663" y="730"/>
                  </a:lnTo>
                  <a:lnTo>
                    <a:pt x="4681" y="714"/>
                  </a:lnTo>
                  <a:lnTo>
                    <a:pt x="4705" y="701"/>
                  </a:lnTo>
                  <a:lnTo>
                    <a:pt x="4735" y="699"/>
                  </a:lnTo>
                  <a:close/>
                  <a:moveTo>
                    <a:pt x="4191" y="320"/>
                  </a:moveTo>
                  <a:lnTo>
                    <a:pt x="4218" y="329"/>
                  </a:lnTo>
                  <a:lnTo>
                    <a:pt x="4225" y="332"/>
                  </a:lnTo>
                  <a:lnTo>
                    <a:pt x="4240" y="340"/>
                  </a:lnTo>
                  <a:lnTo>
                    <a:pt x="4256" y="349"/>
                  </a:lnTo>
                  <a:lnTo>
                    <a:pt x="4271" y="358"/>
                  </a:lnTo>
                  <a:lnTo>
                    <a:pt x="4286" y="365"/>
                  </a:lnTo>
                  <a:lnTo>
                    <a:pt x="4302" y="375"/>
                  </a:lnTo>
                  <a:lnTo>
                    <a:pt x="4317" y="384"/>
                  </a:lnTo>
                  <a:lnTo>
                    <a:pt x="4332" y="391"/>
                  </a:lnTo>
                  <a:lnTo>
                    <a:pt x="4346" y="400"/>
                  </a:lnTo>
                  <a:lnTo>
                    <a:pt x="4363" y="409"/>
                  </a:lnTo>
                  <a:lnTo>
                    <a:pt x="4368" y="413"/>
                  </a:lnTo>
                  <a:lnTo>
                    <a:pt x="4385" y="426"/>
                  </a:lnTo>
                  <a:lnTo>
                    <a:pt x="4398" y="444"/>
                  </a:lnTo>
                  <a:lnTo>
                    <a:pt x="4408" y="472"/>
                  </a:lnTo>
                  <a:lnTo>
                    <a:pt x="4408" y="499"/>
                  </a:lnTo>
                  <a:lnTo>
                    <a:pt x="4399" y="525"/>
                  </a:lnTo>
                  <a:lnTo>
                    <a:pt x="4385" y="545"/>
                  </a:lnTo>
                  <a:lnTo>
                    <a:pt x="4363" y="560"/>
                  </a:lnTo>
                  <a:lnTo>
                    <a:pt x="4337" y="569"/>
                  </a:lnTo>
                  <a:lnTo>
                    <a:pt x="4311" y="567"/>
                  </a:lnTo>
                  <a:lnTo>
                    <a:pt x="4282" y="558"/>
                  </a:lnTo>
                  <a:lnTo>
                    <a:pt x="4277" y="552"/>
                  </a:lnTo>
                  <a:lnTo>
                    <a:pt x="4262" y="545"/>
                  </a:lnTo>
                  <a:lnTo>
                    <a:pt x="4247" y="536"/>
                  </a:lnTo>
                  <a:lnTo>
                    <a:pt x="4233" y="529"/>
                  </a:lnTo>
                  <a:lnTo>
                    <a:pt x="4220" y="519"/>
                  </a:lnTo>
                  <a:lnTo>
                    <a:pt x="4205" y="512"/>
                  </a:lnTo>
                  <a:lnTo>
                    <a:pt x="4191" y="505"/>
                  </a:lnTo>
                  <a:lnTo>
                    <a:pt x="4176" y="496"/>
                  </a:lnTo>
                  <a:lnTo>
                    <a:pt x="4161" y="488"/>
                  </a:lnTo>
                  <a:lnTo>
                    <a:pt x="4147" y="481"/>
                  </a:lnTo>
                  <a:lnTo>
                    <a:pt x="4141" y="477"/>
                  </a:lnTo>
                  <a:lnTo>
                    <a:pt x="4121" y="463"/>
                  </a:lnTo>
                  <a:lnTo>
                    <a:pt x="4106" y="442"/>
                  </a:lnTo>
                  <a:lnTo>
                    <a:pt x="4097" y="415"/>
                  </a:lnTo>
                  <a:lnTo>
                    <a:pt x="4097" y="389"/>
                  </a:lnTo>
                  <a:lnTo>
                    <a:pt x="4104" y="365"/>
                  </a:lnTo>
                  <a:lnTo>
                    <a:pt x="4121" y="345"/>
                  </a:lnTo>
                  <a:lnTo>
                    <a:pt x="4141" y="329"/>
                  </a:lnTo>
                  <a:lnTo>
                    <a:pt x="4165" y="321"/>
                  </a:lnTo>
                  <a:lnTo>
                    <a:pt x="4191" y="320"/>
                  </a:lnTo>
                  <a:close/>
                  <a:moveTo>
                    <a:pt x="1751" y="235"/>
                  </a:moveTo>
                  <a:lnTo>
                    <a:pt x="1780" y="241"/>
                  </a:lnTo>
                  <a:lnTo>
                    <a:pt x="1802" y="252"/>
                  </a:lnTo>
                  <a:lnTo>
                    <a:pt x="1821" y="270"/>
                  </a:lnTo>
                  <a:lnTo>
                    <a:pt x="1832" y="290"/>
                  </a:lnTo>
                  <a:lnTo>
                    <a:pt x="1837" y="314"/>
                  </a:lnTo>
                  <a:lnTo>
                    <a:pt x="1835" y="338"/>
                  </a:lnTo>
                  <a:lnTo>
                    <a:pt x="1826" y="362"/>
                  </a:lnTo>
                  <a:lnTo>
                    <a:pt x="1810" y="382"/>
                  </a:lnTo>
                  <a:lnTo>
                    <a:pt x="1788" y="397"/>
                  </a:lnTo>
                  <a:lnTo>
                    <a:pt x="1786" y="397"/>
                  </a:lnTo>
                  <a:lnTo>
                    <a:pt x="1782" y="398"/>
                  </a:lnTo>
                  <a:lnTo>
                    <a:pt x="1777" y="400"/>
                  </a:lnTo>
                  <a:lnTo>
                    <a:pt x="1773" y="402"/>
                  </a:lnTo>
                  <a:lnTo>
                    <a:pt x="1769" y="404"/>
                  </a:lnTo>
                  <a:lnTo>
                    <a:pt x="1764" y="406"/>
                  </a:lnTo>
                  <a:lnTo>
                    <a:pt x="1760" y="409"/>
                  </a:lnTo>
                  <a:lnTo>
                    <a:pt x="1755" y="411"/>
                  </a:lnTo>
                  <a:lnTo>
                    <a:pt x="1751" y="413"/>
                  </a:lnTo>
                  <a:lnTo>
                    <a:pt x="1745" y="415"/>
                  </a:lnTo>
                  <a:lnTo>
                    <a:pt x="1742" y="417"/>
                  </a:lnTo>
                  <a:lnTo>
                    <a:pt x="1736" y="419"/>
                  </a:lnTo>
                  <a:lnTo>
                    <a:pt x="1733" y="420"/>
                  </a:lnTo>
                  <a:lnTo>
                    <a:pt x="1729" y="422"/>
                  </a:lnTo>
                  <a:lnTo>
                    <a:pt x="1723" y="426"/>
                  </a:lnTo>
                  <a:lnTo>
                    <a:pt x="1720" y="428"/>
                  </a:lnTo>
                  <a:lnTo>
                    <a:pt x="1714" y="430"/>
                  </a:lnTo>
                  <a:lnTo>
                    <a:pt x="1711" y="431"/>
                  </a:lnTo>
                  <a:lnTo>
                    <a:pt x="1705" y="433"/>
                  </a:lnTo>
                  <a:lnTo>
                    <a:pt x="1701" y="435"/>
                  </a:lnTo>
                  <a:lnTo>
                    <a:pt x="1698" y="437"/>
                  </a:lnTo>
                  <a:lnTo>
                    <a:pt x="1692" y="441"/>
                  </a:lnTo>
                  <a:lnTo>
                    <a:pt x="1689" y="442"/>
                  </a:lnTo>
                  <a:lnTo>
                    <a:pt x="1683" y="444"/>
                  </a:lnTo>
                  <a:lnTo>
                    <a:pt x="1680" y="446"/>
                  </a:lnTo>
                  <a:lnTo>
                    <a:pt x="1676" y="448"/>
                  </a:lnTo>
                  <a:lnTo>
                    <a:pt x="1670" y="452"/>
                  </a:lnTo>
                  <a:lnTo>
                    <a:pt x="1667" y="453"/>
                  </a:lnTo>
                  <a:lnTo>
                    <a:pt x="1661" y="455"/>
                  </a:lnTo>
                  <a:lnTo>
                    <a:pt x="1658" y="457"/>
                  </a:lnTo>
                  <a:lnTo>
                    <a:pt x="1654" y="459"/>
                  </a:lnTo>
                  <a:lnTo>
                    <a:pt x="1648" y="463"/>
                  </a:lnTo>
                  <a:lnTo>
                    <a:pt x="1645" y="464"/>
                  </a:lnTo>
                  <a:lnTo>
                    <a:pt x="1641" y="466"/>
                  </a:lnTo>
                  <a:lnTo>
                    <a:pt x="1619" y="474"/>
                  </a:lnTo>
                  <a:lnTo>
                    <a:pt x="1599" y="475"/>
                  </a:lnTo>
                  <a:lnTo>
                    <a:pt x="1571" y="470"/>
                  </a:lnTo>
                  <a:lnTo>
                    <a:pt x="1551" y="459"/>
                  </a:lnTo>
                  <a:lnTo>
                    <a:pt x="1535" y="441"/>
                  </a:lnTo>
                  <a:lnTo>
                    <a:pt x="1524" y="420"/>
                  </a:lnTo>
                  <a:lnTo>
                    <a:pt x="1518" y="398"/>
                  </a:lnTo>
                  <a:lnTo>
                    <a:pt x="1520" y="375"/>
                  </a:lnTo>
                  <a:lnTo>
                    <a:pt x="1527" y="353"/>
                  </a:lnTo>
                  <a:lnTo>
                    <a:pt x="1542" y="332"/>
                  </a:lnTo>
                  <a:lnTo>
                    <a:pt x="1564" y="318"/>
                  </a:lnTo>
                  <a:lnTo>
                    <a:pt x="1568" y="314"/>
                  </a:lnTo>
                  <a:lnTo>
                    <a:pt x="1573" y="312"/>
                  </a:lnTo>
                  <a:lnTo>
                    <a:pt x="1577" y="310"/>
                  </a:lnTo>
                  <a:lnTo>
                    <a:pt x="1582" y="309"/>
                  </a:lnTo>
                  <a:lnTo>
                    <a:pt x="1586" y="305"/>
                  </a:lnTo>
                  <a:lnTo>
                    <a:pt x="1592" y="303"/>
                  </a:lnTo>
                  <a:lnTo>
                    <a:pt x="1597" y="301"/>
                  </a:lnTo>
                  <a:lnTo>
                    <a:pt x="1601" y="298"/>
                  </a:lnTo>
                  <a:lnTo>
                    <a:pt x="1606" y="296"/>
                  </a:lnTo>
                  <a:lnTo>
                    <a:pt x="1610" y="294"/>
                  </a:lnTo>
                  <a:lnTo>
                    <a:pt x="1615" y="292"/>
                  </a:lnTo>
                  <a:lnTo>
                    <a:pt x="1619" y="288"/>
                  </a:lnTo>
                  <a:lnTo>
                    <a:pt x="1625" y="287"/>
                  </a:lnTo>
                  <a:lnTo>
                    <a:pt x="1628" y="285"/>
                  </a:lnTo>
                  <a:lnTo>
                    <a:pt x="1634" y="283"/>
                  </a:lnTo>
                  <a:lnTo>
                    <a:pt x="1639" y="281"/>
                  </a:lnTo>
                  <a:lnTo>
                    <a:pt x="1643" y="277"/>
                  </a:lnTo>
                  <a:lnTo>
                    <a:pt x="1648" y="276"/>
                  </a:lnTo>
                  <a:lnTo>
                    <a:pt x="1652" y="274"/>
                  </a:lnTo>
                  <a:lnTo>
                    <a:pt x="1658" y="272"/>
                  </a:lnTo>
                  <a:lnTo>
                    <a:pt x="1661" y="268"/>
                  </a:lnTo>
                  <a:lnTo>
                    <a:pt x="1667" y="266"/>
                  </a:lnTo>
                  <a:lnTo>
                    <a:pt x="1672" y="265"/>
                  </a:lnTo>
                  <a:lnTo>
                    <a:pt x="1676" y="263"/>
                  </a:lnTo>
                  <a:lnTo>
                    <a:pt x="1681" y="261"/>
                  </a:lnTo>
                  <a:lnTo>
                    <a:pt x="1685" y="259"/>
                  </a:lnTo>
                  <a:lnTo>
                    <a:pt x="1691" y="255"/>
                  </a:lnTo>
                  <a:lnTo>
                    <a:pt x="1696" y="254"/>
                  </a:lnTo>
                  <a:lnTo>
                    <a:pt x="1700" y="252"/>
                  </a:lnTo>
                  <a:lnTo>
                    <a:pt x="1705" y="250"/>
                  </a:lnTo>
                  <a:lnTo>
                    <a:pt x="1709" y="248"/>
                  </a:lnTo>
                  <a:lnTo>
                    <a:pt x="1714" y="246"/>
                  </a:lnTo>
                  <a:lnTo>
                    <a:pt x="1720" y="243"/>
                  </a:lnTo>
                  <a:lnTo>
                    <a:pt x="1720" y="243"/>
                  </a:lnTo>
                  <a:lnTo>
                    <a:pt x="1734" y="237"/>
                  </a:lnTo>
                  <a:lnTo>
                    <a:pt x="1751" y="235"/>
                  </a:lnTo>
                  <a:close/>
                  <a:moveTo>
                    <a:pt x="3560" y="83"/>
                  </a:moveTo>
                  <a:lnTo>
                    <a:pt x="3575" y="85"/>
                  </a:lnTo>
                  <a:lnTo>
                    <a:pt x="3584" y="87"/>
                  </a:lnTo>
                  <a:lnTo>
                    <a:pt x="3601" y="90"/>
                  </a:lnTo>
                  <a:lnTo>
                    <a:pt x="3619" y="96"/>
                  </a:lnTo>
                  <a:lnTo>
                    <a:pt x="3636" y="99"/>
                  </a:lnTo>
                  <a:lnTo>
                    <a:pt x="3652" y="105"/>
                  </a:lnTo>
                  <a:lnTo>
                    <a:pt x="3670" y="110"/>
                  </a:lnTo>
                  <a:lnTo>
                    <a:pt x="3687" y="114"/>
                  </a:lnTo>
                  <a:lnTo>
                    <a:pt x="3703" y="120"/>
                  </a:lnTo>
                  <a:lnTo>
                    <a:pt x="3722" y="125"/>
                  </a:lnTo>
                  <a:lnTo>
                    <a:pt x="3738" y="131"/>
                  </a:lnTo>
                  <a:lnTo>
                    <a:pt x="3742" y="131"/>
                  </a:lnTo>
                  <a:lnTo>
                    <a:pt x="3762" y="142"/>
                  </a:lnTo>
                  <a:lnTo>
                    <a:pt x="3780" y="156"/>
                  </a:lnTo>
                  <a:lnTo>
                    <a:pt x="3795" y="182"/>
                  </a:lnTo>
                  <a:lnTo>
                    <a:pt x="3800" y="208"/>
                  </a:lnTo>
                  <a:lnTo>
                    <a:pt x="3797" y="233"/>
                  </a:lnTo>
                  <a:lnTo>
                    <a:pt x="3786" y="257"/>
                  </a:lnTo>
                  <a:lnTo>
                    <a:pt x="3769" y="276"/>
                  </a:lnTo>
                  <a:lnTo>
                    <a:pt x="3745" y="290"/>
                  </a:lnTo>
                  <a:lnTo>
                    <a:pt x="3720" y="296"/>
                  </a:lnTo>
                  <a:lnTo>
                    <a:pt x="3691" y="290"/>
                  </a:lnTo>
                  <a:lnTo>
                    <a:pt x="3689" y="290"/>
                  </a:lnTo>
                  <a:lnTo>
                    <a:pt x="3672" y="285"/>
                  </a:lnTo>
                  <a:lnTo>
                    <a:pt x="3656" y="281"/>
                  </a:lnTo>
                  <a:lnTo>
                    <a:pt x="3641" y="276"/>
                  </a:lnTo>
                  <a:lnTo>
                    <a:pt x="3625" y="270"/>
                  </a:lnTo>
                  <a:lnTo>
                    <a:pt x="3608" y="266"/>
                  </a:lnTo>
                  <a:lnTo>
                    <a:pt x="3592" y="263"/>
                  </a:lnTo>
                  <a:lnTo>
                    <a:pt x="3575" y="257"/>
                  </a:lnTo>
                  <a:lnTo>
                    <a:pt x="3559" y="254"/>
                  </a:lnTo>
                  <a:lnTo>
                    <a:pt x="3548" y="250"/>
                  </a:lnTo>
                  <a:lnTo>
                    <a:pt x="3544" y="250"/>
                  </a:lnTo>
                  <a:lnTo>
                    <a:pt x="3535" y="248"/>
                  </a:lnTo>
                  <a:lnTo>
                    <a:pt x="3520" y="243"/>
                  </a:lnTo>
                  <a:lnTo>
                    <a:pt x="3506" y="233"/>
                  </a:lnTo>
                  <a:lnTo>
                    <a:pt x="3485" y="213"/>
                  </a:lnTo>
                  <a:lnTo>
                    <a:pt x="3474" y="189"/>
                  </a:lnTo>
                  <a:lnTo>
                    <a:pt x="3471" y="165"/>
                  </a:lnTo>
                  <a:lnTo>
                    <a:pt x="3474" y="142"/>
                  </a:lnTo>
                  <a:lnTo>
                    <a:pt x="3485" y="120"/>
                  </a:lnTo>
                  <a:lnTo>
                    <a:pt x="3502" y="101"/>
                  </a:lnTo>
                  <a:lnTo>
                    <a:pt x="3522" y="88"/>
                  </a:lnTo>
                  <a:lnTo>
                    <a:pt x="3548" y="83"/>
                  </a:lnTo>
                  <a:lnTo>
                    <a:pt x="3560" y="83"/>
                  </a:lnTo>
                  <a:close/>
                  <a:moveTo>
                    <a:pt x="2394" y="43"/>
                  </a:moveTo>
                  <a:lnTo>
                    <a:pt x="2408" y="44"/>
                  </a:lnTo>
                  <a:lnTo>
                    <a:pt x="2434" y="54"/>
                  </a:lnTo>
                  <a:lnTo>
                    <a:pt x="2452" y="66"/>
                  </a:lnTo>
                  <a:lnTo>
                    <a:pt x="2465" y="85"/>
                  </a:lnTo>
                  <a:lnTo>
                    <a:pt x="2473" y="105"/>
                  </a:lnTo>
                  <a:lnTo>
                    <a:pt x="2476" y="127"/>
                  </a:lnTo>
                  <a:lnTo>
                    <a:pt x="2473" y="149"/>
                  </a:lnTo>
                  <a:lnTo>
                    <a:pt x="2463" y="169"/>
                  </a:lnTo>
                  <a:lnTo>
                    <a:pt x="2451" y="187"/>
                  </a:lnTo>
                  <a:lnTo>
                    <a:pt x="2432" y="200"/>
                  </a:lnTo>
                  <a:lnTo>
                    <a:pt x="2407" y="208"/>
                  </a:lnTo>
                  <a:lnTo>
                    <a:pt x="2405" y="209"/>
                  </a:lnTo>
                  <a:lnTo>
                    <a:pt x="2399" y="209"/>
                  </a:lnTo>
                  <a:lnTo>
                    <a:pt x="2394" y="211"/>
                  </a:lnTo>
                  <a:lnTo>
                    <a:pt x="2388" y="211"/>
                  </a:lnTo>
                  <a:lnTo>
                    <a:pt x="2385" y="213"/>
                  </a:lnTo>
                  <a:lnTo>
                    <a:pt x="2379" y="213"/>
                  </a:lnTo>
                  <a:lnTo>
                    <a:pt x="2374" y="215"/>
                  </a:lnTo>
                  <a:lnTo>
                    <a:pt x="2370" y="215"/>
                  </a:lnTo>
                  <a:lnTo>
                    <a:pt x="2365" y="217"/>
                  </a:lnTo>
                  <a:lnTo>
                    <a:pt x="2359" y="217"/>
                  </a:lnTo>
                  <a:lnTo>
                    <a:pt x="2355" y="219"/>
                  </a:lnTo>
                  <a:lnTo>
                    <a:pt x="2350" y="219"/>
                  </a:lnTo>
                  <a:lnTo>
                    <a:pt x="2344" y="220"/>
                  </a:lnTo>
                  <a:lnTo>
                    <a:pt x="2339" y="220"/>
                  </a:lnTo>
                  <a:lnTo>
                    <a:pt x="2335" y="222"/>
                  </a:lnTo>
                  <a:lnTo>
                    <a:pt x="2330" y="222"/>
                  </a:lnTo>
                  <a:lnTo>
                    <a:pt x="2324" y="224"/>
                  </a:lnTo>
                  <a:lnTo>
                    <a:pt x="2321" y="226"/>
                  </a:lnTo>
                  <a:lnTo>
                    <a:pt x="2315" y="226"/>
                  </a:lnTo>
                  <a:lnTo>
                    <a:pt x="2310" y="228"/>
                  </a:lnTo>
                  <a:lnTo>
                    <a:pt x="2306" y="228"/>
                  </a:lnTo>
                  <a:lnTo>
                    <a:pt x="2300" y="230"/>
                  </a:lnTo>
                  <a:lnTo>
                    <a:pt x="2295" y="230"/>
                  </a:lnTo>
                  <a:lnTo>
                    <a:pt x="2291" y="231"/>
                  </a:lnTo>
                  <a:lnTo>
                    <a:pt x="2286" y="233"/>
                  </a:lnTo>
                  <a:lnTo>
                    <a:pt x="2280" y="233"/>
                  </a:lnTo>
                  <a:lnTo>
                    <a:pt x="2277" y="235"/>
                  </a:lnTo>
                  <a:lnTo>
                    <a:pt x="2271" y="235"/>
                  </a:lnTo>
                  <a:lnTo>
                    <a:pt x="2266" y="237"/>
                  </a:lnTo>
                  <a:lnTo>
                    <a:pt x="2260" y="239"/>
                  </a:lnTo>
                  <a:lnTo>
                    <a:pt x="2256" y="239"/>
                  </a:lnTo>
                  <a:lnTo>
                    <a:pt x="2251" y="241"/>
                  </a:lnTo>
                  <a:lnTo>
                    <a:pt x="2247" y="241"/>
                  </a:lnTo>
                  <a:lnTo>
                    <a:pt x="2222" y="243"/>
                  </a:lnTo>
                  <a:lnTo>
                    <a:pt x="2194" y="237"/>
                  </a:lnTo>
                  <a:lnTo>
                    <a:pt x="2174" y="224"/>
                  </a:lnTo>
                  <a:lnTo>
                    <a:pt x="2158" y="206"/>
                  </a:lnTo>
                  <a:lnTo>
                    <a:pt x="2148" y="186"/>
                  </a:lnTo>
                  <a:lnTo>
                    <a:pt x="2145" y="164"/>
                  </a:lnTo>
                  <a:lnTo>
                    <a:pt x="2147" y="142"/>
                  </a:lnTo>
                  <a:lnTo>
                    <a:pt x="2154" y="120"/>
                  </a:lnTo>
                  <a:lnTo>
                    <a:pt x="2169" y="101"/>
                  </a:lnTo>
                  <a:lnTo>
                    <a:pt x="2185" y="88"/>
                  </a:lnTo>
                  <a:lnTo>
                    <a:pt x="2209" y="79"/>
                  </a:lnTo>
                  <a:lnTo>
                    <a:pt x="2212" y="77"/>
                  </a:lnTo>
                  <a:lnTo>
                    <a:pt x="2218" y="76"/>
                  </a:lnTo>
                  <a:lnTo>
                    <a:pt x="2223" y="76"/>
                  </a:lnTo>
                  <a:lnTo>
                    <a:pt x="2229" y="74"/>
                  </a:lnTo>
                  <a:lnTo>
                    <a:pt x="2233" y="72"/>
                  </a:lnTo>
                  <a:lnTo>
                    <a:pt x="2238" y="72"/>
                  </a:lnTo>
                  <a:lnTo>
                    <a:pt x="2244" y="70"/>
                  </a:lnTo>
                  <a:lnTo>
                    <a:pt x="2249" y="68"/>
                  </a:lnTo>
                  <a:lnTo>
                    <a:pt x="2255" y="68"/>
                  </a:lnTo>
                  <a:lnTo>
                    <a:pt x="2260" y="66"/>
                  </a:lnTo>
                  <a:lnTo>
                    <a:pt x="2266" y="66"/>
                  </a:lnTo>
                  <a:lnTo>
                    <a:pt x="2269" y="65"/>
                  </a:lnTo>
                  <a:lnTo>
                    <a:pt x="2275" y="63"/>
                  </a:lnTo>
                  <a:lnTo>
                    <a:pt x="2280" y="63"/>
                  </a:lnTo>
                  <a:lnTo>
                    <a:pt x="2286" y="61"/>
                  </a:lnTo>
                  <a:lnTo>
                    <a:pt x="2291" y="61"/>
                  </a:lnTo>
                  <a:lnTo>
                    <a:pt x="2297" y="59"/>
                  </a:lnTo>
                  <a:lnTo>
                    <a:pt x="2302" y="57"/>
                  </a:lnTo>
                  <a:lnTo>
                    <a:pt x="2306" y="57"/>
                  </a:lnTo>
                  <a:lnTo>
                    <a:pt x="2311" y="55"/>
                  </a:lnTo>
                  <a:lnTo>
                    <a:pt x="2317" y="55"/>
                  </a:lnTo>
                  <a:lnTo>
                    <a:pt x="2322" y="54"/>
                  </a:lnTo>
                  <a:lnTo>
                    <a:pt x="2328" y="54"/>
                  </a:lnTo>
                  <a:lnTo>
                    <a:pt x="2333" y="52"/>
                  </a:lnTo>
                  <a:lnTo>
                    <a:pt x="2339" y="50"/>
                  </a:lnTo>
                  <a:lnTo>
                    <a:pt x="2344" y="50"/>
                  </a:lnTo>
                  <a:lnTo>
                    <a:pt x="2348" y="48"/>
                  </a:lnTo>
                  <a:lnTo>
                    <a:pt x="2354" y="48"/>
                  </a:lnTo>
                  <a:lnTo>
                    <a:pt x="2359" y="46"/>
                  </a:lnTo>
                  <a:lnTo>
                    <a:pt x="2365" y="46"/>
                  </a:lnTo>
                  <a:lnTo>
                    <a:pt x="2370" y="44"/>
                  </a:lnTo>
                  <a:lnTo>
                    <a:pt x="2375" y="44"/>
                  </a:lnTo>
                  <a:lnTo>
                    <a:pt x="2377" y="43"/>
                  </a:lnTo>
                  <a:lnTo>
                    <a:pt x="2394" y="43"/>
                  </a:lnTo>
                  <a:close/>
                  <a:moveTo>
                    <a:pt x="2892" y="0"/>
                  </a:moveTo>
                  <a:lnTo>
                    <a:pt x="2899" y="0"/>
                  </a:lnTo>
                  <a:lnTo>
                    <a:pt x="2918" y="0"/>
                  </a:lnTo>
                  <a:lnTo>
                    <a:pt x="2923" y="0"/>
                  </a:lnTo>
                  <a:lnTo>
                    <a:pt x="2936" y="0"/>
                  </a:lnTo>
                  <a:lnTo>
                    <a:pt x="2954" y="0"/>
                  </a:lnTo>
                  <a:lnTo>
                    <a:pt x="2973" y="2"/>
                  </a:lnTo>
                  <a:lnTo>
                    <a:pt x="2991" y="2"/>
                  </a:lnTo>
                  <a:lnTo>
                    <a:pt x="3009" y="2"/>
                  </a:lnTo>
                  <a:lnTo>
                    <a:pt x="3028" y="4"/>
                  </a:lnTo>
                  <a:lnTo>
                    <a:pt x="3046" y="4"/>
                  </a:lnTo>
                  <a:lnTo>
                    <a:pt x="3064" y="6"/>
                  </a:lnTo>
                  <a:lnTo>
                    <a:pt x="3092" y="11"/>
                  </a:lnTo>
                  <a:lnTo>
                    <a:pt x="3115" y="26"/>
                  </a:lnTo>
                  <a:lnTo>
                    <a:pt x="3132" y="46"/>
                  </a:lnTo>
                  <a:lnTo>
                    <a:pt x="3141" y="70"/>
                  </a:lnTo>
                  <a:lnTo>
                    <a:pt x="3143" y="96"/>
                  </a:lnTo>
                  <a:lnTo>
                    <a:pt x="3137" y="121"/>
                  </a:lnTo>
                  <a:lnTo>
                    <a:pt x="3121" y="145"/>
                  </a:lnTo>
                  <a:lnTo>
                    <a:pt x="3103" y="162"/>
                  </a:lnTo>
                  <a:lnTo>
                    <a:pt x="3079" y="171"/>
                  </a:lnTo>
                  <a:lnTo>
                    <a:pt x="3055" y="173"/>
                  </a:lnTo>
                  <a:lnTo>
                    <a:pt x="3037" y="173"/>
                  </a:lnTo>
                  <a:lnTo>
                    <a:pt x="3020" y="171"/>
                  </a:lnTo>
                  <a:lnTo>
                    <a:pt x="3002" y="171"/>
                  </a:lnTo>
                  <a:lnTo>
                    <a:pt x="2985" y="169"/>
                  </a:lnTo>
                  <a:lnTo>
                    <a:pt x="2967" y="169"/>
                  </a:lnTo>
                  <a:lnTo>
                    <a:pt x="2951" y="169"/>
                  </a:lnTo>
                  <a:lnTo>
                    <a:pt x="2932" y="167"/>
                  </a:lnTo>
                  <a:lnTo>
                    <a:pt x="2923" y="167"/>
                  </a:lnTo>
                  <a:lnTo>
                    <a:pt x="2916" y="167"/>
                  </a:lnTo>
                  <a:lnTo>
                    <a:pt x="2897" y="167"/>
                  </a:lnTo>
                  <a:lnTo>
                    <a:pt x="2892" y="167"/>
                  </a:lnTo>
                  <a:lnTo>
                    <a:pt x="2865" y="164"/>
                  </a:lnTo>
                  <a:lnTo>
                    <a:pt x="2841" y="151"/>
                  </a:lnTo>
                  <a:lnTo>
                    <a:pt x="2822" y="131"/>
                  </a:lnTo>
                  <a:lnTo>
                    <a:pt x="2811" y="109"/>
                  </a:lnTo>
                  <a:lnTo>
                    <a:pt x="2808" y="81"/>
                  </a:lnTo>
                  <a:lnTo>
                    <a:pt x="2813" y="55"/>
                  </a:lnTo>
                  <a:lnTo>
                    <a:pt x="2828" y="32"/>
                  </a:lnTo>
                  <a:lnTo>
                    <a:pt x="2846" y="13"/>
                  </a:lnTo>
                  <a:lnTo>
                    <a:pt x="2868" y="4"/>
                  </a:lnTo>
                  <a:lnTo>
                    <a:pt x="2892" y="0"/>
                  </a:lnTo>
                  <a:close/>
                </a:path>
              </a:pathLst>
            </a:custGeom>
            <a:solidFill>
              <a:srgbClr val="FFFFFF">
                <a:alpha val="1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200">
              <a:extLst>
                <a:ext uri="{FF2B5EF4-FFF2-40B4-BE49-F238E27FC236}">
                  <a16:creationId xmlns:a16="http://schemas.microsoft.com/office/drawing/2014/main" id="{2FB0042B-CF28-4A4C-B32A-81ADD62E1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75" y="1812925"/>
              <a:ext cx="3521075" cy="3525838"/>
            </a:xfrm>
            <a:custGeom>
              <a:avLst/>
              <a:gdLst>
                <a:gd name="T0" fmla="*/ 2381 w 4438"/>
                <a:gd name="T1" fmla="*/ 5 h 4442"/>
                <a:gd name="T2" fmla="*/ 2665 w 4438"/>
                <a:gd name="T3" fmla="*/ 44 h 4442"/>
                <a:gd name="T4" fmla="*/ 2931 w 4438"/>
                <a:gd name="T5" fmla="*/ 115 h 4442"/>
                <a:gd name="T6" fmla="*/ 3031 w 4438"/>
                <a:gd name="T7" fmla="*/ 154 h 4442"/>
                <a:gd name="T8" fmla="*/ 3185 w 4438"/>
                <a:gd name="T9" fmla="*/ 220 h 4442"/>
                <a:gd name="T10" fmla="*/ 3440 w 4438"/>
                <a:gd name="T11" fmla="*/ 365 h 4442"/>
                <a:gd name="T12" fmla="*/ 3711 w 4438"/>
                <a:gd name="T13" fmla="*/ 576 h 4442"/>
                <a:gd name="T14" fmla="*/ 3914 w 4438"/>
                <a:gd name="T15" fmla="*/ 787 h 4442"/>
                <a:gd name="T16" fmla="*/ 4088 w 4438"/>
                <a:gd name="T17" fmla="*/ 1023 h 4442"/>
                <a:gd name="T18" fmla="*/ 4218 w 4438"/>
                <a:gd name="T19" fmla="*/ 1258 h 4442"/>
                <a:gd name="T20" fmla="*/ 4302 w 4438"/>
                <a:gd name="T21" fmla="*/ 1456 h 4442"/>
                <a:gd name="T22" fmla="*/ 4392 w 4438"/>
                <a:gd name="T23" fmla="*/ 1773 h 4442"/>
                <a:gd name="T24" fmla="*/ 4434 w 4438"/>
                <a:gd name="T25" fmla="*/ 2107 h 4442"/>
                <a:gd name="T26" fmla="*/ 4425 w 4438"/>
                <a:gd name="T27" fmla="*/ 2448 h 4442"/>
                <a:gd name="T28" fmla="*/ 4367 w 4438"/>
                <a:gd name="T29" fmla="*/ 2776 h 4442"/>
                <a:gd name="T30" fmla="*/ 4262 w 4438"/>
                <a:gd name="T31" fmla="*/ 3084 h 4442"/>
                <a:gd name="T32" fmla="*/ 4143 w 4438"/>
                <a:gd name="T33" fmla="*/ 3327 h 4442"/>
                <a:gd name="T34" fmla="*/ 3964 w 4438"/>
                <a:gd name="T35" fmla="*/ 3592 h 4442"/>
                <a:gd name="T36" fmla="*/ 3788 w 4438"/>
                <a:gd name="T37" fmla="*/ 3791 h 4442"/>
                <a:gd name="T38" fmla="*/ 3524 w 4438"/>
                <a:gd name="T39" fmla="*/ 4016 h 4442"/>
                <a:gd name="T40" fmla="*/ 3229 w 4438"/>
                <a:gd name="T41" fmla="*/ 4200 h 4442"/>
                <a:gd name="T42" fmla="*/ 2931 w 4438"/>
                <a:gd name="T43" fmla="*/ 4326 h 4442"/>
                <a:gd name="T44" fmla="*/ 2592 w 4438"/>
                <a:gd name="T45" fmla="*/ 4410 h 4442"/>
                <a:gd name="T46" fmla="*/ 2218 w 4438"/>
                <a:gd name="T47" fmla="*/ 4442 h 4442"/>
                <a:gd name="T48" fmla="*/ 1782 w 4438"/>
                <a:gd name="T49" fmla="*/ 4399 h 4442"/>
                <a:gd name="T50" fmla="*/ 1405 w 4438"/>
                <a:gd name="T51" fmla="*/ 4288 h 4442"/>
                <a:gd name="T52" fmla="*/ 1114 w 4438"/>
                <a:gd name="T53" fmla="*/ 4148 h 4442"/>
                <a:gd name="T54" fmla="*/ 817 w 4438"/>
                <a:gd name="T55" fmla="*/ 3943 h 4442"/>
                <a:gd name="T56" fmla="*/ 577 w 4438"/>
                <a:gd name="T57" fmla="*/ 3714 h 4442"/>
                <a:gd name="T58" fmla="*/ 410 w 4438"/>
                <a:gd name="T59" fmla="*/ 3506 h 4442"/>
                <a:gd name="T60" fmla="*/ 244 w 4438"/>
                <a:gd name="T61" fmla="*/ 3231 h 4442"/>
                <a:gd name="T62" fmla="*/ 136 w 4438"/>
                <a:gd name="T63" fmla="*/ 2984 h 4442"/>
                <a:gd name="T64" fmla="*/ 46 w 4438"/>
                <a:gd name="T65" fmla="*/ 2668 h 4442"/>
                <a:gd name="T66" fmla="*/ 4 w 4438"/>
                <a:gd name="T67" fmla="*/ 2334 h 4442"/>
                <a:gd name="T68" fmla="*/ 11 w 4438"/>
                <a:gd name="T69" fmla="*/ 1993 h 4442"/>
                <a:gd name="T70" fmla="*/ 70 w 4438"/>
                <a:gd name="T71" fmla="*/ 1665 h 4442"/>
                <a:gd name="T72" fmla="*/ 154 w 4438"/>
                <a:gd name="T73" fmla="*/ 1406 h 4442"/>
                <a:gd name="T74" fmla="*/ 244 w 4438"/>
                <a:gd name="T75" fmla="*/ 1208 h 4442"/>
                <a:gd name="T76" fmla="*/ 410 w 4438"/>
                <a:gd name="T77" fmla="*/ 935 h 4442"/>
                <a:gd name="T78" fmla="*/ 577 w 4438"/>
                <a:gd name="T79" fmla="*/ 726 h 4442"/>
                <a:gd name="T80" fmla="*/ 766 w 4438"/>
                <a:gd name="T81" fmla="*/ 543 h 4442"/>
                <a:gd name="T82" fmla="*/ 1114 w 4438"/>
                <a:gd name="T83" fmla="*/ 293 h 4442"/>
                <a:gd name="T84" fmla="*/ 1374 w 4438"/>
                <a:gd name="T85" fmla="*/ 167 h 4442"/>
                <a:gd name="T86" fmla="*/ 1630 w 4438"/>
                <a:gd name="T87" fmla="*/ 79 h 4442"/>
                <a:gd name="T88" fmla="*/ 2017 w 4438"/>
                <a:gd name="T89" fmla="*/ 9 h 4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38" h="4442">
                  <a:moveTo>
                    <a:pt x="2218" y="0"/>
                  </a:moveTo>
                  <a:lnTo>
                    <a:pt x="2258" y="0"/>
                  </a:lnTo>
                  <a:lnTo>
                    <a:pt x="2381" y="5"/>
                  </a:lnTo>
                  <a:lnTo>
                    <a:pt x="2500" y="16"/>
                  </a:lnTo>
                  <a:lnTo>
                    <a:pt x="2617" y="35"/>
                  </a:lnTo>
                  <a:lnTo>
                    <a:pt x="2665" y="44"/>
                  </a:lnTo>
                  <a:lnTo>
                    <a:pt x="2729" y="58"/>
                  </a:lnTo>
                  <a:lnTo>
                    <a:pt x="2830" y="84"/>
                  </a:lnTo>
                  <a:lnTo>
                    <a:pt x="2931" y="115"/>
                  </a:lnTo>
                  <a:lnTo>
                    <a:pt x="2947" y="123"/>
                  </a:lnTo>
                  <a:lnTo>
                    <a:pt x="3031" y="152"/>
                  </a:lnTo>
                  <a:lnTo>
                    <a:pt x="3031" y="154"/>
                  </a:lnTo>
                  <a:lnTo>
                    <a:pt x="3110" y="185"/>
                  </a:lnTo>
                  <a:lnTo>
                    <a:pt x="3132" y="196"/>
                  </a:lnTo>
                  <a:lnTo>
                    <a:pt x="3185" y="220"/>
                  </a:lnTo>
                  <a:lnTo>
                    <a:pt x="3229" y="242"/>
                  </a:lnTo>
                  <a:lnTo>
                    <a:pt x="3323" y="293"/>
                  </a:lnTo>
                  <a:lnTo>
                    <a:pt x="3440" y="365"/>
                  </a:lnTo>
                  <a:lnTo>
                    <a:pt x="3552" y="444"/>
                  </a:lnTo>
                  <a:lnTo>
                    <a:pt x="3632" y="508"/>
                  </a:lnTo>
                  <a:lnTo>
                    <a:pt x="3711" y="576"/>
                  </a:lnTo>
                  <a:lnTo>
                    <a:pt x="3788" y="649"/>
                  </a:lnTo>
                  <a:lnTo>
                    <a:pt x="3861" y="726"/>
                  </a:lnTo>
                  <a:lnTo>
                    <a:pt x="3914" y="787"/>
                  </a:lnTo>
                  <a:lnTo>
                    <a:pt x="3964" y="849"/>
                  </a:lnTo>
                  <a:lnTo>
                    <a:pt x="4028" y="935"/>
                  </a:lnTo>
                  <a:lnTo>
                    <a:pt x="4088" y="1023"/>
                  </a:lnTo>
                  <a:lnTo>
                    <a:pt x="4143" y="1115"/>
                  </a:lnTo>
                  <a:lnTo>
                    <a:pt x="4194" y="1208"/>
                  </a:lnTo>
                  <a:lnTo>
                    <a:pt x="4218" y="1258"/>
                  </a:lnTo>
                  <a:lnTo>
                    <a:pt x="4253" y="1331"/>
                  </a:lnTo>
                  <a:lnTo>
                    <a:pt x="4284" y="1406"/>
                  </a:lnTo>
                  <a:lnTo>
                    <a:pt x="4302" y="1456"/>
                  </a:lnTo>
                  <a:lnTo>
                    <a:pt x="4337" y="1560"/>
                  </a:lnTo>
                  <a:lnTo>
                    <a:pt x="4367" y="1665"/>
                  </a:lnTo>
                  <a:lnTo>
                    <a:pt x="4392" y="1773"/>
                  </a:lnTo>
                  <a:lnTo>
                    <a:pt x="4412" y="1881"/>
                  </a:lnTo>
                  <a:lnTo>
                    <a:pt x="4425" y="1993"/>
                  </a:lnTo>
                  <a:lnTo>
                    <a:pt x="4434" y="2107"/>
                  </a:lnTo>
                  <a:lnTo>
                    <a:pt x="4438" y="2221"/>
                  </a:lnTo>
                  <a:lnTo>
                    <a:pt x="4434" y="2334"/>
                  </a:lnTo>
                  <a:lnTo>
                    <a:pt x="4425" y="2448"/>
                  </a:lnTo>
                  <a:lnTo>
                    <a:pt x="4412" y="2558"/>
                  </a:lnTo>
                  <a:lnTo>
                    <a:pt x="4392" y="2668"/>
                  </a:lnTo>
                  <a:lnTo>
                    <a:pt x="4367" y="2776"/>
                  </a:lnTo>
                  <a:lnTo>
                    <a:pt x="4337" y="2881"/>
                  </a:lnTo>
                  <a:lnTo>
                    <a:pt x="4302" y="2984"/>
                  </a:lnTo>
                  <a:lnTo>
                    <a:pt x="4262" y="3084"/>
                  </a:lnTo>
                  <a:lnTo>
                    <a:pt x="4218" y="3184"/>
                  </a:lnTo>
                  <a:lnTo>
                    <a:pt x="4194" y="3231"/>
                  </a:lnTo>
                  <a:lnTo>
                    <a:pt x="4143" y="3327"/>
                  </a:lnTo>
                  <a:lnTo>
                    <a:pt x="4108" y="3383"/>
                  </a:lnTo>
                  <a:lnTo>
                    <a:pt x="4039" y="3490"/>
                  </a:lnTo>
                  <a:lnTo>
                    <a:pt x="3964" y="3592"/>
                  </a:lnTo>
                  <a:lnTo>
                    <a:pt x="3914" y="3655"/>
                  </a:lnTo>
                  <a:lnTo>
                    <a:pt x="3861" y="3714"/>
                  </a:lnTo>
                  <a:lnTo>
                    <a:pt x="3788" y="3791"/>
                  </a:lnTo>
                  <a:lnTo>
                    <a:pt x="3711" y="3864"/>
                  </a:lnTo>
                  <a:lnTo>
                    <a:pt x="3619" y="3943"/>
                  </a:lnTo>
                  <a:lnTo>
                    <a:pt x="3524" y="4016"/>
                  </a:lnTo>
                  <a:lnTo>
                    <a:pt x="3425" y="4084"/>
                  </a:lnTo>
                  <a:lnTo>
                    <a:pt x="3323" y="4148"/>
                  </a:lnTo>
                  <a:lnTo>
                    <a:pt x="3229" y="4200"/>
                  </a:lnTo>
                  <a:lnTo>
                    <a:pt x="3132" y="4245"/>
                  </a:lnTo>
                  <a:lnTo>
                    <a:pt x="3031" y="4288"/>
                  </a:lnTo>
                  <a:lnTo>
                    <a:pt x="2931" y="4326"/>
                  </a:lnTo>
                  <a:lnTo>
                    <a:pt x="2823" y="4359"/>
                  </a:lnTo>
                  <a:lnTo>
                    <a:pt x="2713" y="4387"/>
                  </a:lnTo>
                  <a:lnTo>
                    <a:pt x="2592" y="4410"/>
                  </a:lnTo>
                  <a:lnTo>
                    <a:pt x="2469" y="4427"/>
                  </a:lnTo>
                  <a:lnTo>
                    <a:pt x="2345" y="4438"/>
                  </a:lnTo>
                  <a:lnTo>
                    <a:pt x="2218" y="4442"/>
                  </a:lnTo>
                  <a:lnTo>
                    <a:pt x="2070" y="4436"/>
                  </a:lnTo>
                  <a:lnTo>
                    <a:pt x="1925" y="4423"/>
                  </a:lnTo>
                  <a:lnTo>
                    <a:pt x="1782" y="4399"/>
                  </a:lnTo>
                  <a:lnTo>
                    <a:pt x="1643" y="4366"/>
                  </a:lnTo>
                  <a:lnTo>
                    <a:pt x="1508" y="4324"/>
                  </a:lnTo>
                  <a:lnTo>
                    <a:pt x="1405" y="4288"/>
                  </a:lnTo>
                  <a:lnTo>
                    <a:pt x="1306" y="4245"/>
                  </a:lnTo>
                  <a:lnTo>
                    <a:pt x="1209" y="4200"/>
                  </a:lnTo>
                  <a:lnTo>
                    <a:pt x="1114" y="4148"/>
                  </a:lnTo>
                  <a:lnTo>
                    <a:pt x="1011" y="4084"/>
                  </a:lnTo>
                  <a:lnTo>
                    <a:pt x="912" y="4016"/>
                  </a:lnTo>
                  <a:lnTo>
                    <a:pt x="817" y="3943"/>
                  </a:lnTo>
                  <a:lnTo>
                    <a:pt x="727" y="3864"/>
                  </a:lnTo>
                  <a:lnTo>
                    <a:pt x="650" y="3791"/>
                  </a:lnTo>
                  <a:lnTo>
                    <a:pt x="577" y="3714"/>
                  </a:lnTo>
                  <a:lnTo>
                    <a:pt x="524" y="3653"/>
                  </a:lnTo>
                  <a:lnTo>
                    <a:pt x="473" y="3592"/>
                  </a:lnTo>
                  <a:lnTo>
                    <a:pt x="410" y="3506"/>
                  </a:lnTo>
                  <a:lnTo>
                    <a:pt x="350" y="3418"/>
                  </a:lnTo>
                  <a:lnTo>
                    <a:pt x="295" y="3327"/>
                  </a:lnTo>
                  <a:lnTo>
                    <a:pt x="244" y="3231"/>
                  </a:lnTo>
                  <a:lnTo>
                    <a:pt x="220" y="3184"/>
                  </a:lnTo>
                  <a:lnTo>
                    <a:pt x="174" y="3084"/>
                  </a:lnTo>
                  <a:lnTo>
                    <a:pt x="136" y="2984"/>
                  </a:lnTo>
                  <a:lnTo>
                    <a:pt x="101" y="2881"/>
                  </a:lnTo>
                  <a:lnTo>
                    <a:pt x="70" y="2776"/>
                  </a:lnTo>
                  <a:lnTo>
                    <a:pt x="46" y="2668"/>
                  </a:lnTo>
                  <a:lnTo>
                    <a:pt x="26" y="2558"/>
                  </a:lnTo>
                  <a:lnTo>
                    <a:pt x="11" y="2448"/>
                  </a:lnTo>
                  <a:lnTo>
                    <a:pt x="4" y="2334"/>
                  </a:lnTo>
                  <a:lnTo>
                    <a:pt x="0" y="2221"/>
                  </a:lnTo>
                  <a:lnTo>
                    <a:pt x="4" y="2105"/>
                  </a:lnTo>
                  <a:lnTo>
                    <a:pt x="11" y="1993"/>
                  </a:lnTo>
                  <a:lnTo>
                    <a:pt x="26" y="1881"/>
                  </a:lnTo>
                  <a:lnTo>
                    <a:pt x="46" y="1773"/>
                  </a:lnTo>
                  <a:lnTo>
                    <a:pt x="70" y="1665"/>
                  </a:lnTo>
                  <a:lnTo>
                    <a:pt x="99" y="1560"/>
                  </a:lnTo>
                  <a:lnTo>
                    <a:pt x="136" y="1456"/>
                  </a:lnTo>
                  <a:lnTo>
                    <a:pt x="154" y="1406"/>
                  </a:lnTo>
                  <a:lnTo>
                    <a:pt x="185" y="1331"/>
                  </a:lnTo>
                  <a:lnTo>
                    <a:pt x="218" y="1258"/>
                  </a:lnTo>
                  <a:lnTo>
                    <a:pt x="244" y="1208"/>
                  </a:lnTo>
                  <a:lnTo>
                    <a:pt x="293" y="1115"/>
                  </a:lnTo>
                  <a:lnTo>
                    <a:pt x="350" y="1023"/>
                  </a:lnTo>
                  <a:lnTo>
                    <a:pt x="410" y="935"/>
                  </a:lnTo>
                  <a:lnTo>
                    <a:pt x="473" y="849"/>
                  </a:lnTo>
                  <a:lnTo>
                    <a:pt x="524" y="787"/>
                  </a:lnTo>
                  <a:lnTo>
                    <a:pt x="577" y="726"/>
                  </a:lnTo>
                  <a:lnTo>
                    <a:pt x="650" y="649"/>
                  </a:lnTo>
                  <a:lnTo>
                    <a:pt x="727" y="576"/>
                  </a:lnTo>
                  <a:lnTo>
                    <a:pt x="766" y="543"/>
                  </a:lnTo>
                  <a:lnTo>
                    <a:pt x="876" y="453"/>
                  </a:lnTo>
                  <a:lnTo>
                    <a:pt x="993" y="368"/>
                  </a:lnTo>
                  <a:lnTo>
                    <a:pt x="1114" y="293"/>
                  </a:lnTo>
                  <a:lnTo>
                    <a:pt x="1209" y="242"/>
                  </a:lnTo>
                  <a:lnTo>
                    <a:pt x="1306" y="196"/>
                  </a:lnTo>
                  <a:lnTo>
                    <a:pt x="1374" y="167"/>
                  </a:lnTo>
                  <a:lnTo>
                    <a:pt x="1405" y="154"/>
                  </a:lnTo>
                  <a:lnTo>
                    <a:pt x="1508" y="115"/>
                  </a:lnTo>
                  <a:lnTo>
                    <a:pt x="1630" y="79"/>
                  </a:lnTo>
                  <a:lnTo>
                    <a:pt x="1757" y="47"/>
                  </a:lnTo>
                  <a:lnTo>
                    <a:pt x="1885" y="24"/>
                  </a:lnTo>
                  <a:lnTo>
                    <a:pt x="2017" y="9"/>
                  </a:lnTo>
                  <a:lnTo>
                    <a:pt x="2150" y="0"/>
                  </a:lnTo>
                  <a:lnTo>
                    <a:pt x="2218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201">
              <a:extLst>
                <a:ext uri="{FF2B5EF4-FFF2-40B4-BE49-F238E27FC236}">
                  <a16:creationId xmlns:a16="http://schemas.microsoft.com/office/drawing/2014/main" id="{7052C3AD-DE13-41C9-ABEF-B96D8894A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5075" y="1812925"/>
              <a:ext cx="3521075" cy="3378200"/>
            </a:xfrm>
            <a:custGeom>
              <a:avLst/>
              <a:gdLst>
                <a:gd name="T0" fmla="*/ 727 w 4438"/>
                <a:gd name="T1" fmla="*/ 2560 h 4255"/>
                <a:gd name="T2" fmla="*/ 519 w 4438"/>
                <a:gd name="T3" fmla="*/ 2503 h 4255"/>
                <a:gd name="T4" fmla="*/ 246 w 4438"/>
                <a:gd name="T5" fmla="*/ 2661 h 4255"/>
                <a:gd name="T6" fmla="*/ 645 w 4438"/>
                <a:gd name="T7" fmla="*/ 2782 h 4255"/>
                <a:gd name="T8" fmla="*/ 1321 w 4438"/>
                <a:gd name="T9" fmla="*/ 3015 h 4255"/>
                <a:gd name="T10" fmla="*/ 1857 w 4438"/>
                <a:gd name="T11" fmla="*/ 3416 h 4255"/>
                <a:gd name="T12" fmla="*/ 1388 w 4438"/>
                <a:gd name="T13" fmla="*/ 4124 h 4255"/>
                <a:gd name="T14" fmla="*/ 475 w 4438"/>
                <a:gd name="T15" fmla="*/ 3556 h 4255"/>
                <a:gd name="T16" fmla="*/ 484 w 4438"/>
                <a:gd name="T17" fmla="*/ 3051 h 4255"/>
                <a:gd name="T18" fmla="*/ 150 w 4438"/>
                <a:gd name="T19" fmla="*/ 2740 h 4255"/>
                <a:gd name="T20" fmla="*/ 396 w 4438"/>
                <a:gd name="T21" fmla="*/ 2450 h 4255"/>
                <a:gd name="T22" fmla="*/ 478 w 4438"/>
                <a:gd name="T23" fmla="*/ 2375 h 4255"/>
                <a:gd name="T24" fmla="*/ 2390 w 4438"/>
                <a:gd name="T25" fmla="*/ 2166 h 4255"/>
                <a:gd name="T26" fmla="*/ 2469 w 4438"/>
                <a:gd name="T27" fmla="*/ 2030 h 4255"/>
                <a:gd name="T28" fmla="*/ 856 w 4438"/>
                <a:gd name="T29" fmla="*/ 1641 h 4255"/>
                <a:gd name="T30" fmla="*/ 1110 w 4438"/>
                <a:gd name="T31" fmla="*/ 1329 h 4255"/>
                <a:gd name="T32" fmla="*/ 1079 w 4438"/>
                <a:gd name="T33" fmla="*/ 1423 h 4255"/>
                <a:gd name="T34" fmla="*/ 3002 w 4438"/>
                <a:gd name="T35" fmla="*/ 1240 h 4255"/>
                <a:gd name="T36" fmla="*/ 2652 w 4438"/>
                <a:gd name="T37" fmla="*/ 1183 h 4255"/>
                <a:gd name="T38" fmla="*/ 2984 w 4438"/>
                <a:gd name="T39" fmla="*/ 1041 h 4255"/>
                <a:gd name="T40" fmla="*/ 2834 w 4438"/>
                <a:gd name="T41" fmla="*/ 1346 h 4255"/>
                <a:gd name="T42" fmla="*/ 2834 w 4438"/>
                <a:gd name="T43" fmla="*/ 990 h 4255"/>
                <a:gd name="T44" fmla="*/ 879 w 4438"/>
                <a:gd name="T45" fmla="*/ 902 h 4255"/>
                <a:gd name="T46" fmla="*/ 1163 w 4438"/>
                <a:gd name="T47" fmla="*/ 1289 h 4255"/>
                <a:gd name="T48" fmla="*/ 766 w 4438"/>
                <a:gd name="T49" fmla="*/ 1386 h 4255"/>
                <a:gd name="T50" fmla="*/ 594 w 4438"/>
                <a:gd name="T51" fmla="*/ 1768 h 4255"/>
                <a:gd name="T52" fmla="*/ 348 w 4438"/>
                <a:gd name="T53" fmla="*/ 2268 h 4255"/>
                <a:gd name="T54" fmla="*/ 280 w 4438"/>
                <a:gd name="T55" fmla="*/ 1139 h 4255"/>
                <a:gd name="T56" fmla="*/ 456 w 4438"/>
                <a:gd name="T57" fmla="*/ 1041 h 4255"/>
                <a:gd name="T58" fmla="*/ 4434 w 4438"/>
                <a:gd name="T59" fmla="*/ 2107 h 4255"/>
                <a:gd name="T60" fmla="*/ 4074 w 4438"/>
                <a:gd name="T61" fmla="*/ 2298 h 4255"/>
                <a:gd name="T62" fmla="*/ 3788 w 4438"/>
                <a:gd name="T63" fmla="*/ 3791 h 4255"/>
                <a:gd name="T64" fmla="*/ 3385 w 4438"/>
                <a:gd name="T65" fmla="*/ 3495 h 4255"/>
                <a:gd name="T66" fmla="*/ 3185 w 4438"/>
                <a:gd name="T67" fmla="*/ 3022 h 4255"/>
                <a:gd name="T68" fmla="*/ 2394 w 4438"/>
                <a:gd name="T69" fmla="*/ 2687 h 4255"/>
                <a:gd name="T70" fmla="*/ 2524 w 4438"/>
                <a:gd name="T71" fmla="*/ 2217 h 4255"/>
                <a:gd name="T72" fmla="*/ 3105 w 4438"/>
                <a:gd name="T73" fmla="*/ 1883 h 4255"/>
                <a:gd name="T74" fmla="*/ 3583 w 4438"/>
                <a:gd name="T75" fmla="*/ 2114 h 4255"/>
                <a:gd name="T76" fmla="*/ 4059 w 4438"/>
                <a:gd name="T77" fmla="*/ 1933 h 4255"/>
                <a:gd name="T78" fmla="*/ 4304 w 4438"/>
                <a:gd name="T79" fmla="*/ 1700 h 4255"/>
                <a:gd name="T80" fmla="*/ 4026 w 4438"/>
                <a:gd name="T81" fmla="*/ 1553 h 4255"/>
                <a:gd name="T82" fmla="*/ 3733 w 4438"/>
                <a:gd name="T83" fmla="*/ 1850 h 4255"/>
                <a:gd name="T84" fmla="*/ 3405 w 4438"/>
                <a:gd name="T85" fmla="*/ 1616 h 4255"/>
                <a:gd name="T86" fmla="*/ 3454 w 4438"/>
                <a:gd name="T87" fmla="*/ 1881 h 4255"/>
                <a:gd name="T88" fmla="*/ 3041 w 4438"/>
                <a:gd name="T89" fmla="*/ 1661 h 4255"/>
                <a:gd name="T90" fmla="*/ 2786 w 4438"/>
                <a:gd name="T91" fmla="*/ 1905 h 4255"/>
                <a:gd name="T92" fmla="*/ 2727 w 4438"/>
                <a:gd name="T93" fmla="*/ 1634 h 4255"/>
                <a:gd name="T94" fmla="*/ 3020 w 4438"/>
                <a:gd name="T95" fmla="*/ 1324 h 4255"/>
                <a:gd name="T96" fmla="*/ 3464 w 4438"/>
                <a:gd name="T97" fmla="*/ 1124 h 4255"/>
                <a:gd name="T98" fmla="*/ 3760 w 4438"/>
                <a:gd name="T99" fmla="*/ 996 h 4255"/>
                <a:gd name="T100" fmla="*/ 3650 w 4438"/>
                <a:gd name="T101" fmla="*/ 851 h 4255"/>
                <a:gd name="T102" fmla="*/ 2506 w 4438"/>
                <a:gd name="T103" fmla="*/ 623 h 4255"/>
                <a:gd name="T104" fmla="*/ 899 w 4438"/>
                <a:gd name="T105" fmla="*/ 508 h 4255"/>
                <a:gd name="T106" fmla="*/ 868 w 4438"/>
                <a:gd name="T107" fmla="*/ 799 h 4255"/>
                <a:gd name="T108" fmla="*/ 3661 w 4438"/>
                <a:gd name="T109" fmla="*/ 642 h 4255"/>
                <a:gd name="T110" fmla="*/ 3410 w 4438"/>
                <a:gd name="T111" fmla="*/ 1097 h 4255"/>
                <a:gd name="T112" fmla="*/ 3139 w 4438"/>
                <a:gd name="T113" fmla="*/ 871 h 4255"/>
                <a:gd name="T114" fmla="*/ 2716 w 4438"/>
                <a:gd name="T115" fmla="*/ 345 h 4255"/>
                <a:gd name="T116" fmla="*/ 2154 w 4438"/>
                <a:gd name="T117" fmla="*/ 143 h 4255"/>
                <a:gd name="T118" fmla="*/ 2207 w 4438"/>
                <a:gd name="T119" fmla="*/ 370 h 4255"/>
                <a:gd name="T120" fmla="*/ 1647 w 4438"/>
                <a:gd name="T121" fmla="*/ 733 h 4255"/>
                <a:gd name="T122" fmla="*/ 1299 w 4438"/>
                <a:gd name="T123" fmla="*/ 526 h 4255"/>
                <a:gd name="T124" fmla="*/ 1293 w 4438"/>
                <a:gd name="T125" fmla="*/ 348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38" h="4255">
                  <a:moveTo>
                    <a:pt x="793" y="2569"/>
                  </a:moveTo>
                  <a:lnTo>
                    <a:pt x="815" y="2569"/>
                  </a:lnTo>
                  <a:lnTo>
                    <a:pt x="837" y="2573"/>
                  </a:lnTo>
                  <a:lnTo>
                    <a:pt x="856" y="2580"/>
                  </a:lnTo>
                  <a:lnTo>
                    <a:pt x="868" y="2589"/>
                  </a:lnTo>
                  <a:lnTo>
                    <a:pt x="870" y="2593"/>
                  </a:lnTo>
                  <a:lnTo>
                    <a:pt x="872" y="2597"/>
                  </a:lnTo>
                  <a:lnTo>
                    <a:pt x="872" y="2600"/>
                  </a:lnTo>
                  <a:lnTo>
                    <a:pt x="868" y="2602"/>
                  </a:lnTo>
                  <a:lnTo>
                    <a:pt x="863" y="2604"/>
                  </a:lnTo>
                  <a:lnTo>
                    <a:pt x="857" y="2606"/>
                  </a:lnTo>
                  <a:lnTo>
                    <a:pt x="850" y="2606"/>
                  </a:lnTo>
                  <a:lnTo>
                    <a:pt x="841" y="2606"/>
                  </a:lnTo>
                  <a:lnTo>
                    <a:pt x="821" y="2604"/>
                  </a:lnTo>
                  <a:lnTo>
                    <a:pt x="802" y="2600"/>
                  </a:lnTo>
                  <a:lnTo>
                    <a:pt x="788" y="2595"/>
                  </a:lnTo>
                  <a:lnTo>
                    <a:pt x="777" y="2587"/>
                  </a:lnTo>
                  <a:lnTo>
                    <a:pt x="771" y="2582"/>
                  </a:lnTo>
                  <a:lnTo>
                    <a:pt x="771" y="2576"/>
                  </a:lnTo>
                  <a:lnTo>
                    <a:pt x="779" y="2573"/>
                  </a:lnTo>
                  <a:lnTo>
                    <a:pt x="793" y="2569"/>
                  </a:lnTo>
                  <a:close/>
                  <a:moveTo>
                    <a:pt x="696" y="2523"/>
                  </a:moveTo>
                  <a:lnTo>
                    <a:pt x="711" y="2525"/>
                  </a:lnTo>
                  <a:lnTo>
                    <a:pt x="722" y="2532"/>
                  </a:lnTo>
                  <a:lnTo>
                    <a:pt x="727" y="2545"/>
                  </a:lnTo>
                  <a:lnTo>
                    <a:pt x="727" y="2560"/>
                  </a:lnTo>
                  <a:lnTo>
                    <a:pt x="725" y="2573"/>
                  </a:lnTo>
                  <a:lnTo>
                    <a:pt x="716" y="2586"/>
                  </a:lnTo>
                  <a:lnTo>
                    <a:pt x="703" y="2595"/>
                  </a:lnTo>
                  <a:lnTo>
                    <a:pt x="687" y="2599"/>
                  </a:lnTo>
                  <a:lnTo>
                    <a:pt x="678" y="2597"/>
                  </a:lnTo>
                  <a:lnTo>
                    <a:pt x="665" y="2593"/>
                  </a:lnTo>
                  <a:lnTo>
                    <a:pt x="650" y="2586"/>
                  </a:lnTo>
                  <a:lnTo>
                    <a:pt x="639" y="2576"/>
                  </a:lnTo>
                  <a:lnTo>
                    <a:pt x="632" y="2565"/>
                  </a:lnTo>
                  <a:lnTo>
                    <a:pt x="628" y="2554"/>
                  </a:lnTo>
                  <a:lnTo>
                    <a:pt x="630" y="2543"/>
                  </a:lnTo>
                  <a:lnTo>
                    <a:pt x="639" y="2534"/>
                  </a:lnTo>
                  <a:lnTo>
                    <a:pt x="654" y="2527"/>
                  </a:lnTo>
                  <a:lnTo>
                    <a:pt x="678" y="2523"/>
                  </a:lnTo>
                  <a:lnTo>
                    <a:pt x="687" y="2523"/>
                  </a:lnTo>
                  <a:lnTo>
                    <a:pt x="696" y="2523"/>
                  </a:lnTo>
                  <a:close/>
                  <a:moveTo>
                    <a:pt x="475" y="2455"/>
                  </a:moveTo>
                  <a:lnTo>
                    <a:pt x="486" y="2455"/>
                  </a:lnTo>
                  <a:lnTo>
                    <a:pt x="497" y="2457"/>
                  </a:lnTo>
                  <a:lnTo>
                    <a:pt x="513" y="2463"/>
                  </a:lnTo>
                  <a:lnTo>
                    <a:pt x="528" y="2470"/>
                  </a:lnTo>
                  <a:lnTo>
                    <a:pt x="539" y="2479"/>
                  </a:lnTo>
                  <a:lnTo>
                    <a:pt x="544" y="2488"/>
                  </a:lnTo>
                  <a:lnTo>
                    <a:pt x="542" y="2496"/>
                  </a:lnTo>
                  <a:lnTo>
                    <a:pt x="535" y="2501"/>
                  </a:lnTo>
                  <a:lnTo>
                    <a:pt x="519" y="2503"/>
                  </a:lnTo>
                  <a:lnTo>
                    <a:pt x="508" y="2503"/>
                  </a:lnTo>
                  <a:lnTo>
                    <a:pt x="497" y="2501"/>
                  </a:lnTo>
                  <a:lnTo>
                    <a:pt x="478" y="2496"/>
                  </a:lnTo>
                  <a:lnTo>
                    <a:pt x="464" y="2488"/>
                  </a:lnTo>
                  <a:lnTo>
                    <a:pt x="454" y="2479"/>
                  </a:lnTo>
                  <a:lnTo>
                    <a:pt x="449" y="2470"/>
                  </a:lnTo>
                  <a:lnTo>
                    <a:pt x="449" y="2463"/>
                  </a:lnTo>
                  <a:lnTo>
                    <a:pt x="458" y="2457"/>
                  </a:lnTo>
                  <a:lnTo>
                    <a:pt x="475" y="2455"/>
                  </a:lnTo>
                  <a:close/>
                  <a:moveTo>
                    <a:pt x="176" y="2406"/>
                  </a:moveTo>
                  <a:lnTo>
                    <a:pt x="183" y="2410"/>
                  </a:lnTo>
                  <a:lnTo>
                    <a:pt x="185" y="2421"/>
                  </a:lnTo>
                  <a:lnTo>
                    <a:pt x="185" y="2435"/>
                  </a:lnTo>
                  <a:lnTo>
                    <a:pt x="182" y="2455"/>
                  </a:lnTo>
                  <a:lnTo>
                    <a:pt x="178" y="2479"/>
                  </a:lnTo>
                  <a:lnTo>
                    <a:pt x="174" y="2505"/>
                  </a:lnTo>
                  <a:lnTo>
                    <a:pt x="171" y="2531"/>
                  </a:lnTo>
                  <a:lnTo>
                    <a:pt x="167" y="2556"/>
                  </a:lnTo>
                  <a:lnTo>
                    <a:pt x="167" y="2582"/>
                  </a:lnTo>
                  <a:lnTo>
                    <a:pt x="167" y="2604"/>
                  </a:lnTo>
                  <a:lnTo>
                    <a:pt x="172" y="2624"/>
                  </a:lnTo>
                  <a:lnTo>
                    <a:pt x="180" y="2641"/>
                  </a:lnTo>
                  <a:lnTo>
                    <a:pt x="192" y="2650"/>
                  </a:lnTo>
                  <a:lnTo>
                    <a:pt x="209" y="2654"/>
                  </a:lnTo>
                  <a:lnTo>
                    <a:pt x="231" y="2655"/>
                  </a:lnTo>
                  <a:lnTo>
                    <a:pt x="246" y="2661"/>
                  </a:lnTo>
                  <a:lnTo>
                    <a:pt x="253" y="2670"/>
                  </a:lnTo>
                  <a:lnTo>
                    <a:pt x="257" y="2683"/>
                  </a:lnTo>
                  <a:lnTo>
                    <a:pt x="257" y="2698"/>
                  </a:lnTo>
                  <a:lnTo>
                    <a:pt x="257" y="2714"/>
                  </a:lnTo>
                  <a:lnTo>
                    <a:pt x="257" y="2731"/>
                  </a:lnTo>
                  <a:lnTo>
                    <a:pt x="260" y="2749"/>
                  </a:lnTo>
                  <a:lnTo>
                    <a:pt x="268" y="2765"/>
                  </a:lnTo>
                  <a:lnTo>
                    <a:pt x="288" y="2793"/>
                  </a:lnTo>
                  <a:lnTo>
                    <a:pt x="310" y="2817"/>
                  </a:lnTo>
                  <a:lnTo>
                    <a:pt x="335" y="2833"/>
                  </a:lnTo>
                  <a:lnTo>
                    <a:pt x="359" y="2842"/>
                  </a:lnTo>
                  <a:lnTo>
                    <a:pt x="379" y="2844"/>
                  </a:lnTo>
                  <a:lnTo>
                    <a:pt x="398" y="2841"/>
                  </a:lnTo>
                  <a:lnTo>
                    <a:pt x="418" y="2837"/>
                  </a:lnTo>
                  <a:lnTo>
                    <a:pt x="443" y="2837"/>
                  </a:lnTo>
                  <a:lnTo>
                    <a:pt x="469" y="2839"/>
                  </a:lnTo>
                  <a:lnTo>
                    <a:pt x="497" y="2841"/>
                  </a:lnTo>
                  <a:lnTo>
                    <a:pt x="519" y="2842"/>
                  </a:lnTo>
                  <a:lnTo>
                    <a:pt x="539" y="2839"/>
                  </a:lnTo>
                  <a:lnTo>
                    <a:pt x="559" y="2831"/>
                  </a:lnTo>
                  <a:lnTo>
                    <a:pt x="573" y="2820"/>
                  </a:lnTo>
                  <a:lnTo>
                    <a:pt x="590" y="2808"/>
                  </a:lnTo>
                  <a:lnTo>
                    <a:pt x="605" y="2797"/>
                  </a:lnTo>
                  <a:lnTo>
                    <a:pt x="619" y="2787"/>
                  </a:lnTo>
                  <a:lnTo>
                    <a:pt x="634" y="2782"/>
                  </a:lnTo>
                  <a:lnTo>
                    <a:pt x="645" y="2782"/>
                  </a:lnTo>
                  <a:lnTo>
                    <a:pt x="656" y="2789"/>
                  </a:lnTo>
                  <a:lnTo>
                    <a:pt x="665" y="2804"/>
                  </a:lnTo>
                  <a:lnTo>
                    <a:pt x="669" y="2811"/>
                  </a:lnTo>
                  <a:lnTo>
                    <a:pt x="674" y="2817"/>
                  </a:lnTo>
                  <a:lnTo>
                    <a:pt x="678" y="2822"/>
                  </a:lnTo>
                  <a:lnTo>
                    <a:pt x="696" y="2833"/>
                  </a:lnTo>
                  <a:lnTo>
                    <a:pt x="716" y="2839"/>
                  </a:lnTo>
                  <a:lnTo>
                    <a:pt x="740" y="2841"/>
                  </a:lnTo>
                  <a:lnTo>
                    <a:pt x="766" y="2841"/>
                  </a:lnTo>
                  <a:lnTo>
                    <a:pt x="797" y="2837"/>
                  </a:lnTo>
                  <a:lnTo>
                    <a:pt x="826" y="2837"/>
                  </a:lnTo>
                  <a:lnTo>
                    <a:pt x="868" y="2835"/>
                  </a:lnTo>
                  <a:lnTo>
                    <a:pt x="901" y="2833"/>
                  </a:lnTo>
                  <a:lnTo>
                    <a:pt x="938" y="2837"/>
                  </a:lnTo>
                  <a:lnTo>
                    <a:pt x="971" y="2842"/>
                  </a:lnTo>
                  <a:lnTo>
                    <a:pt x="1008" y="2855"/>
                  </a:lnTo>
                  <a:lnTo>
                    <a:pt x="1046" y="2874"/>
                  </a:lnTo>
                  <a:lnTo>
                    <a:pt x="1084" y="2897"/>
                  </a:lnTo>
                  <a:lnTo>
                    <a:pt x="1121" y="2923"/>
                  </a:lnTo>
                  <a:lnTo>
                    <a:pt x="1156" y="2947"/>
                  </a:lnTo>
                  <a:lnTo>
                    <a:pt x="1189" y="2969"/>
                  </a:lnTo>
                  <a:lnTo>
                    <a:pt x="1220" y="2987"/>
                  </a:lnTo>
                  <a:lnTo>
                    <a:pt x="1251" y="2998"/>
                  </a:lnTo>
                  <a:lnTo>
                    <a:pt x="1282" y="3002"/>
                  </a:lnTo>
                  <a:lnTo>
                    <a:pt x="1304" y="3006"/>
                  </a:lnTo>
                  <a:lnTo>
                    <a:pt x="1321" y="3015"/>
                  </a:lnTo>
                  <a:lnTo>
                    <a:pt x="1332" y="3028"/>
                  </a:lnTo>
                  <a:lnTo>
                    <a:pt x="1337" y="3046"/>
                  </a:lnTo>
                  <a:lnTo>
                    <a:pt x="1341" y="3068"/>
                  </a:lnTo>
                  <a:lnTo>
                    <a:pt x="1341" y="3090"/>
                  </a:lnTo>
                  <a:lnTo>
                    <a:pt x="1341" y="3116"/>
                  </a:lnTo>
                  <a:lnTo>
                    <a:pt x="1341" y="3141"/>
                  </a:lnTo>
                  <a:lnTo>
                    <a:pt x="1345" y="3163"/>
                  </a:lnTo>
                  <a:lnTo>
                    <a:pt x="1354" y="3180"/>
                  </a:lnTo>
                  <a:lnTo>
                    <a:pt x="1368" y="3193"/>
                  </a:lnTo>
                  <a:lnTo>
                    <a:pt x="1387" y="3204"/>
                  </a:lnTo>
                  <a:lnTo>
                    <a:pt x="1410" y="3211"/>
                  </a:lnTo>
                  <a:lnTo>
                    <a:pt x="1438" y="3218"/>
                  </a:lnTo>
                  <a:lnTo>
                    <a:pt x="1465" y="3226"/>
                  </a:lnTo>
                  <a:lnTo>
                    <a:pt x="1497" y="3235"/>
                  </a:lnTo>
                  <a:lnTo>
                    <a:pt x="1530" y="3244"/>
                  </a:lnTo>
                  <a:lnTo>
                    <a:pt x="1566" y="3257"/>
                  </a:lnTo>
                  <a:lnTo>
                    <a:pt x="1601" y="3264"/>
                  </a:lnTo>
                  <a:lnTo>
                    <a:pt x="1632" y="3273"/>
                  </a:lnTo>
                  <a:lnTo>
                    <a:pt x="1661" y="3281"/>
                  </a:lnTo>
                  <a:lnTo>
                    <a:pt x="1693" y="3294"/>
                  </a:lnTo>
                  <a:lnTo>
                    <a:pt x="1725" y="3308"/>
                  </a:lnTo>
                  <a:lnTo>
                    <a:pt x="1764" y="3330"/>
                  </a:lnTo>
                  <a:lnTo>
                    <a:pt x="1801" y="3354"/>
                  </a:lnTo>
                  <a:lnTo>
                    <a:pt x="1830" y="3376"/>
                  </a:lnTo>
                  <a:lnTo>
                    <a:pt x="1848" y="3396"/>
                  </a:lnTo>
                  <a:lnTo>
                    <a:pt x="1857" y="3416"/>
                  </a:lnTo>
                  <a:lnTo>
                    <a:pt x="1859" y="3438"/>
                  </a:lnTo>
                  <a:lnTo>
                    <a:pt x="1850" y="3464"/>
                  </a:lnTo>
                  <a:lnTo>
                    <a:pt x="1834" y="3492"/>
                  </a:lnTo>
                  <a:lnTo>
                    <a:pt x="1812" y="3523"/>
                  </a:lnTo>
                  <a:lnTo>
                    <a:pt x="1784" y="3559"/>
                  </a:lnTo>
                  <a:lnTo>
                    <a:pt x="1755" y="3598"/>
                  </a:lnTo>
                  <a:lnTo>
                    <a:pt x="1727" y="3640"/>
                  </a:lnTo>
                  <a:lnTo>
                    <a:pt x="1704" y="3682"/>
                  </a:lnTo>
                  <a:lnTo>
                    <a:pt x="1687" y="3726"/>
                  </a:lnTo>
                  <a:lnTo>
                    <a:pt x="1678" y="3770"/>
                  </a:lnTo>
                  <a:lnTo>
                    <a:pt x="1672" y="3814"/>
                  </a:lnTo>
                  <a:lnTo>
                    <a:pt x="1661" y="3855"/>
                  </a:lnTo>
                  <a:lnTo>
                    <a:pt x="1643" y="3891"/>
                  </a:lnTo>
                  <a:lnTo>
                    <a:pt x="1621" y="3924"/>
                  </a:lnTo>
                  <a:lnTo>
                    <a:pt x="1597" y="3952"/>
                  </a:lnTo>
                  <a:lnTo>
                    <a:pt x="1568" y="3970"/>
                  </a:lnTo>
                  <a:lnTo>
                    <a:pt x="1539" y="3979"/>
                  </a:lnTo>
                  <a:lnTo>
                    <a:pt x="1506" y="3989"/>
                  </a:lnTo>
                  <a:lnTo>
                    <a:pt x="1473" y="4003"/>
                  </a:lnTo>
                  <a:lnTo>
                    <a:pt x="1447" y="4022"/>
                  </a:lnTo>
                  <a:lnTo>
                    <a:pt x="1425" y="4044"/>
                  </a:lnTo>
                  <a:lnTo>
                    <a:pt x="1410" y="4067"/>
                  </a:lnTo>
                  <a:lnTo>
                    <a:pt x="1405" y="4093"/>
                  </a:lnTo>
                  <a:lnTo>
                    <a:pt x="1403" y="4106"/>
                  </a:lnTo>
                  <a:lnTo>
                    <a:pt x="1398" y="4117"/>
                  </a:lnTo>
                  <a:lnTo>
                    <a:pt x="1388" y="4124"/>
                  </a:lnTo>
                  <a:lnTo>
                    <a:pt x="1377" y="4132"/>
                  </a:lnTo>
                  <a:lnTo>
                    <a:pt x="1367" y="4139"/>
                  </a:lnTo>
                  <a:lnTo>
                    <a:pt x="1356" y="4150"/>
                  </a:lnTo>
                  <a:lnTo>
                    <a:pt x="1346" y="4165"/>
                  </a:lnTo>
                  <a:lnTo>
                    <a:pt x="1339" y="4185"/>
                  </a:lnTo>
                  <a:lnTo>
                    <a:pt x="1335" y="4211"/>
                  </a:lnTo>
                  <a:lnTo>
                    <a:pt x="1328" y="4255"/>
                  </a:lnTo>
                  <a:lnTo>
                    <a:pt x="1209" y="4200"/>
                  </a:lnTo>
                  <a:lnTo>
                    <a:pt x="1121" y="4152"/>
                  </a:lnTo>
                  <a:lnTo>
                    <a:pt x="1114" y="4148"/>
                  </a:lnTo>
                  <a:lnTo>
                    <a:pt x="1024" y="4093"/>
                  </a:lnTo>
                  <a:lnTo>
                    <a:pt x="938" y="4034"/>
                  </a:lnTo>
                  <a:lnTo>
                    <a:pt x="868" y="3983"/>
                  </a:lnTo>
                  <a:lnTo>
                    <a:pt x="766" y="3899"/>
                  </a:lnTo>
                  <a:lnTo>
                    <a:pt x="727" y="3864"/>
                  </a:lnTo>
                  <a:lnTo>
                    <a:pt x="678" y="3820"/>
                  </a:lnTo>
                  <a:lnTo>
                    <a:pt x="661" y="3803"/>
                  </a:lnTo>
                  <a:lnTo>
                    <a:pt x="638" y="3772"/>
                  </a:lnTo>
                  <a:lnTo>
                    <a:pt x="610" y="3743"/>
                  </a:lnTo>
                  <a:lnTo>
                    <a:pt x="581" y="3719"/>
                  </a:lnTo>
                  <a:lnTo>
                    <a:pt x="577" y="3714"/>
                  </a:lnTo>
                  <a:lnTo>
                    <a:pt x="497" y="3620"/>
                  </a:lnTo>
                  <a:lnTo>
                    <a:pt x="493" y="3616"/>
                  </a:lnTo>
                  <a:lnTo>
                    <a:pt x="493" y="3598"/>
                  </a:lnTo>
                  <a:lnTo>
                    <a:pt x="489" y="3580"/>
                  </a:lnTo>
                  <a:lnTo>
                    <a:pt x="475" y="3556"/>
                  </a:lnTo>
                  <a:lnTo>
                    <a:pt x="454" y="3532"/>
                  </a:lnTo>
                  <a:lnTo>
                    <a:pt x="431" y="3506"/>
                  </a:lnTo>
                  <a:lnTo>
                    <a:pt x="405" y="3479"/>
                  </a:lnTo>
                  <a:lnTo>
                    <a:pt x="381" y="3451"/>
                  </a:lnTo>
                  <a:lnTo>
                    <a:pt x="359" y="3426"/>
                  </a:lnTo>
                  <a:lnTo>
                    <a:pt x="350" y="3413"/>
                  </a:lnTo>
                  <a:lnTo>
                    <a:pt x="343" y="3400"/>
                  </a:lnTo>
                  <a:lnTo>
                    <a:pt x="334" y="3374"/>
                  </a:lnTo>
                  <a:lnTo>
                    <a:pt x="326" y="3347"/>
                  </a:lnTo>
                  <a:lnTo>
                    <a:pt x="321" y="3317"/>
                  </a:lnTo>
                  <a:lnTo>
                    <a:pt x="321" y="3288"/>
                  </a:lnTo>
                  <a:lnTo>
                    <a:pt x="323" y="3259"/>
                  </a:lnTo>
                  <a:lnTo>
                    <a:pt x="330" y="3235"/>
                  </a:lnTo>
                  <a:lnTo>
                    <a:pt x="343" y="3213"/>
                  </a:lnTo>
                  <a:lnTo>
                    <a:pt x="359" y="3198"/>
                  </a:lnTo>
                  <a:lnTo>
                    <a:pt x="365" y="3196"/>
                  </a:lnTo>
                  <a:lnTo>
                    <a:pt x="383" y="3184"/>
                  </a:lnTo>
                  <a:lnTo>
                    <a:pt x="396" y="3167"/>
                  </a:lnTo>
                  <a:lnTo>
                    <a:pt x="405" y="3149"/>
                  </a:lnTo>
                  <a:lnTo>
                    <a:pt x="410" y="3130"/>
                  </a:lnTo>
                  <a:lnTo>
                    <a:pt x="418" y="3112"/>
                  </a:lnTo>
                  <a:lnTo>
                    <a:pt x="425" y="3096"/>
                  </a:lnTo>
                  <a:lnTo>
                    <a:pt x="438" y="3081"/>
                  </a:lnTo>
                  <a:lnTo>
                    <a:pt x="456" y="3072"/>
                  </a:lnTo>
                  <a:lnTo>
                    <a:pt x="475" y="3064"/>
                  </a:lnTo>
                  <a:lnTo>
                    <a:pt x="484" y="3051"/>
                  </a:lnTo>
                  <a:lnTo>
                    <a:pt x="487" y="3037"/>
                  </a:lnTo>
                  <a:lnTo>
                    <a:pt x="486" y="3020"/>
                  </a:lnTo>
                  <a:lnTo>
                    <a:pt x="482" y="3002"/>
                  </a:lnTo>
                  <a:lnTo>
                    <a:pt x="473" y="2984"/>
                  </a:lnTo>
                  <a:lnTo>
                    <a:pt x="465" y="2965"/>
                  </a:lnTo>
                  <a:lnTo>
                    <a:pt x="456" y="2949"/>
                  </a:lnTo>
                  <a:lnTo>
                    <a:pt x="445" y="2938"/>
                  </a:lnTo>
                  <a:lnTo>
                    <a:pt x="429" y="2932"/>
                  </a:lnTo>
                  <a:lnTo>
                    <a:pt x="409" y="2929"/>
                  </a:lnTo>
                  <a:lnTo>
                    <a:pt x="385" y="2927"/>
                  </a:lnTo>
                  <a:lnTo>
                    <a:pt x="359" y="2927"/>
                  </a:lnTo>
                  <a:lnTo>
                    <a:pt x="337" y="2927"/>
                  </a:lnTo>
                  <a:lnTo>
                    <a:pt x="317" y="2925"/>
                  </a:lnTo>
                  <a:lnTo>
                    <a:pt x="299" y="2921"/>
                  </a:lnTo>
                  <a:lnTo>
                    <a:pt x="284" y="2916"/>
                  </a:lnTo>
                  <a:lnTo>
                    <a:pt x="273" y="2907"/>
                  </a:lnTo>
                  <a:lnTo>
                    <a:pt x="266" y="2890"/>
                  </a:lnTo>
                  <a:lnTo>
                    <a:pt x="260" y="2872"/>
                  </a:lnTo>
                  <a:lnTo>
                    <a:pt x="253" y="2852"/>
                  </a:lnTo>
                  <a:lnTo>
                    <a:pt x="246" y="2830"/>
                  </a:lnTo>
                  <a:lnTo>
                    <a:pt x="236" y="2806"/>
                  </a:lnTo>
                  <a:lnTo>
                    <a:pt x="225" y="2786"/>
                  </a:lnTo>
                  <a:lnTo>
                    <a:pt x="213" y="2767"/>
                  </a:lnTo>
                  <a:lnTo>
                    <a:pt x="196" y="2753"/>
                  </a:lnTo>
                  <a:lnTo>
                    <a:pt x="176" y="2743"/>
                  </a:lnTo>
                  <a:lnTo>
                    <a:pt x="150" y="2740"/>
                  </a:lnTo>
                  <a:lnTo>
                    <a:pt x="116" y="2734"/>
                  </a:lnTo>
                  <a:lnTo>
                    <a:pt x="84" y="2723"/>
                  </a:lnTo>
                  <a:lnTo>
                    <a:pt x="53" y="2709"/>
                  </a:lnTo>
                  <a:lnTo>
                    <a:pt x="46" y="2668"/>
                  </a:lnTo>
                  <a:lnTo>
                    <a:pt x="26" y="2558"/>
                  </a:lnTo>
                  <a:lnTo>
                    <a:pt x="20" y="2516"/>
                  </a:lnTo>
                  <a:lnTo>
                    <a:pt x="37" y="2499"/>
                  </a:lnTo>
                  <a:lnTo>
                    <a:pt x="55" y="2483"/>
                  </a:lnTo>
                  <a:lnTo>
                    <a:pt x="75" y="2466"/>
                  </a:lnTo>
                  <a:lnTo>
                    <a:pt x="95" y="2450"/>
                  </a:lnTo>
                  <a:lnTo>
                    <a:pt x="114" y="2435"/>
                  </a:lnTo>
                  <a:lnTo>
                    <a:pt x="134" y="2422"/>
                  </a:lnTo>
                  <a:lnTo>
                    <a:pt x="150" y="2411"/>
                  </a:lnTo>
                  <a:lnTo>
                    <a:pt x="165" y="2406"/>
                  </a:lnTo>
                  <a:lnTo>
                    <a:pt x="176" y="2406"/>
                  </a:lnTo>
                  <a:close/>
                  <a:moveTo>
                    <a:pt x="324" y="2389"/>
                  </a:moveTo>
                  <a:lnTo>
                    <a:pt x="343" y="2389"/>
                  </a:lnTo>
                  <a:lnTo>
                    <a:pt x="352" y="2389"/>
                  </a:lnTo>
                  <a:lnTo>
                    <a:pt x="359" y="2391"/>
                  </a:lnTo>
                  <a:lnTo>
                    <a:pt x="377" y="2397"/>
                  </a:lnTo>
                  <a:lnTo>
                    <a:pt x="390" y="2406"/>
                  </a:lnTo>
                  <a:lnTo>
                    <a:pt x="401" y="2415"/>
                  </a:lnTo>
                  <a:lnTo>
                    <a:pt x="409" y="2426"/>
                  </a:lnTo>
                  <a:lnTo>
                    <a:pt x="410" y="2437"/>
                  </a:lnTo>
                  <a:lnTo>
                    <a:pt x="407" y="2444"/>
                  </a:lnTo>
                  <a:lnTo>
                    <a:pt x="396" y="2450"/>
                  </a:lnTo>
                  <a:lnTo>
                    <a:pt x="379" y="2450"/>
                  </a:lnTo>
                  <a:lnTo>
                    <a:pt x="370" y="2450"/>
                  </a:lnTo>
                  <a:lnTo>
                    <a:pt x="359" y="2446"/>
                  </a:lnTo>
                  <a:lnTo>
                    <a:pt x="343" y="2439"/>
                  </a:lnTo>
                  <a:lnTo>
                    <a:pt x="328" y="2430"/>
                  </a:lnTo>
                  <a:lnTo>
                    <a:pt x="317" y="2421"/>
                  </a:lnTo>
                  <a:lnTo>
                    <a:pt x="312" y="2410"/>
                  </a:lnTo>
                  <a:lnTo>
                    <a:pt x="310" y="2400"/>
                  </a:lnTo>
                  <a:lnTo>
                    <a:pt x="313" y="2393"/>
                  </a:lnTo>
                  <a:lnTo>
                    <a:pt x="324" y="2389"/>
                  </a:lnTo>
                  <a:close/>
                  <a:moveTo>
                    <a:pt x="460" y="2300"/>
                  </a:moveTo>
                  <a:lnTo>
                    <a:pt x="478" y="2303"/>
                  </a:lnTo>
                  <a:lnTo>
                    <a:pt x="497" y="2311"/>
                  </a:lnTo>
                  <a:lnTo>
                    <a:pt x="511" y="2320"/>
                  </a:lnTo>
                  <a:lnTo>
                    <a:pt x="526" y="2331"/>
                  </a:lnTo>
                  <a:lnTo>
                    <a:pt x="537" y="2344"/>
                  </a:lnTo>
                  <a:lnTo>
                    <a:pt x="546" y="2356"/>
                  </a:lnTo>
                  <a:lnTo>
                    <a:pt x="551" y="2367"/>
                  </a:lnTo>
                  <a:lnTo>
                    <a:pt x="555" y="2377"/>
                  </a:lnTo>
                  <a:lnTo>
                    <a:pt x="553" y="2382"/>
                  </a:lnTo>
                  <a:lnTo>
                    <a:pt x="548" y="2382"/>
                  </a:lnTo>
                  <a:lnTo>
                    <a:pt x="537" y="2378"/>
                  </a:lnTo>
                  <a:lnTo>
                    <a:pt x="522" y="2371"/>
                  </a:lnTo>
                  <a:lnTo>
                    <a:pt x="509" y="2369"/>
                  </a:lnTo>
                  <a:lnTo>
                    <a:pt x="497" y="2369"/>
                  </a:lnTo>
                  <a:lnTo>
                    <a:pt x="478" y="2375"/>
                  </a:lnTo>
                  <a:lnTo>
                    <a:pt x="462" y="2380"/>
                  </a:lnTo>
                  <a:lnTo>
                    <a:pt x="447" y="2382"/>
                  </a:lnTo>
                  <a:lnTo>
                    <a:pt x="432" y="2378"/>
                  </a:lnTo>
                  <a:lnTo>
                    <a:pt x="420" y="2367"/>
                  </a:lnTo>
                  <a:lnTo>
                    <a:pt x="414" y="2353"/>
                  </a:lnTo>
                  <a:lnTo>
                    <a:pt x="416" y="2336"/>
                  </a:lnTo>
                  <a:lnTo>
                    <a:pt x="423" y="2320"/>
                  </a:lnTo>
                  <a:lnTo>
                    <a:pt x="438" y="2309"/>
                  </a:lnTo>
                  <a:lnTo>
                    <a:pt x="460" y="2300"/>
                  </a:lnTo>
                  <a:close/>
                  <a:moveTo>
                    <a:pt x="2418" y="2155"/>
                  </a:moveTo>
                  <a:lnTo>
                    <a:pt x="2423" y="2157"/>
                  </a:lnTo>
                  <a:lnTo>
                    <a:pt x="2427" y="2160"/>
                  </a:lnTo>
                  <a:lnTo>
                    <a:pt x="2431" y="2164"/>
                  </a:lnTo>
                  <a:lnTo>
                    <a:pt x="2431" y="2169"/>
                  </a:lnTo>
                  <a:lnTo>
                    <a:pt x="2431" y="2177"/>
                  </a:lnTo>
                  <a:lnTo>
                    <a:pt x="2429" y="2184"/>
                  </a:lnTo>
                  <a:lnTo>
                    <a:pt x="2425" y="2191"/>
                  </a:lnTo>
                  <a:lnTo>
                    <a:pt x="2421" y="2197"/>
                  </a:lnTo>
                  <a:lnTo>
                    <a:pt x="2416" y="2201"/>
                  </a:lnTo>
                  <a:lnTo>
                    <a:pt x="2410" y="2204"/>
                  </a:lnTo>
                  <a:lnTo>
                    <a:pt x="2407" y="2204"/>
                  </a:lnTo>
                  <a:lnTo>
                    <a:pt x="2401" y="2202"/>
                  </a:lnTo>
                  <a:lnTo>
                    <a:pt x="2396" y="2197"/>
                  </a:lnTo>
                  <a:lnTo>
                    <a:pt x="2387" y="2184"/>
                  </a:lnTo>
                  <a:lnTo>
                    <a:pt x="2385" y="2173"/>
                  </a:lnTo>
                  <a:lnTo>
                    <a:pt x="2390" y="2166"/>
                  </a:lnTo>
                  <a:lnTo>
                    <a:pt x="2401" y="2160"/>
                  </a:lnTo>
                  <a:lnTo>
                    <a:pt x="2407" y="2157"/>
                  </a:lnTo>
                  <a:lnTo>
                    <a:pt x="2410" y="2157"/>
                  </a:lnTo>
                  <a:lnTo>
                    <a:pt x="2418" y="2155"/>
                  </a:lnTo>
                  <a:close/>
                  <a:moveTo>
                    <a:pt x="2354" y="2041"/>
                  </a:moveTo>
                  <a:lnTo>
                    <a:pt x="2359" y="2043"/>
                  </a:lnTo>
                  <a:lnTo>
                    <a:pt x="2363" y="2045"/>
                  </a:lnTo>
                  <a:lnTo>
                    <a:pt x="2367" y="2050"/>
                  </a:lnTo>
                  <a:lnTo>
                    <a:pt x="2368" y="2056"/>
                  </a:lnTo>
                  <a:lnTo>
                    <a:pt x="2368" y="2063"/>
                  </a:lnTo>
                  <a:lnTo>
                    <a:pt x="2365" y="2074"/>
                  </a:lnTo>
                  <a:lnTo>
                    <a:pt x="2357" y="2083"/>
                  </a:lnTo>
                  <a:lnTo>
                    <a:pt x="2350" y="2089"/>
                  </a:lnTo>
                  <a:lnTo>
                    <a:pt x="2343" y="2091"/>
                  </a:lnTo>
                  <a:lnTo>
                    <a:pt x="2334" y="2083"/>
                  </a:lnTo>
                  <a:lnTo>
                    <a:pt x="2324" y="2070"/>
                  </a:lnTo>
                  <a:lnTo>
                    <a:pt x="2323" y="2059"/>
                  </a:lnTo>
                  <a:lnTo>
                    <a:pt x="2326" y="2052"/>
                  </a:lnTo>
                  <a:lnTo>
                    <a:pt x="2339" y="2046"/>
                  </a:lnTo>
                  <a:lnTo>
                    <a:pt x="2346" y="2043"/>
                  </a:lnTo>
                  <a:lnTo>
                    <a:pt x="2354" y="2041"/>
                  </a:lnTo>
                  <a:close/>
                  <a:moveTo>
                    <a:pt x="2453" y="2017"/>
                  </a:moveTo>
                  <a:lnTo>
                    <a:pt x="2460" y="2017"/>
                  </a:lnTo>
                  <a:lnTo>
                    <a:pt x="2464" y="2019"/>
                  </a:lnTo>
                  <a:lnTo>
                    <a:pt x="2467" y="2024"/>
                  </a:lnTo>
                  <a:lnTo>
                    <a:pt x="2469" y="2030"/>
                  </a:lnTo>
                  <a:lnTo>
                    <a:pt x="2469" y="2037"/>
                  </a:lnTo>
                  <a:lnTo>
                    <a:pt x="2467" y="2045"/>
                  </a:lnTo>
                  <a:lnTo>
                    <a:pt x="2464" y="2050"/>
                  </a:lnTo>
                  <a:lnTo>
                    <a:pt x="2460" y="2056"/>
                  </a:lnTo>
                  <a:lnTo>
                    <a:pt x="2456" y="2061"/>
                  </a:lnTo>
                  <a:lnTo>
                    <a:pt x="2451" y="2065"/>
                  </a:lnTo>
                  <a:lnTo>
                    <a:pt x="2445" y="2065"/>
                  </a:lnTo>
                  <a:lnTo>
                    <a:pt x="2442" y="2065"/>
                  </a:lnTo>
                  <a:lnTo>
                    <a:pt x="2438" y="2061"/>
                  </a:lnTo>
                  <a:lnTo>
                    <a:pt x="2434" y="2057"/>
                  </a:lnTo>
                  <a:lnTo>
                    <a:pt x="2425" y="2045"/>
                  </a:lnTo>
                  <a:lnTo>
                    <a:pt x="2423" y="2034"/>
                  </a:lnTo>
                  <a:lnTo>
                    <a:pt x="2429" y="2026"/>
                  </a:lnTo>
                  <a:lnTo>
                    <a:pt x="2440" y="2021"/>
                  </a:lnTo>
                  <a:lnTo>
                    <a:pt x="2445" y="2017"/>
                  </a:lnTo>
                  <a:lnTo>
                    <a:pt x="2453" y="2017"/>
                  </a:lnTo>
                  <a:close/>
                  <a:moveTo>
                    <a:pt x="868" y="1595"/>
                  </a:moveTo>
                  <a:lnTo>
                    <a:pt x="879" y="1597"/>
                  </a:lnTo>
                  <a:lnTo>
                    <a:pt x="888" y="1605"/>
                  </a:lnTo>
                  <a:lnTo>
                    <a:pt x="894" y="1614"/>
                  </a:lnTo>
                  <a:lnTo>
                    <a:pt x="896" y="1627"/>
                  </a:lnTo>
                  <a:lnTo>
                    <a:pt x="892" y="1636"/>
                  </a:lnTo>
                  <a:lnTo>
                    <a:pt x="887" y="1643"/>
                  </a:lnTo>
                  <a:lnTo>
                    <a:pt x="876" y="1647"/>
                  </a:lnTo>
                  <a:lnTo>
                    <a:pt x="868" y="1647"/>
                  </a:lnTo>
                  <a:lnTo>
                    <a:pt x="856" y="1641"/>
                  </a:lnTo>
                  <a:lnTo>
                    <a:pt x="846" y="1632"/>
                  </a:lnTo>
                  <a:lnTo>
                    <a:pt x="841" y="1621"/>
                  </a:lnTo>
                  <a:lnTo>
                    <a:pt x="841" y="1610"/>
                  </a:lnTo>
                  <a:lnTo>
                    <a:pt x="848" y="1601"/>
                  </a:lnTo>
                  <a:lnTo>
                    <a:pt x="861" y="1595"/>
                  </a:lnTo>
                  <a:lnTo>
                    <a:pt x="868" y="1595"/>
                  </a:lnTo>
                  <a:close/>
                  <a:moveTo>
                    <a:pt x="938" y="1551"/>
                  </a:moveTo>
                  <a:lnTo>
                    <a:pt x="953" y="1553"/>
                  </a:lnTo>
                  <a:lnTo>
                    <a:pt x="964" y="1560"/>
                  </a:lnTo>
                  <a:lnTo>
                    <a:pt x="971" y="1571"/>
                  </a:lnTo>
                  <a:lnTo>
                    <a:pt x="975" y="1584"/>
                  </a:lnTo>
                  <a:lnTo>
                    <a:pt x="975" y="1597"/>
                  </a:lnTo>
                  <a:lnTo>
                    <a:pt x="969" y="1610"/>
                  </a:lnTo>
                  <a:lnTo>
                    <a:pt x="960" y="1617"/>
                  </a:lnTo>
                  <a:lnTo>
                    <a:pt x="947" y="1621"/>
                  </a:lnTo>
                  <a:lnTo>
                    <a:pt x="938" y="1619"/>
                  </a:lnTo>
                  <a:lnTo>
                    <a:pt x="923" y="1614"/>
                  </a:lnTo>
                  <a:lnTo>
                    <a:pt x="910" y="1605"/>
                  </a:lnTo>
                  <a:lnTo>
                    <a:pt x="903" y="1592"/>
                  </a:lnTo>
                  <a:lnTo>
                    <a:pt x="901" y="1579"/>
                  </a:lnTo>
                  <a:lnTo>
                    <a:pt x="903" y="1568"/>
                  </a:lnTo>
                  <a:lnTo>
                    <a:pt x="912" y="1559"/>
                  </a:lnTo>
                  <a:lnTo>
                    <a:pt x="927" y="1553"/>
                  </a:lnTo>
                  <a:lnTo>
                    <a:pt x="932" y="1551"/>
                  </a:lnTo>
                  <a:lnTo>
                    <a:pt x="938" y="1551"/>
                  </a:lnTo>
                  <a:close/>
                  <a:moveTo>
                    <a:pt x="1110" y="1329"/>
                  </a:moveTo>
                  <a:lnTo>
                    <a:pt x="1121" y="1329"/>
                  </a:lnTo>
                  <a:lnTo>
                    <a:pt x="1127" y="1331"/>
                  </a:lnTo>
                  <a:lnTo>
                    <a:pt x="1132" y="1331"/>
                  </a:lnTo>
                  <a:lnTo>
                    <a:pt x="1161" y="1333"/>
                  </a:lnTo>
                  <a:lnTo>
                    <a:pt x="1183" y="1340"/>
                  </a:lnTo>
                  <a:lnTo>
                    <a:pt x="1202" y="1351"/>
                  </a:lnTo>
                  <a:lnTo>
                    <a:pt x="1214" y="1366"/>
                  </a:lnTo>
                  <a:lnTo>
                    <a:pt x="1225" y="1384"/>
                  </a:lnTo>
                  <a:lnTo>
                    <a:pt x="1235" y="1403"/>
                  </a:lnTo>
                  <a:lnTo>
                    <a:pt x="1244" y="1423"/>
                  </a:lnTo>
                  <a:lnTo>
                    <a:pt x="1253" y="1443"/>
                  </a:lnTo>
                  <a:lnTo>
                    <a:pt x="1260" y="1463"/>
                  </a:lnTo>
                  <a:lnTo>
                    <a:pt x="1262" y="1482"/>
                  </a:lnTo>
                  <a:lnTo>
                    <a:pt x="1262" y="1498"/>
                  </a:lnTo>
                  <a:lnTo>
                    <a:pt x="1255" y="1511"/>
                  </a:lnTo>
                  <a:lnTo>
                    <a:pt x="1246" y="1520"/>
                  </a:lnTo>
                  <a:lnTo>
                    <a:pt x="1229" y="1524"/>
                  </a:lnTo>
                  <a:lnTo>
                    <a:pt x="1207" y="1522"/>
                  </a:lnTo>
                  <a:lnTo>
                    <a:pt x="1180" y="1513"/>
                  </a:lnTo>
                  <a:lnTo>
                    <a:pt x="1149" y="1498"/>
                  </a:lnTo>
                  <a:lnTo>
                    <a:pt x="1121" y="1487"/>
                  </a:lnTo>
                  <a:lnTo>
                    <a:pt x="1103" y="1478"/>
                  </a:lnTo>
                  <a:lnTo>
                    <a:pt x="1090" y="1469"/>
                  </a:lnTo>
                  <a:lnTo>
                    <a:pt x="1081" y="1458"/>
                  </a:lnTo>
                  <a:lnTo>
                    <a:pt x="1077" y="1443"/>
                  </a:lnTo>
                  <a:lnTo>
                    <a:pt x="1079" y="1423"/>
                  </a:lnTo>
                  <a:lnTo>
                    <a:pt x="1088" y="1399"/>
                  </a:lnTo>
                  <a:lnTo>
                    <a:pt x="1097" y="1377"/>
                  </a:lnTo>
                  <a:lnTo>
                    <a:pt x="1101" y="1359"/>
                  </a:lnTo>
                  <a:lnTo>
                    <a:pt x="1103" y="1346"/>
                  </a:lnTo>
                  <a:lnTo>
                    <a:pt x="1103" y="1337"/>
                  </a:lnTo>
                  <a:lnTo>
                    <a:pt x="1103" y="1333"/>
                  </a:lnTo>
                  <a:lnTo>
                    <a:pt x="1105" y="1329"/>
                  </a:lnTo>
                  <a:lnTo>
                    <a:pt x="1110" y="1329"/>
                  </a:lnTo>
                  <a:close/>
                  <a:moveTo>
                    <a:pt x="3028" y="1230"/>
                  </a:moveTo>
                  <a:lnTo>
                    <a:pt x="3033" y="1230"/>
                  </a:lnTo>
                  <a:lnTo>
                    <a:pt x="3039" y="1234"/>
                  </a:lnTo>
                  <a:lnTo>
                    <a:pt x="3042" y="1238"/>
                  </a:lnTo>
                  <a:lnTo>
                    <a:pt x="3044" y="1243"/>
                  </a:lnTo>
                  <a:lnTo>
                    <a:pt x="3042" y="1251"/>
                  </a:lnTo>
                  <a:lnTo>
                    <a:pt x="3041" y="1258"/>
                  </a:lnTo>
                  <a:lnTo>
                    <a:pt x="3039" y="1263"/>
                  </a:lnTo>
                  <a:lnTo>
                    <a:pt x="3035" y="1271"/>
                  </a:lnTo>
                  <a:lnTo>
                    <a:pt x="3031" y="1274"/>
                  </a:lnTo>
                  <a:lnTo>
                    <a:pt x="3026" y="1278"/>
                  </a:lnTo>
                  <a:lnTo>
                    <a:pt x="3020" y="1278"/>
                  </a:lnTo>
                  <a:lnTo>
                    <a:pt x="3017" y="1278"/>
                  </a:lnTo>
                  <a:lnTo>
                    <a:pt x="3013" y="1276"/>
                  </a:lnTo>
                  <a:lnTo>
                    <a:pt x="3008" y="1271"/>
                  </a:lnTo>
                  <a:lnTo>
                    <a:pt x="3000" y="1258"/>
                  </a:lnTo>
                  <a:lnTo>
                    <a:pt x="2998" y="1247"/>
                  </a:lnTo>
                  <a:lnTo>
                    <a:pt x="3002" y="1240"/>
                  </a:lnTo>
                  <a:lnTo>
                    <a:pt x="3015" y="1234"/>
                  </a:lnTo>
                  <a:lnTo>
                    <a:pt x="3020" y="1232"/>
                  </a:lnTo>
                  <a:lnTo>
                    <a:pt x="3028" y="1230"/>
                  </a:lnTo>
                  <a:close/>
                  <a:moveTo>
                    <a:pt x="2702" y="1120"/>
                  </a:moveTo>
                  <a:lnTo>
                    <a:pt x="2709" y="1122"/>
                  </a:lnTo>
                  <a:lnTo>
                    <a:pt x="2726" y="1124"/>
                  </a:lnTo>
                  <a:lnTo>
                    <a:pt x="2736" y="1133"/>
                  </a:lnTo>
                  <a:lnTo>
                    <a:pt x="2744" y="1146"/>
                  </a:lnTo>
                  <a:lnTo>
                    <a:pt x="2749" y="1164"/>
                  </a:lnTo>
                  <a:lnTo>
                    <a:pt x="2751" y="1186"/>
                  </a:lnTo>
                  <a:lnTo>
                    <a:pt x="2751" y="1208"/>
                  </a:lnTo>
                  <a:lnTo>
                    <a:pt x="2747" y="1232"/>
                  </a:lnTo>
                  <a:lnTo>
                    <a:pt x="2742" y="1254"/>
                  </a:lnTo>
                  <a:lnTo>
                    <a:pt x="2735" y="1276"/>
                  </a:lnTo>
                  <a:lnTo>
                    <a:pt x="2726" y="1291"/>
                  </a:lnTo>
                  <a:lnTo>
                    <a:pt x="2715" y="1302"/>
                  </a:lnTo>
                  <a:lnTo>
                    <a:pt x="2702" y="1309"/>
                  </a:lnTo>
                  <a:lnTo>
                    <a:pt x="2685" y="1311"/>
                  </a:lnTo>
                  <a:lnTo>
                    <a:pt x="2669" y="1306"/>
                  </a:lnTo>
                  <a:lnTo>
                    <a:pt x="2658" y="1295"/>
                  </a:lnTo>
                  <a:lnTo>
                    <a:pt x="2650" y="1278"/>
                  </a:lnTo>
                  <a:lnTo>
                    <a:pt x="2652" y="1256"/>
                  </a:lnTo>
                  <a:lnTo>
                    <a:pt x="2654" y="1240"/>
                  </a:lnTo>
                  <a:lnTo>
                    <a:pt x="2654" y="1221"/>
                  </a:lnTo>
                  <a:lnTo>
                    <a:pt x="2654" y="1201"/>
                  </a:lnTo>
                  <a:lnTo>
                    <a:pt x="2652" y="1183"/>
                  </a:lnTo>
                  <a:lnTo>
                    <a:pt x="2652" y="1166"/>
                  </a:lnTo>
                  <a:lnTo>
                    <a:pt x="2654" y="1150"/>
                  </a:lnTo>
                  <a:lnTo>
                    <a:pt x="2658" y="1137"/>
                  </a:lnTo>
                  <a:lnTo>
                    <a:pt x="2667" y="1128"/>
                  </a:lnTo>
                  <a:lnTo>
                    <a:pt x="2682" y="1122"/>
                  </a:lnTo>
                  <a:lnTo>
                    <a:pt x="2702" y="1120"/>
                  </a:lnTo>
                  <a:close/>
                  <a:moveTo>
                    <a:pt x="2991" y="1040"/>
                  </a:moveTo>
                  <a:lnTo>
                    <a:pt x="2997" y="1041"/>
                  </a:lnTo>
                  <a:lnTo>
                    <a:pt x="3002" y="1043"/>
                  </a:lnTo>
                  <a:lnTo>
                    <a:pt x="3006" y="1049"/>
                  </a:lnTo>
                  <a:lnTo>
                    <a:pt x="3006" y="1054"/>
                  </a:lnTo>
                  <a:lnTo>
                    <a:pt x="3006" y="1062"/>
                  </a:lnTo>
                  <a:lnTo>
                    <a:pt x="3004" y="1067"/>
                  </a:lnTo>
                  <a:lnTo>
                    <a:pt x="3002" y="1074"/>
                  </a:lnTo>
                  <a:lnTo>
                    <a:pt x="2998" y="1080"/>
                  </a:lnTo>
                  <a:lnTo>
                    <a:pt x="2993" y="1086"/>
                  </a:lnTo>
                  <a:lnTo>
                    <a:pt x="2989" y="1087"/>
                  </a:lnTo>
                  <a:lnTo>
                    <a:pt x="2984" y="1089"/>
                  </a:lnTo>
                  <a:lnTo>
                    <a:pt x="2980" y="1089"/>
                  </a:lnTo>
                  <a:lnTo>
                    <a:pt x="2975" y="1086"/>
                  </a:lnTo>
                  <a:lnTo>
                    <a:pt x="2971" y="1082"/>
                  </a:lnTo>
                  <a:lnTo>
                    <a:pt x="2964" y="1069"/>
                  </a:lnTo>
                  <a:lnTo>
                    <a:pt x="2960" y="1058"/>
                  </a:lnTo>
                  <a:lnTo>
                    <a:pt x="2965" y="1051"/>
                  </a:lnTo>
                  <a:lnTo>
                    <a:pt x="2976" y="1045"/>
                  </a:lnTo>
                  <a:lnTo>
                    <a:pt x="2984" y="1041"/>
                  </a:lnTo>
                  <a:lnTo>
                    <a:pt x="2991" y="1040"/>
                  </a:lnTo>
                  <a:close/>
                  <a:moveTo>
                    <a:pt x="2854" y="986"/>
                  </a:moveTo>
                  <a:lnTo>
                    <a:pt x="2878" y="990"/>
                  </a:lnTo>
                  <a:lnTo>
                    <a:pt x="2898" y="999"/>
                  </a:lnTo>
                  <a:lnTo>
                    <a:pt x="2910" y="1014"/>
                  </a:lnTo>
                  <a:lnTo>
                    <a:pt x="2921" y="1034"/>
                  </a:lnTo>
                  <a:lnTo>
                    <a:pt x="2927" y="1054"/>
                  </a:lnTo>
                  <a:lnTo>
                    <a:pt x="2931" y="1076"/>
                  </a:lnTo>
                  <a:lnTo>
                    <a:pt x="2932" y="1098"/>
                  </a:lnTo>
                  <a:lnTo>
                    <a:pt x="2931" y="1119"/>
                  </a:lnTo>
                  <a:lnTo>
                    <a:pt x="2927" y="1135"/>
                  </a:lnTo>
                  <a:lnTo>
                    <a:pt x="2925" y="1148"/>
                  </a:lnTo>
                  <a:lnTo>
                    <a:pt x="2927" y="1164"/>
                  </a:lnTo>
                  <a:lnTo>
                    <a:pt x="2932" y="1183"/>
                  </a:lnTo>
                  <a:lnTo>
                    <a:pt x="2938" y="1203"/>
                  </a:lnTo>
                  <a:lnTo>
                    <a:pt x="2943" y="1223"/>
                  </a:lnTo>
                  <a:lnTo>
                    <a:pt x="2949" y="1245"/>
                  </a:lnTo>
                  <a:lnTo>
                    <a:pt x="2954" y="1263"/>
                  </a:lnTo>
                  <a:lnTo>
                    <a:pt x="2956" y="1282"/>
                  </a:lnTo>
                  <a:lnTo>
                    <a:pt x="2954" y="1298"/>
                  </a:lnTo>
                  <a:lnTo>
                    <a:pt x="2949" y="1309"/>
                  </a:lnTo>
                  <a:lnTo>
                    <a:pt x="2938" y="1318"/>
                  </a:lnTo>
                  <a:lnTo>
                    <a:pt x="2920" y="1320"/>
                  </a:lnTo>
                  <a:lnTo>
                    <a:pt x="2887" y="1326"/>
                  </a:lnTo>
                  <a:lnTo>
                    <a:pt x="2854" y="1337"/>
                  </a:lnTo>
                  <a:lnTo>
                    <a:pt x="2834" y="1346"/>
                  </a:lnTo>
                  <a:lnTo>
                    <a:pt x="2815" y="1355"/>
                  </a:lnTo>
                  <a:lnTo>
                    <a:pt x="2799" y="1361"/>
                  </a:lnTo>
                  <a:lnTo>
                    <a:pt x="2786" y="1362"/>
                  </a:lnTo>
                  <a:lnTo>
                    <a:pt x="2775" y="1359"/>
                  </a:lnTo>
                  <a:lnTo>
                    <a:pt x="2766" y="1348"/>
                  </a:lnTo>
                  <a:lnTo>
                    <a:pt x="2760" y="1328"/>
                  </a:lnTo>
                  <a:lnTo>
                    <a:pt x="2757" y="1300"/>
                  </a:lnTo>
                  <a:lnTo>
                    <a:pt x="2753" y="1280"/>
                  </a:lnTo>
                  <a:lnTo>
                    <a:pt x="2753" y="1265"/>
                  </a:lnTo>
                  <a:lnTo>
                    <a:pt x="2757" y="1254"/>
                  </a:lnTo>
                  <a:lnTo>
                    <a:pt x="2762" y="1245"/>
                  </a:lnTo>
                  <a:lnTo>
                    <a:pt x="2775" y="1238"/>
                  </a:lnTo>
                  <a:lnTo>
                    <a:pt x="2793" y="1229"/>
                  </a:lnTo>
                  <a:lnTo>
                    <a:pt x="2819" y="1218"/>
                  </a:lnTo>
                  <a:lnTo>
                    <a:pt x="2832" y="1208"/>
                  </a:lnTo>
                  <a:lnTo>
                    <a:pt x="2841" y="1192"/>
                  </a:lnTo>
                  <a:lnTo>
                    <a:pt x="2846" y="1174"/>
                  </a:lnTo>
                  <a:lnTo>
                    <a:pt x="2846" y="1152"/>
                  </a:lnTo>
                  <a:lnTo>
                    <a:pt x="2845" y="1126"/>
                  </a:lnTo>
                  <a:lnTo>
                    <a:pt x="2841" y="1102"/>
                  </a:lnTo>
                  <a:lnTo>
                    <a:pt x="2835" y="1076"/>
                  </a:lnTo>
                  <a:lnTo>
                    <a:pt x="2832" y="1052"/>
                  </a:lnTo>
                  <a:lnTo>
                    <a:pt x="2828" y="1030"/>
                  </a:lnTo>
                  <a:lnTo>
                    <a:pt x="2826" y="1012"/>
                  </a:lnTo>
                  <a:lnTo>
                    <a:pt x="2828" y="999"/>
                  </a:lnTo>
                  <a:lnTo>
                    <a:pt x="2834" y="990"/>
                  </a:lnTo>
                  <a:lnTo>
                    <a:pt x="2843" y="988"/>
                  </a:lnTo>
                  <a:lnTo>
                    <a:pt x="2854" y="986"/>
                  </a:lnTo>
                  <a:close/>
                  <a:moveTo>
                    <a:pt x="535" y="774"/>
                  </a:moveTo>
                  <a:lnTo>
                    <a:pt x="572" y="781"/>
                  </a:lnTo>
                  <a:lnTo>
                    <a:pt x="608" y="794"/>
                  </a:lnTo>
                  <a:lnTo>
                    <a:pt x="645" y="812"/>
                  </a:lnTo>
                  <a:lnTo>
                    <a:pt x="678" y="834"/>
                  </a:lnTo>
                  <a:lnTo>
                    <a:pt x="703" y="853"/>
                  </a:lnTo>
                  <a:lnTo>
                    <a:pt x="724" y="873"/>
                  </a:lnTo>
                  <a:lnTo>
                    <a:pt x="736" y="891"/>
                  </a:lnTo>
                  <a:lnTo>
                    <a:pt x="740" y="908"/>
                  </a:lnTo>
                  <a:lnTo>
                    <a:pt x="744" y="933"/>
                  </a:lnTo>
                  <a:lnTo>
                    <a:pt x="751" y="952"/>
                  </a:lnTo>
                  <a:lnTo>
                    <a:pt x="766" y="966"/>
                  </a:lnTo>
                  <a:lnTo>
                    <a:pt x="780" y="972"/>
                  </a:lnTo>
                  <a:lnTo>
                    <a:pt x="799" y="972"/>
                  </a:lnTo>
                  <a:lnTo>
                    <a:pt x="821" y="968"/>
                  </a:lnTo>
                  <a:lnTo>
                    <a:pt x="835" y="961"/>
                  </a:lnTo>
                  <a:lnTo>
                    <a:pt x="845" y="952"/>
                  </a:lnTo>
                  <a:lnTo>
                    <a:pt x="848" y="941"/>
                  </a:lnTo>
                  <a:lnTo>
                    <a:pt x="852" y="930"/>
                  </a:lnTo>
                  <a:lnTo>
                    <a:pt x="854" y="920"/>
                  </a:lnTo>
                  <a:lnTo>
                    <a:pt x="859" y="911"/>
                  </a:lnTo>
                  <a:lnTo>
                    <a:pt x="868" y="906"/>
                  </a:lnTo>
                  <a:lnTo>
                    <a:pt x="874" y="904"/>
                  </a:lnTo>
                  <a:lnTo>
                    <a:pt x="879" y="902"/>
                  </a:lnTo>
                  <a:lnTo>
                    <a:pt x="887" y="902"/>
                  </a:lnTo>
                  <a:lnTo>
                    <a:pt x="896" y="904"/>
                  </a:lnTo>
                  <a:lnTo>
                    <a:pt x="912" y="908"/>
                  </a:lnTo>
                  <a:lnTo>
                    <a:pt x="927" y="917"/>
                  </a:lnTo>
                  <a:lnTo>
                    <a:pt x="938" y="931"/>
                  </a:lnTo>
                  <a:lnTo>
                    <a:pt x="949" y="953"/>
                  </a:lnTo>
                  <a:lnTo>
                    <a:pt x="958" y="981"/>
                  </a:lnTo>
                  <a:lnTo>
                    <a:pt x="965" y="1008"/>
                  </a:lnTo>
                  <a:lnTo>
                    <a:pt x="975" y="1036"/>
                  </a:lnTo>
                  <a:lnTo>
                    <a:pt x="984" y="1062"/>
                  </a:lnTo>
                  <a:lnTo>
                    <a:pt x="998" y="1080"/>
                  </a:lnTo>
                  <a:lnTo>
                    <a:pt x="1019" y="1097"/>
                  </a:lnTo>
                  <a:lnTo>
                    <a:pt x="1040" y="1111"/>
                  </a:lnTo>
                  <a:lnTo>
                    <a:pt x="1062" y="1124"/>
                  </a:lnTo>
                  <a:lnTo>
                    <a:pt x="1083" y="1137"/>
                  </a:lnTo>
                  <a:lnTo>
                    <a:pt x="1099" y="1150"/>
                  </a:lnTo>
                  <a:lnTo>
                    <a:pt x="1106" y="1163"/>
                  </a:lnTo>
                  <a:lnTo>
                    <a:pt x="1105" y="1177"/>
                  </a:lnTo>
                  <a:lnTo>
                    <a:pt x="1105" y="1190"/>
                  </a:lnTo>
                  <a:lnTo>
                    <a:pt x="1110" y="1205"/>
                  </a:lnTo>
                  <a:lnTo>
                    <a:pt x="1121" y="1221"/>
                  </a:lnTo>
                  <a:lnTo>
                    <a:pt x="1132" y="1236"/>
                  </a:lnTo>
                  <a:lnTo>
                    <a:pt x="1143" y="1251"/>
                  </a:lnTo>
                  <a:lnTo>
                    <a:pt x="1154" y="1265"/>
                  </a:lnTo>
                  <a:lnTo>
                    <a:pt x="1161" y="1278"/>
                  </a:lnTo>
                  <a:lnTo>
                    <a:pt x="1163" y="1289"/>
                  </a:lnTo>
                  <a:lnTo>
                    <a:pt x="1161" y="1298"/>
                  </a:lnTo>
                  <a:lnTo>
                    <a:pt x="1150" y="1304"/>
                  </a:lnTo>
                  <a:lnTo>
                    <a:pt x="1132" y="1306"/>
                  </a:lnTo>
                  <a:lnTo>
                    <a:pt x="1121" y="1306"/>
                  </a:lnTo>
                  <a:lnTo>
                    <a:pt x="1083" y="1309"/>
                  </a:lnTo>
                  <a:lnTo>
                    <a:pt x="1051" y="1315"/>
                  </a:lnTo>
                  <a:lnTo>
                    <a:pt x="1024" y="1326"/>
                  </a:lnTo>
                  <a:lnTo>
                    <a:pt x="1004" y="1339"/>
                  </a:lnTo>
                  <a:lnTo>
                    <a:pt x="989" y="1353"/>
                  </a:lnTo>
                  <a:lnTo>
                    <a:pt x="976" y="1370"/>
                  </a:lnTo>
                  <a:lnTo>
                    <a:pt x="967" y="1383"/>
                  </a:lnTo>
                  <a:lnTo>
                    <a:pt x="958" y="1388"/>
                  </a:lnTo>
                  <a:lnTo>
                    <a:pt x="949" y="1384"/>
                  </a:lnTo>
                  <a:lnTo>
                    <a:pt x="938" y="1375"/>
                  </a:lnTo>
                  <a:lnTo>
                    <a:pt x="923" y="1362"/>
                  </a:lnTo>
                  <a:lnTo>
                    <a:pt x="907" y="1350"/>
                  </a:lnTo>
                  <a:lnTo>
                    <a:pt x="896" y="1344"/>
                  </a:lnTo>
                  <a:lnTo>
                    <a:pt x="883" y="1342"/>
                  </a:lnTo>
                  <a:lnTo>
                    <a:pt x="868" y="1344"/>
                  </a:lnTo>
                  <a:lnTo>
                    <a:pt x="850" y="1348"/>
                  </a:lnTo>
                  <a:lnTo>
                    <a:pt x="830" y="1351"/>
                  </a:lnTo>
                  <a:lnTo>
                    <a:pt x="812" y="1359"/>
                  </a:lnTo>
                  <a:lnTo>
                    <a:pt x="795" y="1366"/>
                  </a:lnTo>
                  <a:lnTo>
                    <a:pt x="780" y="1373"/>
                  </a:lnTo>
                  <a:lnTo>
                    <a:pt x="771" y="1381"/>
                  </a:lnTo>
                  <a:lnTo>
                    <a:pt x="766" y="1386"/>
                  </a:lnTo>
                  <a:lnTo>
                    <a:pt x="768" y="1390"/>
                  </a:lnTo>
                  <a:lnTo>
                    <a:pt x="779" y="1392"/>
                  </a:lnTo>
                  <a:lnTo>
                    <a:pt x="801" y="1395"/>
                  </a:lnTo>
                  <a:lnTo>
                    <a:pt x="824" y="1405"/>
                  </a:lnTo>
                  <a:lnTo>
                    <a:pt x="846" y="1421"/>
                  </a:lnTo>
                  <a:lnTo>
                    <a:pt x="868" y="1441"/>
                  </a:lnTo>
                  <a:lnTo>
                    <a:pt x="881" y="1460"/>
                  </a:lnTo>
                  <a:lnTo>
                    <a:pt x="890" y="1480"/>
                  </a:lnTo>
                  <a:lnTo>
                    <a:pt x="892" y="1502"/>
                  </a:lnTo>
                  <a:lnTo>
                    <a:pt x="887" y="1524"/>
                  </a:lnTo>
                  <a:lnTo>
                    <a:pt x="874" y="1548"/>
                  </a:lnTo>
                  <a:lnTo>
                    <a:pt x="868" y="1555"/>
                  </a:lnTo>
                  <a:lnTo>
                    <a:pt x="841" y="1583"/>
                  </a:lnTo>
                  <a:lnTo>
                    <a:pt x="815" y="1601"/>
                  </a:lnTo>
                  <a:lnTo>
                    <a:pt x="790" y="1616"/>
                  </a:lnTo>
                  <a:lnTo>
                    <a:pt x="766" y="1628"/>
                  </a:lnTo>
                  <a:lnTo>
                    <a:pt x="736" y="1643"/>
                  </a:lnTo>
                  <a:lnTo>
                    <a:pt x="713" y="1660"/>
                  </a:lnTo>
                  <a:lnTo>
                    <a:pt x="694" y="1685"/>
                  </a:lnTo>
                  <a:lnTo>
                    <a:pt x="678" y="1713"/>
                  </a:lnTo>
                  <a:lnTo>
                    <a:pt x="669" y="1727"/>
                  </a:lnTo>
                  <a:lnTo>
                    <a:pt x="660" y="1742"/>
                  </a:lnTo>
                  <a:lnTo>
                    <a:pt x="647" y="1753"/>
                  </a:lnTo>
                  <a:lnTo>
                    <a:pt x="630" y="1760"/>
                  </a:lnTo>
                  <a:lnTo>
                    <a:pt x="612" y="1762"/>
                  </a:lnTo>
                  <a:lnTo>
                    <a:pt x="594" y="1768"/>
                  </a:lnTo>
                  <a:lnTo>
                    <a:pt x="577" y="1779"/>
                  </a:lnTo>
                  <a:lnTo>
                    <a:pt x="562" y="1799"/>
                  </a:lnTo>
                  <a:lnTo>
                    <a:pt x="550" y="1823"/>
                  </a:lnTo>
                  <a:lnTo>
                    <a:pt x="539" y="1848"/>
                  </a:lnTo>
                  <a:lnTo>
                    <a:pt x="531" y="1876"/>
                  </a:lnTo>
                  <a:lnTo>
                    <a:pt x="526" y="1902"/>
                  </a:lnTo>
                  <a:lnTo>
                    <a:pt x="522" y="1925"/>
                  </a:lnTo>
                  <a:lnTo>
                    <a:pt x="520" y="1946"/>
                  </a:lnTo>
                  <a:lnTo>
                    <a:pt x="517" y="1958"/>
                  </a:lnTo>
                  <a:lnTo>
                    <a:pt x="509" y="1973"/>
                  </a:lnTo>
                  <a:lnTo>
                    <a:pt x="497" y="1986"/>
                  </a:lnTo>
                  <a:lnTo>
                    <a:pt x="475" y="2002"/>
                  </a:lnTo>
                  <a:lnTo>
                    <a:pt x="451" y="2019"/>
                  </a:lnTo>
                  <a:lnTo>
                    <a:pt x="427" y="2035"/>
                  </a:lnTo>
                  <a:lnTo>
                    <a:pt x="407" y="2050"/>
                  </a:lnTo>
                  <a:lnTo>
                    <a:pt x="392" y="2068"/>
                  </a:lnTo>
                  <a:lnTo>
                    <a:pt x="381" y="2094"/>
                  </a:lnTo>
                  <a:lnTo>
                    <a:pt x="377" y="2122"/>
                  </a:lnTo>
                  <a:lnTo>
                    <a:pt x="381" y="2153"/>
                  </a:lnTo>
                  <a:lnTo>
                    <a:pt x="385" y="2188"/>
                  </a:lnTo>
                  <a:lnTo>
                    <a:pt x="387" y="2230"/>
                  </a:lnTo>
                  <a:lnTo>
                    <a:pt x="385" y="2256"/>
                  </a:lnTo>
                  <a:lnTo>
                    <a:pt x="379" y="2272"/>
                  </a:lnTo>
                  <a:lnTo>
                    <a:pt x="372" y="2279"/>
                  </a:lnTo>
                  <a:lnTo>
                    <a:pt x="359" y="2278"/>
                  </a:lnTo>
                  <a:lnTo>
                    <a:pt x="348" y="2268"/>
                  </a:lnTo>
                  <a:lnTo>
                    <a:pt x="334" y="2254"/>
                  </a:lnTo>
                  <a:lnTo>
                    <a:pt x="315" y="2234"/>
                  </a:lnTo>
                  <a:lnTo>
                    <a:pt x="295" y="2208"/>
                  </a:lnTo>
                  <a:lnTo>
                    <a:pt x="269" y="2180"/>
                  </a:lnTo>
                  <a:lnTo>
                    <a:pt x="242" y="2162"/>
                  </a:lnTo>
                  <a:lnTo>
                    <a:pt x="211" y="2153"/>
                  </a:lnTo>
                  <a:lnTo>
                    <a:pt x="182" y="2149"/>
                  </a:lnTo>
                  <a:lnTo>
                    <a:pt x="152" y="2149"/>
                  </a:lnTo>
                  <a:lnTo>
                    <a:pt x="123" y="2155"/>
                  </a:lnTo>
                  <a:lnTo>
                    <a:pt x="97" y="2162"/>
                  </a:lnTo>
                  <a:lnTo>
                    <a:pt x="75" y="2169"/>
                  </a:lnTo>
                  <a:lnTo>
                    <a:pt x="51" y="2177"/>
                  </a:lnTo>
                  <a:lnTo>
                    <a:pt x="26" y="2177"/>
                  </a:lnTo>
                  <a:lnTo>
                    <a:pt x="0" y="2177"/>
                  </a:lnTo>
                  <a:lnTo>
                    <a:pt x="4" y="2083"/>
                  </a:lnTo>
                  <a:lnTo>
                    <a:pt x="11" y="1993"/>
                  </a:lnTo>
                  <a:lnTo>
                    <a:pt x="26" y="1881"/>
                  </a:lnTo>
                  <a:lnTo>
                    <a:pt x="46" y="1773"/>
                  </a:lnTo>
                  <a:lnTo>
                    <a:pt x="70" y="1665"/>
                  </a:lnTo>
                  <a:lnTo>
                    <a:pt x="99" y="1560"/>
                  </a:lnTo>
                  <a:lnTo>
                    <a:pt x="136" y="1456"/>
                  </a:lnTo>
                  <a:lnTo>
                    <a:pt x="154" y="1406"/>
                  </a:lnTo>
                  <a:lnTo>
                    <a:pt x="185" y="1331"/>
                  </a:lnTo>
                  <a:lnTo>
                    <a:pt x="218" y="1258"/>
                  </a:lnTo>
                  <a:lnTo>
                    <a:pt x="244" y="1208"/>
                  </a:lnTo>
                  <a:lnTo>
                    <a:pt x="280" y="1139"/>
                  </a:lnTo>
                  <a:lnTo>
                    <a:pt x="301" y="1148"/>
                  </a:lnTo>
                  <a:lnTo>
                    <a:pt x="315" y="1161"/>
                  </a:lnTo>
                  <a:lnTo>
                    <a:pt x="324" y="1174"/>
                  </a:lnTo>
                  <a:lnTo>
                    <a:pt x="328" y="1188"/>
                  </a:lnTo>
                  <a:lnTo>
                    <a:pt x="330" y="1208"/>
                  </a:lnTo>
                  <a:lnTo>
                    <a:pt x="337" y="1234"/>
                  </a:lnTo>
                  <a:lnTo>
                    <a:pt x="348" y="1260"/>
                  </a:lnTo>
                  <a:lnTo>
                    <a:pt x="359" y="1282"/>
                  </a:lnTo>
                  <a:lnTo>
                    <a:pt x="368" y="1293"/>
                  </a:lnTo>
                  <a:lnTo>
                    <a:pt x="376" y="1300"/>
                  </a:lnTo>
                  <a:lnTo>
                    <a:pt x="383" y="1300"/>
                  </a:lnTo>
                  <a:lnTo>
                    <a:pt x="390" y="1296"/>
                  </a:lnTo>
                  <a:lnTo>
                    <a:pt x="394" y="1284"/>
                  </a:lnTo>
                  <a:lnTo>
                    <a:pt x="398" y="1263"/>
                  </a:lnTo>
                  <a:lnTo>
                    <a:pt x="399" y="1221"/>
                  </a:lnTo>
                  <a:lnTo>
                    <a:pt x="401" y="1185"/>
                  </a:lnTo>
                  <a:lnTo>
                    <a:pt x="405" y="1155"/>
                  </a:lnTo>
                  <a:lnTo>
                    <a:pt x="410" y="1130"/>
                  </a:lnTo>
                  <a:lnTo>
                    <a:pt x="418" y="1111"/>
                  </a:lnTo>
                  <a:lnTo>
                    <a:pt x="429" y="1100"/>
                  </a:lnTo>
                  <a:lnTo>
                    <a:pt x="445" y="1097"/>
                  </a:lnTo>
                  <a:lnTo>
                    <a:pt x="458" y="1095"/>
                  </a:lnTo>
                  <a:lnTo>
                    <a:pt x="464" y="1087"/>
                  </a:lnTo>
                  <a:lnTo>
                    <a:pt x="465" y="1076"/>
                  </a:lnTo>
                  <a:lnTo>
                    <a:pt x="462" y="1060"/>
                  </a:lnTo>
                  <a:lnTo>
                    <a:pt x="456" y="1041"/>
                  </a:lnTo>
                  <a:lnTo>
                    <a:pt x="449" y="1019"/>
                  </a:lnTo>
                  <a:lnTo>
                    <a:pt x="442" y="994"/>
                  </a:lnTo>
                  <a:lnTo>
                    <a:pt x="434" y="968"/>
                  </a:lnTo>
                  <a:lnTo>
                    <a:pt x="425" y="913"/>
                  </a:lnTo>
                  <a:lnTo>
                    <a:pt x="473" y="849"/>
                  </a:lnTo>
                  <a:lnTo>
                    <a:pt x="497" y="821"/>
                  </a:lnTo>
                  <a:lnTo>
                    <a:pt x="535" y="774"/>
                  </a:lnTo>
                  <a:close/>
                  <a:moveTo>
                    <a:pt x="3762" y="623"/>
                  </a:moveTo>
                  <a:lnTo>
                    <a:pt x="3788" y="649"/>
                  </a:lnTo>
                  <a:lnTo>
                    <a:pt x="3861" y="726"/>
                  </a:lnTo>
                  <a:lnTo>
                    <a:pt x="3914" y="787"/>
                  </a:lnTo>
                  <a:lnTo>
                    <a:pt x="3964" y="849"/>
                  </a:lnTo>
                  <a:lnTo>
                    <a:pt x="4028" y="935"/>
                  </a:lnTo>
                  <a:lnTo>
                    <a:pt x="4088" y="1023"/>
                  </a:lnTo>
                  <a:lnTo>
                    <a:pt x="4143" y="1115"/>
                  </a:lnTo>
                  <a:lnTo>
                    <a:pt x="4194" y="1208"/>
                  </a:lnTo>
                  <a:lnTo>
                    <a:pt x="4218" y="1258"/>
                  </a:lnTo>
                  <a:lnTo>
                    <a:pt x="4253" y="1331"/>
                  </a:lnTo>
                  <a:lnTo>
                    <a:pt x="4284" y="1406"/>
                  </a:lnTo>
                  <a:lnTo>
                    <a:pt x="4302" y="1456"/>
                  </a:lnTo>
                  <a:lnTo>
                    <a:pt x="4337" y="1560"/>
                  </a:lnTo>
                  <a:lnTo>
                    <a:pt x="4367" y="1665"/>
                  </a:lnTo>
                  <a:lnTo>
                    <a:pt x="4392" y="1773"/>
                  </a:lnTo>
                  <a:lnTo>
                    <a:pt x="4412" y="1881"/>
                  </a:lnTo>
                  <a:lnTo>
                    <a:pt x="4425" y="1993"/>
                  </a:lnTo>
                  <a:lnTo>
                    <a:pt x="4434" y="2107"/>
                  </a:lnTo>
                  <a:lnTo>
                    <a:pt x="4438" y="2221"/>
                  </a:lnTo>
                  <a:lnTo>
                    <a:pt x="4434" y="2334"/>
                  </a:lnTo>
                  <a:lnTo>
                    <a:pt x="4425" y="2448"/>
                  </a:lnTo>
                  <a:lnTo>
                    <a:pt x="4412" y="2558"/>
                  </a:lnTo>
                  <a:lnTo>
                    <a:pt x="4392" y="2668"/>
                  </a:lnTo>
                  <a:lnTo>
                    <a:pt x="4383" y="2714"/>
                  </a:lnTo>
                  <a:lnTo>
                    <a:pt x="4381" y="2709"/>
                  </a:lnTo>
                  <a:lnTo>
                    <a:pt x="4356" y="2657"/>
                  </a:lnTo>
                  <a:lnTo>
                    <a:pt x="4324" y="2604"/>
                  </a:lnTo>
                  <a:lnTo>
                    <a:pt x="4291" y="2553"/>
                  </a:lnTo>
                  <a:lnTo>
                    <a:pt x="4257" y="2499"/>
                  </a:lnTo>
                  <a:lnTo>
                    <a:pt x="4226" y="2448"/>
                  </a:lnTo>
                  <a:lnTo>
                    <a:pt x="4198" y="2399"/>
                  </a:lnTo>
                  <a:lnTo>
                    <a:pt x="4176" y="2351"/>
                  </a:lnTo>
                  <a:lnTo>
                    <a:pt x="4158" y="2301"/>
                  </a:lnTo>
                  <a:lnTo>
                    <a:pt x="4138" y="2259"/>
                  </a:lnTo>
                  <a:lnTo>
                    <a:pt x="4117" y="2224"/>
                  </a:lnTo>
                  <a:lnTo>
                    <a:pt x="4097" y="2199"/>
                  </a:lnTo>
                  <a:lnTo>
                    <a:pt x="4077" y="2186"/>
                  </a:lnTo>
                  <a:lnTo>
                    <a:pt x="4059" y="2182"/>
                  </a:lnTo>
                  <a:lnTo>
                    <a:pt x="4052" y="2188"/>
                  </a:lnTo>
                  <a:lnTo>
                    <a:pt x="4048" y="2201"/>
                  </a:lnTo>
                  <a:lnTo>
                    <a:pt x="4050" y="2219"/>
                  </a:lnTo>
                  <a:lnTo>
                    <a:pt x="4055" y="2241"/>
                  </a:lnTo>
                  <a:lnTo>
                    <a:pt x="4063" y="2268"/>
                  </a:lnTo>
                  <a:lnTo>
                    <a:pt x="4074" y="2298"/>
                  </a:lnTo>
                  <a:lnTo>
                    <a:pt x="4086" y="2329"/>
                  </a:lnTo>
                  <a:lnTo>
                    <a:pt x="4099" y="2360"/>
                  </a:lnTo>
                  <a:lnTo>
                    <a:pt x="4112" y="2391"/>
                  </a:lnTo>
                  <a:lnTo>
                    <a:pt x="4125" y="2419"/>
                  </a:lnTo>
                  <a:lnTo>
                    <a:pt x="4138" y="2444"/>
                  </a:lnTo>
                  <a:lnTo>
                    <a:pt x="4149" y="2465"/>
                  </a:lnTo>
                  <a:lnTo>
                    <a:pt x="4169" y="2505"/>
                  </a:lnTo>
                  <a:lnTo>
                    <a:pt x="4191" y="2551"/>
                  </a:lnTo>
                  <a:lnTo>
                    <a:pt x="4215" y="2597"/>
                  </a:lnTo>
                  <a:lnTo>
                    <a:pt x="4240" y="2644"/>
                  </a:lnTo>
                  <a:lnTo>
                    <a:pt x="4269" y="2688"/>
                  </a:lnTo>
                  <a:lnTo>
                    <a:pt x="4301" y="2725"/>
                  </a:lnTo>
                  <a:lnTo>
                    <a:pt x="4334" y="2754"/>
                  </a:lnTo>
                  <a:lnTo>
                    <a:pt x="4367" y="2778"/>
                  </a:lnTo>
                  <a:lnTo>
                    <a:pt x="4337" y="2883"/>
                  </a:lnTo>
                  <a:lnTo>
                    <a:pt x="4302" y="2984"/>
                  </a:lnTo>
                  <a:lnTo>
                    <a:pt x="4262" y="3084"/>
                  </a:lnTo>
                  <a:lnTo>
                    <a:pt x="4218" y="3184"/>
                  </a:lnTo>
                  <a:lnTo>
                    <a:pt x="4194" y="3231"/>
                  </a:lnTo>
                  <a:lnTo>
                    <a:pt x="4143" y="3327"/>
                  </a:lnTo>
                  <a:lnTo>
                    <a:pt x="4108" y="3383"/>
                  </a:lnTo>
                  <a:lnTo>
                    <a:pt x="4039" y="3490"/>
                  </a:lnTo>
                  <a:lnTo>
                    <a:pt x="3964" y="3592"/>
                  </a:lnTo>
                  <a:lnTo>
                    <a:pt x="3914" y="3655"/>
                  </a:lnTo>
                  <a:lnTo>
                    <a:pt x="3861" y="3714"/>
                  </a:lnTo>
                  <a:lnTo>
                    <a:pt x="3788" y="3791"/>
                  </a:lnTo>
                  <a:lnTo>
                    <a:pt x="3711" y="3864"/>
                  </a:lnTo>
                  <a:lnTo>
                    <a:pt x="3628" y="3935"/>
                  </a:lnTo>
                  <a:lnTo>
                    <a:pt x="3542" y="4003"/>
                  </a:lnTo>
                  <a:lnTo>
                    <a:pt x="3453" y="4066"/>
                  </a:lnTo>
                  <a:lnTo>
                    <a:pt x="3447" y="4044"/>
                  </a:lnTo>
                  <a:lnTo>
                    <a:pt x="3443" y="4022"/>
                  </a:lnTo>
                  <a:lnTo>
                    <a:pt x="3438" y="3992"/>
                  </a:lnTo>
                  <a:lnTo>
                    <a:pt x="3432" y="3963"/>
                  </a:lnTo>
                  <a:lnTo>
                    <a:pt x="3423" y="3934"/>
                  </a:lnTo>
                  <a:lnTo>
                    <a:pt x="3409" y="3902"/>
                  </a:lnTo>
                  <a:lnTo>
                    <a:pt x="3390" y="3877"/>
                  </a:lnTo>
                  <a:lnTo>
                    <a:pt x="3376" y="3847"/>
                  </a:lnTo>
                  <a:lnTo>
                    <a:pt x="3361" y="3814"/>
                  </a:lnTo>
                  <a:lnTo>
                    <a:pt x="3348" y="3781"/>
                  </a:lnTo>
                  <a:lnTo>
                    <a:pt x="3341" y="3748"/>
                  </a:lnTo>
                  <a:lnTo>
                    <a:pt x="3335" y="3715"/>
                  </a:lnTo>
                  <a:lnTo>
                    <a:pt x="3337" y="3684"/>
                  </a:lnTo>
                  <a:lnTo>
                    <a:pt x="3343" y="3657"/>
                  </a:lnTo>
                  <a:lnTo>
                    <a:pt x="3357" y="3631"/>
                  </a:lnTo>
                  <a:lnTo>
                    <a:pt x="3378" y="3604"/>
                  </a:lnTo>
                  <a:lnTo>
                    <a:pt x="3392" y="3578"/>
                  </a:lnTo>
                  <a:lnTo>
                    <a:pt x="3403" y="3554"/>
                  </a:lnTo>
                  <a:lnTo>
                    <a:pt x="3409" y="3536"/>
                  </a:lnTo>
                  <a:lnTo>
                    <a:pt x="3409" y="3517"/>
                  </a:lnTo>
                  <a:lnTo>
                    <a:pt x="3401" y="3504"/>
                  </a:lnTo>
                  <a:lnTo>
                    <a:pt x="3385" y="3495"/>
                  </a:lnTo>
                  <a:lnTo>
                    <a:pt x="3374" y="3488"/>
                  </a:lnTo>
                  <a:lnTo>
                    <a:pt x="3368" y="3477"/>
                  </a:lnTo>
                  <a:lnTo>
                    <a:pt x="3368" y="3462"/>
                  </a:lnTo>
                  <a:lnTo>
                    <a:pt x="3370" y="3446"/>
                  </a:lnTo>
                  <a:lnTo>
                    <a:pt x="3372" y="3427"/>
                  </a:lnTo>
                  <a:lnTo>
                    <a:pt x="3374" y="3409"/>
                  </a:lnTo>
                  <a:lnTo>
                    <a:pt x="3370" y="3391"/>
                  </a:lnTo>
                  <a:lnTo>
                    <a:pt x="3361" y="3374"/>
                  </a:lnTo>
                  <a:lnTo>
                    <a:pt x="3346" y="3360"/>
                  </a:lnTo>
                  <a:lnTo>
                    <a:pt x="3321" y="3339"/>
                  </a:lnTo>
                  <a:lnTo>
                    <a:pt x="3299" y="3312"/>
                  </a:lnTo>
                  <a:lnTo>
                    <a:pt x="3280" y="3281"/>
                  </a:lnTo>
                  <a:lnTo>
                    <a:pt x="3268" y="3248"/>
                  </a:lnTo>
                  <a:lnTo>
                    <a:pt x="3262" y="3217"/>
                  </a:lnTo>
                  <a:lnTo>
                    <a:pt x="3260" y="3187"/>
                  </a:lnTo>
                  <a:lnTo>
                    <a:pt x="3266" y="3162"/>
                  </a:lnTo>
                  <a:lnTo>
                    <a:pt x="3273" y="3143"/>
                  </a:lnTo>
                  <a:lnTo>
                    <a:pt x="3279" y="3123"/>
                  </a:lnTo>
                  <a:lnTo>
                    <a:pt x="3280" y="3103"/>
                  </a:lnTo>
                  <a:lnTo>
                    <a:pt x="3280" y="3084"/>
                  </a:lnTo>
                  <a:lnTo>
                    <a:pt x="3279" y="3066"/>
                  </a:lnTo>
                  <a:lnTo>
                    <a:pt x="3271" y="3050"/>
                  </a:lnTo>
                  <a:lnTo>
                    <a:pt x="3258" y="3037"/>
                  </a:lnTo>
                  <a:lnTo>
                    <a:pt x="3242" y="3028"/>
                  </a:lnTo>
                  <a:lnTo>
                    <a:pt x="3222" y="3026"/>
                  </a:lnTo>
                  <a:lnTo>
                    <a:pt x="3185" y="3022"/>
                  </a:lnTo>
                  <a:lnTo>
                    <a:pt x="3147" y="3015"/>
                  </a:lnTo>
                  <a:lnTo>
                    <a:pt x="3105" y="3004"/>
                  </a:lnTo>
                  <a:lnTo>
                    <a:pt x="3063" y="2995"/>
                  </a:lnTo>
                  <a:lnTo>
                    <a:pt x="3020" y="2987"/>
                  </a:lnTo>
                  <a:lnTo>
                    <a:pt x="2984" y="2987"/>
                  </a:lnTo>
                  <a:lnTo>
                    <a:pt x="2969" y="2989"/>
                  </a:lnTo>
                  <a:lnTo>
                    <a:pt x="2956" y="2991"/>
                  </a:lnTo>
                  <a:lnTo>
                    <a:pt x="2901" y="3007"/>
                  </a:lnTo>
                  <a:lnTo>
                    <a:pt x="2854" y="3022"/>
                  </a:lnTo>
                  <a:lnTo>
                    <a:pt x="2813" y="3035"/>
                  </a:lnTo>
                  <a:lnTo>
                    <a:pt x="2775" y="3048"/>
                  </a:lnTo>
                  <a:lnTo>
                    <a:pt x="2758" y="3050"/>
                  </a:lnTo>
                  <a:lnTo>
                    <a:pt x="2740" y="3046"/>
                  </a:lnTo>
                  <a:lnTo>
                    <a:pt x="2722" y="3037"/>
                  </a:lnTo>
                  <a:lnTo>
                    <a:pt x="2702" y="3024"/>
                  </a:lnTo>
                  <a:lnTo>
                    <a:pt x="2667" y="2995"/>
                  </a:lnTo>
                  <a:lnTo>
                    <a:pt x="2630" y="2962"/>
                  </a:lnTo>
                  <a:lnTo>
                    <a:pt x="2594" y="2925"/>
                  </a:lnTo>
                  <a:lnTo>
                    <a:pt x="2559" y="2890"/>
                  </a:lnTo>
                  <a:lnTo>
                    <a:pt x="2524" y="2855"/>
                  </a:lnTo>
                  <a:lnTo>
                    <a:pt x="2484" y="2815"/>
                  </a:lnTo>
                  <a:lnTo>
                    <a:pt x="2445" y="2776"/>
                  </a:lnTo>
                  <a:lnTo>
                    <a:pt x="2427" y="2753"/>
                  </a:lnTo>
                  <a:lnTo>
                    <a:pt x="2410" y="2731"/>
                  </a:lnTo>
                  <a:lnTo>
                    <a:pt x="2399" y="2709"/>
                  </a:lnTo>
                  <a:lnTo>
                    <a:pt x="2394" y="2687"/>
                  </a:lnTo>
                  <a:lnTo>
                    <a:pt x="2396" y="2668"/>
                  </a:lnTo>
                  <a:lnTo>
                    <a:pt x="2407" y="2652"/>
                  </a:lnTo>
                  <a:lnTo>
                    <a:pt x="2410" y="2648"/>
                  </a:lnTo>
                  <a:lnTo>
                    <a:pt x="2427" y="2632"/>
                  </a:lnTo>
                  <a:lnTo>
                    <a:pt x="2434" y="2617"/>
                  </a:lnTo>
                  <a:lnTo>
                    <a:pt x="2438" y="2606"/>
                  </a:lnTo>
                  <a:lnTo>
                    <a:pt x="2436" y="2595"/>
                  </a:lnTo>
                  <a:lnTo>
                    <a:pt x="2429" y="2586"/>
                  </a:lnTo>
                  <a:lnTo>
                    <a:pt x="2421" y="2575"/>
                  </a:lnTo>
                  <a:lnTo>
                    <a:pt x="2410" y="2564"/>
                  </a:lnTo>
                  <a:lnTo>
                    <a:pt x="2401" y="2551"/>
                  </a:lnTo>
                  <a:lnTo>
                    <a:pt x="2394" y="2532"/>
                  </a:lnTo>
                  <a:lnTo>
                    <a:pt x="2392" y="2512"/>
                  </a:lnTo>
                  <a:lnTo>
                    <a:pt x="2394" y="2488"/>
                  </a:lnTo>
                  <a:lnTo>
                    <a:pt x="2401" y="2465"/>
                  </a:lnTo>
                  <a:lnTo>
                    <a:pt x="2410" y="2443"/>
                  </a:lnTo>
                  <a:lnTo>
                    <a:pt x="2425" y="2415"/>
                  </a:lnTo>
                  <a:lnTo>
                    <a:pt x="2442" y="2391"/>
                  </a:lnTo>
                  <a:lnTo>
                    <a:pt x="2445" y="2382"/>
                  </a:lnTo>
                  <a:lnTo>
                    <a:pt x="2456" y="2362"/>
                  </a:lnTo>
                  <a:lnTo>
                    <a:pt x="2464" y="2336"/>
                  </a:lnTo>
                  <a:lnTo>
                    <a:pt x="2475" y="2309"/>
                  </a:lnTo>
                  <a:lnTo>
                    <a:pt x="2484" y="2281"/>
                  </a:lnTo>
                  <a:lnTo>
                    <a:pt x="2495" y="2254"/>
                  </a:lnTo>
                  <a:lnTo>
                    <a:pt x="2509" y="2234"/>
                  </a:lnTo>
                  <a:lnTo>
                    <a:pt x="2524" y="2217"/>
                  </a:lnTo>
                  <a:lnTo>
                    <a:pt x="2542" y="2210"/>
                  </a:lnTo>
                  <a:lnTo>
                    <a:pt x="2570" y="2202"/>
                  </a:lnTo>
                  <a:lnTo>
                    <a:pt x="2592" y="2188"/>
                  </a:lnTo>
                  <a:lnTo>
                    <a:pt x="2612" y="2168"/>
                  </a:lnTo>
                  <a:lnTo>
                    <a:pt x="2627" y="2144"/>
                  </a:lnTo>
                  <a:lnTo>
                    <a:pt x="2636" y="2118"/>
                  </a:lnTo>
                  <a:lnTo>
                    <a:pt x="2639" y="2091"/>
                  </a:lnTo>
                  <a:lnTo>
                    <a:pt x="2643" y="2063"/>
                  </a:lnTo>
                  <a:lnTo>
                    <a:pt x="2656" y="2035"/>
                  </a:lnTo>
                  <a:lnTo>
                    <a:pt x="2676" y="2013"/>
                  </a:lnTo>
                  <a:lnTo>
                    <a:pt x="2702" y="1995"/>
                  </a:lnTo>
                  <a:lnTo>
                    <a:pt x="2735" y="1984"/>
                  </a:lnTo>
                  <a:lnTo>
                    <a:pt x="2758" y="1977"/>
                  </a:lnTo>
                  <a:lnTo>
                    <a:pt x="2780" y="1966"/>
                  </a:lnTo>
                  <a:lnTo>
                    <a:pt x="2801" y="1955"/>
                  </a:lnTo>
                  <a:lnTo>
                    <a:pt x="2824" y="1946"/>
                  </a:lnTo>
                  <a:lnTo>
                    <a:pt x="2854" y="1936"/>
                  </a:lnTo>
                  <a:lnTo>
                    <a:pt x="2878" y="1935"/>
                  </a:lnTo>
                  <a:lnTo>
                    <a:pt x="2905" y="1933"/>
                  </a:lnTo>
                  <a:lnTo>
                    <a:pt x="2934" y="1931"/>
                  </a:lnTo>
                  <a:lnTo>
                    <a:pt x="2960" y="1927"/>
                  </a:lnTo>
                  <a:lnTo>
                    <a:pt x="2984" y="1920"/>
                  </a:lnTo>
                  <a:lnTo>
                    <a:pt x="3020" y="1907"/>
                  </a:lnTo>
                  <a:lnTo>
                    <a:pt x="3046" y="1898"/>
                  </a:lnTo>
                  <a:lnTo>
                    <a:pt x="3073" y="1891"/>
                  </a:lnTo>
                  <a:lnTo>
                    <a:pt x="3105" y="1883"/>
                  </a:lnTo>
                  <a:lnTo>
                    <a:pt x="3141" y="1881"/>
                  </a:lnTo>
                  <a:lnTo>
                    <a:pt x="3172" y="1881"/>
                  </a:lnTo>
                  <a:lnTo>
                    <a:pt x="3202" y="1878"/>
                  </a:lnTo>
                  <a:lnTo>
                    <a:pt x="3229" y="1876"/>
                  </a:lnTo>
                  <a:lnTo>
                    <a:pt x="3253" y="1874"/>
                  </a:lnTo>
                  <a:lnTo>
                    <a:pt x="3275" y="1872"/>
                  </a:lnTo>
                  <a:lnTo>
                    <a:pt x="3291" y="1874"/>
                  </a:lnTo>
                  <a:lnTo>
                    <a:pt x="3304" y="1880"/>
                  </a:lnTo>
                  <a:lnTo>
                    <a:pt x="3313" y="1891"/>
                  </a:lnTo>
                  <a:lnTo>
                    <a:pt x="3319" y="1905"/>
                  </a:lnTo>
                  <a:lnTo>
                    <a:pt x="3317" y="1927"/>
                  </a:lnTo>
                  <a:lnTo>
                    <a:pt x="3317" y="1953"/>
                  </a:lnTo>
                  <a:lnTo>
                    <a:pt x="3324" y="1973"/>
                  </a:lnTo>
                  <a:lnTo>
                    <a:pt x="3337" y="1991"/>
                  </a:lnTo>
                  <a:lnTo>
                    <a:pt x="3354" y="2006"/>
                  </a:lnTo>
                  <a:lnTo>
                    <a:pt x="3376" y="2017"/>
                  </a:lnTo>
                  <a:lnTo>
                    <a:pt x="3398" y="2028"/>
                  </a:lnTo>
                  <a:lnTo>
                    <a:pt x="3420" y="2039"/>
                  </a:lnTo>
                  <a:lnTo>
                    <a:pt x="3443" y="2048"/>
                  </a:lnTo>
                  <a:lnTo>
                    <a:pt x="3456" y="2056"/>
                  </a:lnTo>
                  <a:lnTo>
                    <a:pt x="3469" y="2063"/>
                  </a:lnTo>
                  <a:lnTo>
                    <a:pt x="3493" y="2076"/>
                  </a:lnTo>
                  <a:lnTo>
                    <a:pt x="3515" y="2089"/>
                  </a:lnTo>
                  <a:lnTo>
                    <a:pt x="3539" y="2100"/>
                  </a:lnTo>
                  <a:lnTo>
                    <a:pt x="3563" y="2109"/>
                  </a:lnTo>
                  <a:lnTo>
                    <a:pt x="3583" y="2114"/>
                  </a:lnTo>
                  <a:lnTo>
                    <a:pt x="3603" y="2113"/>
                  </a:lnTo>
                  <a:lnTo>
                    <a:pt x="3617" y="2107"/>
                  </a:lnTo>
                  <a:lnTo>
                    <a:pt x="3628" y="2091"/>
                  </a:lnTo>
                  <a:lnTo>
                    <a:pt x="3641" y="2074"/>
                  </a:lnTo>
                  <a:lnTo>
                    <a:pt x="3660" y="2063"/>
                  </a:lnTo>
                  <a:lnTo>
                    <a:pt x="3680" y="2057"/>
                  </a:lnTo>
                  <a:lnTo>
                    <a:pt x="3705" y="2057"/>
                  </a:lnTo>
                  <a:lnTo>
                    <a:pt x="3733" y="2059"/>
                  </a:lnTo>
                  <a:lnTo>
                    <a:pt x="3760" y="2063"/>
                  </a:lnTo>
                  <a:lnTo>
                    <a:pt x="3786" y="2068"/>
                  </a:lnTo>
                  <a:lnTo>
                    <a:pt x="3821" y="2076"/>
                  </a:lnTo>
                  <a:lnTo>
                    <a:pt x="3861" y="2083"/>
                  </a:lnTo>
                  <a:lnTo>
                    <a:pt x="3901" y="2089"/>
                  </a:lnTo>
                  <a:lnTo>
                    <a:pt x="3943" y="2094"/>
                  </a:lnTo>
                  <a:lnTo>
                    <a:pt x="3980" y="2098"/>
                  </a:lnTo>
                  <a:lnTo>
                    <a:pt x="4013" y="2098"/>
                  </a:lnTo>
                  <a:lnTo>
                    <a:pt x="4046" y="2089"/>
                  </a:lnTo>
                  <a:lnTo>
                    <a:pt x="4077" y="2072"/>
                  </a:lnTo>
                  <a:lnTo>
                    <a:pt x="4103" y="2048"/>
                  </a:lnTo>
                  <a:lnTo>
                    <a:pt x="4123" y="2019"/>
                  </a:lnTo>
                  <a:lnTo>
                    <a:pt x="4132" y="1990"/>
                  </a:lnTo>
                  <a:lnTo>
                    <a:pt x="4130" y="1971"/>
                  </a:lnTo>
                  <a:lnTo>
                    <a:pt x="4121" y="1958"/>
                  </a:lnTo>
                  <a:lnTo>
                    <a:pt x="4106" y="1947"/>
                  </a:lnTo>
                  <a:lnTo>
                    <a:pt x="4084" y="1938"/>
                  </a:lnTo>
                  <a:lnTo>
                    <a:pt x="4059" y="1933"/>
                  </a:lnTo>
                  <a:lnTo>
                    <a:pt x="4030" y="1929"/>
                  </a:lnTo>
                  <a:lnTo>
                    <a:pt x="3997" y="1927"/>
                  </a:lnTo>
                  <a:lnTo>
                    <a:pt x="3962" y="1927"/>
                  </a:lnTo>
                  <a:lnTo>
                    <a:pt x="3923" y="1925"/>
                  </a:lnTo>
                  <a:lnTo>
                    <a:pt x="3894" y="1922"/>
                  </a:lnTo>
                  <a:lnTo>
                    <a:pt x="3870" y="1916"/>
                  </a:lnTo>
                  <a:lnTo>
                    <a:pt x="3852" y="1907"/>
                  </a:lnTo>
                  <a:lnTo>
                    <a:pt x="3843" y="1892"/>
                  </a:lnTo>
                  <a:lnTo>
                    <a:pt x="3839" y="1876"/>
                  </a:lnTo>
                  <a:lnTo>
                    <a:pt x="3843" y="1854"/>
                  </a:lnTo>
                  <a:lnTo>
                    <a:pt x="3856" y="1821"/>
                  </a:lnTo>
                  <a:lnTo>
                    <a:pt x="3870" y="1790"/>
                  </a:lnTo>
                  <a:lnTo>
                    <a:pt x="3889" y="1762"/>
                  </a:lnTo>
                  <a:lnTo>
                    <a:pt x="3911" y="1740"/>
                  </a:lnTo>
                  <a:lnTo>
                    <a:pt x="3940" y="1724"/>
                  </a:lnTo>
                  <a:lnTo>
                    <a:pt x="3989" y="1704"/>
                  </a:lnTo>
                  <a:lnTo>
                    <a:pt x="4037" y="1693"/>
                  </a:lnTo>
                  <a:lnTo>
                    <a:pt x="4086" y="1689"/>
                  </a:lnTo>
                  <a:lnTo>
                    <a:pt x="4119" y="1693"/>
                  </a:lnTo>
                  <a:lnTo>
                    <a:pt x="4154" y="1704"/>
                  </a:lnTo>
                  <a:lnTo>
                    <a:pt x="4191" y="1715"/>
                  </a:lnTo>
                  <a:lnTo>
                    <a:pt x="4229" y="1722"/>
                  </a:lnTo>
                  <a:lnTo>
                    <a:pt x="4268" y="1724"/>
                  </a:lnTo>
                  <a:lnTo>
                    <a:pt x="4286" y="1718"/>
                  </a:lnTo>
                  <a:lnTo>
                    <a:pt x="4299" y="1711"/>
                  </a:lnTo>
                  <a:lnTo>
                    <a:pt x="4304" y="1700"/>
                  </a:lnTo>
                  <a:lnTo>
                    <a:pt x="4302" y="1685"/>
                  </a:lnTo>
                  <a:lnTo>
                    <a:pt x="4295" y="1671"/>
                  </a:lnTo>
                  <a:lnTo>
                    <a:pt x="4282" y="1656"/>
                  </a:lnTo>
                  <a:lnTo>
                    <a:pt x="4266" y="1641"/>
                  </a:lnTo>
                  <a:lnTo>
                    <a:pt x="4244" y="1627"/>
                  </a:lnTo>
                  <a:lnTo>
                    <a:pt x="4218" y="1608"/>
                  </a:lnTo>
                  <a:lnTo>
                    <a:pt x="4200" y="1588"/>
                  </a:lnTo>
                  <a:lnTo>
                    <a:pt x="4189" y="1568"/>
                  </a:lnTo>
                  <a:lnTo>
                    <a:pt x="4185" y="1548"/>
                  </a:lnTo>
                  <a:lnTo>
                    <a:pt x="4189" y="1529"/>
                  </a:lnTo>
                  <a:lnTo>
                    <a:pt x="4200" y="1515"/>
                  </a:lnTo>
                  <a:lnTo>
                    <a:pt x="4209" y="1502"/>
                  </a:lnTo>
                  <a:lnTo>
                    <a:pt x="4213" y="1491"/>
                  </a:lnTo>
                  <a:lnTo>
                    <a:pt x="4211" y="1482"/>
                  </a:lnTo>
                  <a:lnTo>
                    <a:pt x="4205" y="1476"/>
                  </a:lnTo>
                  <a:lnTo>
                    <a:pt x="4194" y="1474"/>
                  </a:lnTo>
                  <a:lnTo>
                    <a:pt x="4180" y="1476"/>
                  </a:lnTo>
                  <a:lnTo>
                    <a:pt x="4160" y="1485"/>
                  </a:lnTo>
                  <a:lnTo>
                    <a:pt x="4141" y="1496"/>
                  </a:lnTo>
                  <a:lnTo>
                    <a:pt x="4123" y="1509"/>
                  </a:lnTo>
                  <a:lnTo>
                    <a:pt x="4105" y="1522"/>
                  </a:lnTo>
                  <a:lnTo>
                    <a:pt x="4086" y="1535"/>
                  </a:lnTo>
                  <a:lnTo>
                    <a:pt x="4068" y="1546"/>
                  </a:lnTo>
                  <a:lnTo>
                    <a:pt x="4052" y="1553"/>
                  </a:lnTo>
                  <a:lnTo>
                    <a:pt x="4037" y="1557"/>
                  </a:lnTo>
                  <a:lnTo>
                    <a:pt x="4026" y="1553"/>
                  </a:lnTo>
                  <a:lnTo>
                    <a:pt x="4019" y="1542"/>
                  </a:lnTo>
                  <a:lnTo>
                    <a:pt x="4009" y="1529"/>
                  </a:lnTo>
                  <a:lnTo>
                    <a:pt x="3993" y="1524"/>
                  </a:lnTo>
                  <a:lnTo>
                    <a:pt x="3975" y="1524"/>
                  </a:lnTo>
                  <a:lnTo>
                    <a:pt x="3953" y="1527"/>
                  </a:lnTo>
                  <a:lnTo>
                    <a:pt x="3931" y="1535"/>
                  </a:lnTo>
                  <a:lnTo>
                    <a:pt x="3911" y="1548"/>
                  </a:lnTo>
                  <a:lnTo>
                    <a:pt x="3892" y="1564"/>
                  </a:lnTo>
                  <a:lnTo>
                    <a:pt x="3881" y="1583"/>
                  </a:lnTo>
                  <a:lnTo>
                    <a:pt x="3878" y="1605"/>
                  </a:lnTo>
                  <a:lnTo>
                    <a:pt x="3878" y="1634"/>
                  </a:lnTo>
                  <a:lnTo>
                    <a:pt x="3881" y="1658"/>
                  </a:lnTo>
                  <a:lnTo>
                    <a:pt x="3883" y="1676"/>
                  </a:lnTo>
                  <a:lnTo>
                    <a:pt x="3883" y="1693"/>
                  </a:lnTo>
                  <a:lnTo>
                    <a:pt x="3879" y="1709"/>
                  </a:lnTo>
                  <a:lnTo>
                    <a:pt x="3872" y="1729"/>
                  </a:lnTo>
                  <a:lnTo>
                    <a:pt x="3856" y="1755"/>
                  </a:lnTo>
                  <a:lnTo>
                    <a:pt x="3834" y="1777"/>
                  </a:lnTo>
                  <a:lnTo>
                    <a:pt x="3808" y="1792"/>
                  </a:lnTo>
                  <a:lnTo>
                    <a:pt x="3780" y="1801"/>
                  </a:lnTo>
                  <a:lnTo>
                    <a:pt x="3753" y="1803"/>
                  </a:lnTo>
                  <a:lnTo>
                    <a:pt x="3740" y="1804"/>
                  </a:lnTo>
                  <a:lnTo>
                    <a:pt x="3735" y="1810"/>
                  </a:lnTo>
                  <a:lnTo>
                    <a:pt x="3733" y="1821"/>
                  </a:lnTo>
                  <a:lnTo>
                    <a:pt x="3733" y="1836"/>
                  </a:lnTo>
                  <a:lnTo>
                    <a:pt x="3733" y="1850"/>
                  </a:lnTo>
                  <a:lnTo>
                    <a:pt x="3733" y="1867"/>
                  </a:lnTo>
                  <a:lnTo>
                    <a:pt x="3731" y="1881"/>
                  </a:lnTo>
                  <a:lnTo>
                    <a:pt x="3726" y="1894"/>
                  </a:lnTo>
                  <a:lnTo>
                    <a:pt x="3713" y="1905"/>
                  </a:lnTo>
                  <a:lnTo>
                    <a:pt x="3694" y="1909"/>
                  </a:lnTo>
                  <a:lnTo>
                    <a:pt x="3680" y="1907"/>
                  </a:lnTo>
                  <a:lnTo>
                    <a:pt x="3665" y="1896"/>
                  </a:lnTo>
                  <a:lnTo>
                    <a:pt x="3652" y="1880"/>
                  </a:lnTo>
                  <a:lnTo>
                    <a:pt x="3641" y="1861"/>
                  </a:lnTo>
                  <a:lnTo>
                    <a:pt x="3628" y="1837"/>
                  </a:lnTo>
                  <a:lnTo>
                    <a:pt x="3617" y="1814"/>
                  </a:lnTo>
                  <a:lnTo>
                    <a:pt x="3597" y="1775"/>
                  </a:lnTo>
                  <a:lnTo>
                    <a:pt x="3577" y="1744"/>
                  </a:lnTo>
                  <a:lnTo>
                    <a:pt x="3559" y="1715"/>
                  </a:lnTo>
                  <a:lnTo>
                    <a:pt x="3539" y="1689"/>
                  </a:lnTo>
                  <a:lnTo>
                    <a:pt x="3522" y="1671"/>
                  </a:lnTo>
                  <a:lnTo>
                    <a:pt x="3508" y="1654"/>
                  </a:lnTo>
                  <a:lnTo>
                    <a:pt x="3491" y="1639"/>
                  </a:lnTo>
                  <a:lnTo>
                    <a:pt x="3475" y="1623"/>
                  </a:lnTo>
                  <a:lnTo>
                    <a:pt x="3453" y="1605"/>
                  </a:lnTo>
                  <a:lnTo>
                    <a:pt x="3443" y="1597"/>
                  </a:lnTo>
                  <a:lnTo>
                    <a:pt x="3427" y="1590"/>
                  </a:lnTo>
                  <a:lnTo>
                    <a:pt x="3412" y="1588"/>
                  </a:lnTo>
                  <a:lnTo>
                    <a:pt x="3405" y="1594"/>
                  </a:lnTo>
                  <a:lnTo>
                    <a:pt x="3401" y="1603"/>
                  </a:lnTo>
                  <a:lnTo>
                    <a:pt x="3405" y="1616"/>
                  </a:lnTo>
                  <a:lnTo>
                    <a:pt x="3420" y="1632"/>
                  </a:lnTo>
                  <a:lnTo>
                    <a:pt x="3427" y="1641"/>
                  </a:lnTo>
                  <a:lnTo>
                    <a:pt x="3436" y="1649"/>
                  </a:lnTo>
                  <a:lnTo>
                    <a:pt x="3443" y="1656"/>
                  </a:lnTo>
                  <a:lnTo>
                    <a:pt x="3458" y="1671"/>
                  </a:lnTo>
                  <a:lnTo>
                    <a:pt x="3475" y="1682"/>
                  </a:lnTo>
                  <a:lnTo>
                    <a:pt x="3493" y="1687"/>
                  </a:lnTo>
                  <a:lnTo>
                    <a:pt x="3515" y="1689"/>
                  </a:lnTo>
                  <a:lnTo>
                    <a:pt x="3530" y="1693"/>
                  </a:lnTo>
                  <a:lnTo>
                    <a:pt x="3537" y="1702"/>
                  </a:lnTo>
                  <a:lnTo>
                    <a:pt x="3542" y="1716"/>
                  </a:lnTo>
                  <a:lnTo>
                    <a:pt x="3542" y="1733"/>
                  </a:lnTo>
                  <a:lnTo>
                    <a:pt x="3541" y="1751"/>
                  </a:lnTo>
                  <a:lnTo>
                    <a:pt x="3535" y="1771"/>
                  </a:lnTo>
                  <a:lnTo>
                    <a:pt x="3531" y="1788"/>
                  </a:lnTo>
                  <a:lnTo>
                    <a:pt x="3526" y="1803"/>
                  </a:lnTo>
                  <a:lnTo>
                    <a:pt x="3522" y="1814"/>
                  </a:lnTo>
                  <a:lnTo>
                    <a:pt x="3517" y="1826"/>
                  </a:lnTo>
                  <a:lnTo>
                    <a:pt x="3508" y="1841"/>
                  </a:lnTo>
                  <a:lnTo>
                    <a:pt x="3500" y="1856"/>
                  </a:lnTo>
                  <a:lnTo>
                    <a:pt x="3491" y="1870"/>
                  </a:lnTo>
                  <a:lnTo>
                    <a:pt x="3480" y="1881"/>
                  </a:lnTo>
                  <a:lnTo>
                    <a:pt x="3473" y="1891"/>
                  </a:lnTo>
                  <a:lnTo>
                    <a:pt x="3465" y="1892"/>
                  </a:lnTo>
                  <a:lnTo>
                    <a:pt x="3458" y="1891"/>
                  </a:lnTo>
                  <a:lnTo>
                    <a:pt x="3454" y="1881"/>
                  </a:lnTo>
                  <a:lnTo>
                    <a:pt x="3453" y="1865"/>
                  </a:lnTo>
                  <a:lnTo>
                    <a:pt x="3453" y="1828"/>
                  </a:lnTo>
                  <a:lnTo>
                    <a:pt x="3449" y="1793"/>
                  </a:lnTo>
                  <a:lnTo>
                    <a:pt x="3443" y="1764"/>
                  </a:lnTo>
                  <a:lnTo>
                    <a:pt x="3434" y="1746"/>
                  </a:lnTo>
                  <a:lnTo>
                    <a:pt x="3421" y="1729"/>
                  </a:lnTo>
                  <a:lnTo>
                    <a:pt x="3407" y="1716"/>
                  </a:lnTo>
                  <a:lnTo>
                    <a:pt x="3385" y="1707"/>
                  </a:lnTo>
                  <a:lnTo>
                    <a:pt x="3365" y="1696"/>
                  </a:lnTo>
                  <a:lnTo>
                    <a:pt x="3346" y="1683"/>
                  </a:lnTo>
                  <a:lnTo>
                    <a:pt x="3330" y="1669"/>
                  </a:lnTo>
                  <a:lnTo>
                    <a:pt x="3313" y="1656"/>
                  </a:lnTo>
                  <a:lnTo>
                    <a:pt x="3297" y="1643"/>
                  </a:lnTo>
                  <a:lnTo>
                    <a:pt x="3277" y="1632"/>
                  </a:lnTo>
                  <a:lnTo>
                    <a:pt x="3251" y="1625"/>
                  </a:lnTo>
                  <a:lnTo>
                    <a:pt x="3222" y="1621"/>
                  </a:lnTo>
                  <a:lnTo>
                    <a:pt x="3194" y="1621"/>
                  </a:lnTo>
                  <a:lnTo>
                    <a:pt x="3165" y="1619"/>
                  </a:lnTo>
                  <a:lnTo>
                    <a:pt x="3139" y="1617"/>
                  </a:lnTo>
                  <a:lnTo>
                    <a:pt x="3114" y="1617"/>
                  </a:lnTo>
                  <a:lnTo>
                    <a:pt x="3090" y="1617"/>
                  </a:lnTo>
                  <a:lnTo>
                    <a:pt x="3070" y="1621"/>
                  </a:lnTo>
                  <a:lnTo>
                    <a:pt x="3055" y="1625"/>
                  </a:lnTo>
                  <a:lnTo>
                    <a:pt x="3044" y="1634"/>
                  </a:lnTo>
                  <a:lnTo>
                    <a:pt x="3039" y="1645"/>
                  </a:lnTo>
                  <a:lnTo>
                    <a:pt x="3041" y="1661"/>
                  </a:lnTo>
                  <a:lnTo>
                    <a:pt x="3046" y="1689"/>
                  </a:lnTo>
                  <a:lnTo>
                    <a:pt x="3048" y="1715"/>
                  </a:lnTo>
                  <a:lnTo>
                    <a:pt x="3046" y="1738"/>
                  </a:lnTo>
                  <a:lnTo>
                    <a:pt x="3041" y="1757"/>
                  </a:lnTo>
                  <a:lnTo>
                    <a:pt x="3033" y="1771"/>
                  </a:lnTo>
                  <a:lnTo>
                    <a:pt x="3020" y="1779"/>
                  </a:lnTo>
                  <a:lnTo>
                    <a:pt x="3017" y="1779"/>
                  </a:lnTo>
                  <a:lnTo>
                    <a:pt x="3011" y="1781"/>
                  </a:lnTo>
                  <a:lnTo>
                    <a:pt x="2998" y="1781"/>
                  </a:lnTo>
                  <a:lnTo>
                    <a:pt x="2984" y="1782"/>
                  </a:lnTo>
                  <a:lnTo>
                    <a:pt x="2969" y="1784"/>
                  </a:lnTo>
                  <a:lnTo>
                    <a:pt x="2958" y="1790"/>
                  </a:lnTo>
                  <a:lnTo>
                    <a:pt x="2949" y="1799"/>
                  </a:lnTo>
                  <a:lnTo>
                    <a:pt x="2943" y="1810"/>
                  </a:lnTo>
                  <a:lnTo>
                    <a:pt x="2943" y="1825"/>
                  </a:lnTo>
                  <a:lnTo>
                    <a:pt x="2945" y="1841"/>
                  </a:lnTo>
                  <a:lnTo>
                    <a:pt x="2943" y="1852"/>
                  </a:lnTo>
                  <a:lnTo>
                    <a:pt x="2936" y="1859"/>
                  </a:lnTo>
                  <a:lnTo>
                    <a:pt x="2929" y="1867"/>
                  </a:lnTo>
                  <a:lnTo>
                    <a:pt x="2918" y="1872"/>
                  </a:lnTo>
                  <a:lnTo>
                    <a:pt x="2905" y="1881"/>
                  </a:lnTo>
                  <a:lnTo>
                    <a:pt x="2881" y="1898"/>
                  </a:lnTo>
                  <a:lnTo>
                    <a:pt x="2854" y="1911"/>
                  </a:lnTo>
                  <a:lnTo>
                    <a:pt x="2832" y="1916"/>
                  </a:lnTo>
                  <a:lnTo>
                    <a:pt x="2810" y="1914"/>
                  </a:lnTo>
                  <a:lnTo>
                    <a:pt x="2786" y="1905"/>
                  </a:lnTo>
                  <a:lnTo>
                    <a:pt x="2768" y="1896"/>
                  </a:lnTo>
                  <a:lnTo>
                    <a:pt x="2746" y="1894"/>
                  </a:lnTo>
                  <a:lnTo>
                    <a:pt x="2724" y="1894"/>
                  </a:lnTo>
                  <a:lnTo>
                    <a:pt x="2702" y="1896"/>
                  </a:lnTo>
                  <a:lnTo>
                    <a:pt x="2685" y="1894"/>
                  </a:lnTo>
                  <a:lnTo>
                    <a:pt x="2671" y="1892"/>
                  </a:lnTo>
                  <a:lnTo>
                    <a:pt x="2660" y="1889"/>
                  </a:lnTo>
                  <a:lnTo>
                    <a:pt x="2652" y="1880"/>
                  </a:lnTo>
                  <a:lnTo>
                    <a:pt x="2650" y="1865"/>
                  </a:lnTo>
                  <a:lnTo>
                    <a:pt x="2649" y="1843"/>
                  </a:lnTo>
                  <a:lnTo>
                    <a:pt x="2643" y="1823"/>
                  </a:lnTo>
                  <a:lnTo>
                    <a:pt x="2638" y="1806"/>
                  </a:lnTo>
                  <a:lnTo>
                    <a:pt x="2632" y="1790"/>
                  </a:lnTo>
                  <a:lnTo>
                    <a:pt x="2628" y="1773"/>
                  </a:lnTo>
                  <a:lnTo>
                    <a:pt x="2630" y="1755"/>
                  </a:lnTo>
                  <a:lnTo>
                    <a:pt x="2639" y="1735"/>
                  </a:lnTo>
                  <a:lnTo>
                    <a:pt x="2647" y="1716"/>
                  </a:lnTo>
                  <a:lnTo>
                    <a:pt x="2652" y="1698"/>
                  </a:lnTo>
                  <a:lnTo>
                    <a:pt x="2654" y="1680"/>
                  </a:lnTo>
                  <a:lnTo>
                    <a:pt x="2656" y="1665"/>
                  </a:lnTo>
                  <a:lnTo>
                    <a:pt x="2660" y="1652"/>
                  </a:lnTo>
                  <a:lnTo>
                    <a:pt x="2667" y="1641"/>
                  </a:lnTo>
                  <a:lnTo>
                    <a:pt x="2678" y="1636"/>
                  </a:lnTo>
                  <a:lnTo>
                    <a:pt x="2694" y="1632"/>
                  </a:lnTo>
                  <a:lnTo>
                    <a:pt x="2702" y="1632"/>
                  </a:lnTo>
                  <a:lnTo>
                    <a:pt x="2727" y="1634"/>
                  </a:lnTo>
                  <a:lnTo>
                    <a:pt x="2749" y="1638"/>
                  </a:lnTo>
                  <a:lnTo>
                    <a:pt x="2771" y="1641"/>
                  </a:lnTo>
                  <a:lnTo>
                    <a:pt x="2795" y="1643"/>
                  </a:lnTo>
                  <a:lnTo>
                    <a:pt x="2826" y="1645"/>
                  </a:lnTo>
                  <a:lnTo>
                    <a:pt x="2841" y="1643"/>
                  </a:lnTo>
                  <a:lnTo>
                    <a:pt x="2854" y="1639"/>
                  </a:lnTo>
                  <a:lnTo>
                    <a:pt x="2876" y="1628"/>
                  </a:lnTo>
                  <a:lnTo>
                    <a:pt x="2894" y="1614"/>
                  </a:lnTo>
                  <a:lnTo>
                    <a:pt x="2905" y="1597"/>
                  </a:lnTo>
                  <a:lnTo>
                    <a:pt x="2909" y="1577"/>
                  </a:lnTo>
                  <a:lnTo>
                    <a:pt x="2903" y="1557"/>
                  </a:lnTo>
                  <a:lnTo>
                    <a:pt x="2887" y="1537"/>
                  </a:lnTo>
                  <a:lnTo>
                    <a:pt x="2868" y="1513"/>
                  </a:lnTo>
                  <a:lnTo>
                    <a:pt x="2857" y="1487"/>
                  </a:lnTo>
                  <a:lnTo>
                    <a:pt x="2856" y="1460"/>
                  </a:lnTo>
                  <a:lnTo>
                    <a:pt x="2859" y="1432"/>
                  </a:lnTo>
                  <a:lnTo>
                    <a:pt x="2868" y="1405"/>
                  </a:lnTo>
                  <a:lnTo>
                    <a:pt x="2881" y="1377"/>
                  </a:lnTo>
                  <a:lnTo>
                    <a:pt x="2894" y="1359"/>
                  </a:lnTo>
                  <a:lnTo>
                    <a:pt x="2907" y="1348"/>
                  </a:lnTo>
                  <a:lnTo>
                    <a:pt x="2921" y="1342"/>
                  </a:lnTo>
                  <a:lnTo>
                    <a:pt x="2938" y="1340"/>
                  </a:lnTo>
                  <a:lnTo>
                    <a:pt x="2958" y="1339"/>
                  </a:lnTo>
                  <a:lnTo>
                    <a:pt x="2984" y="1335"/>
                  </a:lnTo>
                  <a:lnTo>
                    <a:pt x="2995" y="1333"/>
                  </a:lnTo>
                  <a:lnTo>
                    <a:pt x="3020" y="1324"/>
                  </a:lnTo>
                  <a:lnTo>
                    <a:pt x="3064" y="1306"/>
                  </a:lnTo>
                  <a:lnTo>
                    <a:pt x="3105" y="1280"/>
                  </a:lnTo>
                  <a:lnTo>
                    <a:pt x="3141" y="1252"/>
                  </a:lnTo>
                  <a:lnTo>
                    <a:pt x="3171" y="1225"/>
                  </a:lnTo>
                  <a:lnTo>
                    <a:pt x="3183" y="1208"/>
                  </a:lnTo>
                  <a:lnTo>
                    <a:pt x="3193" y="1188"/>
                  </a:lnTo>
                  <a:lnTo>
                    <a:pt x="3200" y="1168"/>
                  </a:lnTo>
                  <a:lnTo>
                    <a:pt x="3205" y="1148"/>
                  </a:lnTo>
                  <a:lnTo>
                    <a:pt x="3211" y="1130"/>
                  </a:lnTo>
                  <a:lnTo>
                    <a:pt x="3218" y="1115"/>
                  </a:lnTo>
                  <a:lnTo>
                    <a:pt x="3229" y="1104"/>
                  </a:lnTo>
                  <a:lnTo>
                    <a:pt x="3244" y="1100"/>
                  </a:lnTo>
                  <a:lnTo>
                    <a:pt x="3258" y="1102"/>
                  </a:lnTo>
                  <a:lnTo>
                    <a:pt x="3266" y="1109"/>
                  </a:lnTo>
                  <a:lnTo>
                    <a:pt x="3273" y="1117"/>
                  </a:lnTo>
                  <a:lnTo>
                    <a:pt x="3279" y="1126"/>
                  </a:lnTo>
                  <a:lnTo>
                    <a:pt x="3286" y="1135"/>
                  </a:lnTo>
                  <a:lnTo>
                    <a:pt x="3295" y="1144"/>
                  </a:lnTo>
                  <a:lnTo>
                    <a:pt x="3312" y="1150"/>
                  </a:lnTo>
                  <a:lnTo>
                    <a:pt x="3334" y="1152"/>
                  </a:lnTo>
                  <a:lnTo>
                    <a:pt x="3363" y="1150"/>
                  </a:lnTo>
                  <a:lnTo>
                    <a:pt x="3387" y="1146"/>
                  </a:lnTo>
                  <a:lnTo>
                    <a:pt x="3405" y="1141"/>
                  </a:lnTo>
                  <a:lnTo>
                    <a:pt x="3423" y="1135"/>
                  </a:lnTo>
                  <a:lnTo>
                    <a:pt x="3443" y="1130"/>
                  </a:lnTo>
                  <a:lnTo>
                    <a:pt x="3464" y="1124"/>
                  </a:lnTo>
                  <a:lnTo>
                    <a:pt x="3487" y="1124"/>
                  </a:lnTo>
                  <a:lnTo>
                    <a:pt x="3513" y="1126"/>
                  </a:lnTo>
                  <a:lnTo>
                    <a:pt x="3537" y="1133"/>
                  </a:lnTo>
                  <a:lnTo>
                    <a:pt x="3559" y="1141"/>
                  </a:lnTo>
                  <a:lnTo>
                    <a:pt x="3581" y="1146"/>
                  </a:lnTo>
                  <a:lnTo>
                    <a:pt x="3601" y="1150"/>
                  </a:lnTo>
                  <a:lnTo>
                    <a:pt x="3619" y="1146"/>
                  </a:lnTo>
                  <a:lnTo>
                    <a:pt x="3639" y="1135"/>
                  </a:lnTo>
                  <a:lnTo>
                    <a:pt x="3650" y="1122"/>
                  </a:lnTo>
                  <a:lnTo>
                    <a:pt x="3654" y="1108"/>
                  </a:lnTo>
                  <a:lnTo>
                    <a:pt x="3654" y="1093"/>
                  </a:lnTo>
                  <a:lnTo>
                    <a:pt x="3652" y="1080"/>
                  </a:lnTo>
                  <a:lnTo>
                    <a:pt x="3649" y="1065"/>
                  </a:lnTo>
                  <a:lnTo>
                    <a:pt x="3645" y="1052"/>
                  </a:lnTo>
                  <a:lnTo>
                    <a:pt x="3645" y="1043"/>
                  </a:lnTo>
                  <a:lnTo>
                    <a:pt x="3649" y="1034"/>
                  </a:lnTo>
                  <a:lnTo>
                    <a:pt x="3658" y="1029"/>
                  </a:lnTo>
                  <a:lnTo>
                    <a:pt x="3674" y="1027"/>
                  </a:lnTo>
                  <a:lnTo>
                    <a:pt x="3696" y="1027"/>
                  </a:lnTo>
                  <a:lnTo>
                    <a:pt x="3716" y="1027"/>
                  </a:lnTo>
                  <a:lnTo>
                    <a:pt x="3735" y="1027"/>
                  </a:lnTo>
                  <a:lnTo>
                    <a:pt x="3749" y="1025"/>
                  </a:lnTo>
                  <a:lnTo>
                    <a:pt x="3760" y="1021"/>
                  </a:lnTo>
                  <a:lnTo>
                    <a:pt x="3766" y="1016"/>
                  </a:lnTo>
                  <a:lnTo>
                    <a:pt x="3766" y="1008"/>
                  </a:lnTo>
                  <a:lnTo>
                    <a:pt x="3760" y="996"/>
                  </a:lnTo>
                  <a:lnTo>
                    <a:pt x="3747" y="981"/>
                  </a:lnTo>
                  <a:lnTo>
                    <a:pt x="3735" y="968"/>
                  </a:lnTo>
                  <a:lnTo>
                    <a:pt x="3729" y="959"/>
                  </a:lnTo>
                  <a:lnTo>
                    <a:pt x="3729" y="953"/>
                  </a:lnTo>
                  <a:lnTo>
                    <a:pt x="3735" y="950"/>
                  </a:lnTo>
                  <a:lnTo>
                    <a:pt x="3744" y="948"/>
                  </a:lnTo>
                  <a:lnTo>
                    <a:pt x="3755" y="946"/>
                  </a:lnTo>
                  <a:lnTo>
                    <a:pt x="3769" y="944"/>
                  </a:lnTo>
                  <a:lnTo>
                    <a:pt x="3786" y="942"/>
                  </a:lnTo>
                  <a:lnTo>
                    <a:pt x="3804" y="937"/>
                  </a:lnTo>
                  <a:lnTo>
                    <a:pt x="3821" y="931"/>
                  </a:lnTo>
                  <a:lnTo>
                    <a:pt x="3841" y="917"/>
                  </a:lnTo>
                  <a:lnTo>
                    <a:pt x="3854" y="904"/>
                  </a:lnTo>
                  <a:lnTo>
                    <a:pt x="3859" y="891"/>
                  </a:lnTo>
                  <a:lnTo>
                    <a:pt x="3857" y="878"/>
                  </a:lnTo>
                  <a:lnTo>
                    <a:pt x="3846" y="871"/>
                  </a:lnTo>
                  <a:lnTo>
                    <a:pt x="3828" y="867"/>
                  </a:lnTo>
                  <a:lnTo>
                    <a:pt x="3804" y="869"/>
                  </a:lnTo>
                  <a:lnTo>
                    <a:pt x="3779" y="873"/>
                  </a:lnTo>
                  <a:lnTo>
                    <a:pt x="3755" y="880"/>
                  </a:lnTo>
                  <a:lnTo>
                    <a:pt x="3733" y="886"/>
                  </a:lnTo>
                  <a:lnTo>
                    <a:pt x="3713" y="889"/>
                  </a:lnTo>
                  <a:lnTo>
                    <a:pt x="3694" y="889"/>
                  </a:lnTo>
                  <a:lnTo>
                    <a:pt x="3678" y="884"/>
                  </a:lnTo>
                  <a:lnTo>
                    <a:pt x="3663" y="873"/>
                  </a:lnTo>
                  <a:lnTo>
                    <a:pt x="3650" y="851"/>
                  </a:lnTo>
                  <a:lnTo>
                    <a:pt x="3645" y="825"/>
                  </a:lnTo>
                  <a:lnTo>
                    <a:pt x="3649" y="799"/>
                  </a:lnTo>
                  <a:lnTo>
                    <a:pt x="3660" y="772"/>
                  </a:lnTo>
                  <a:lnTo>
                    <a:pt x="3674" y="746"/>
                  </a:lnTo>
                  <a:lnTo>
                    <a:pt x="3693" y="721"/>
                  </a:lnTo>
                  <a:lnTo>
                    <a:pt x="3715" y="697"/>
                  </a:lnTo>
                  <a:lnTo>
                    <a:pt x="3735" y="673"/>
                  </a:lnTo>
                  <a:lnTo>
                    <a:pt x="3753" y="653"/>
                  </a:lnTo>
                  <a:lnTo>
                    <a:pt x="3758" y="645"/>
                  </a:lnTo>
                  <a:lnTo>
                    <a:pt x="3762" y="638"/>
                  </a:lnTo>
                  <a:lnTo>
                    <a:pt x="3762" y="631"/>
                  </a:lnTo>
                  <a:lnTo>
                    <a:pt x="3762" y="623"/>
                  </a:lnTo>
                  <a:close/>
                  <a:moveTo>
                    <a:pt x="2273" y="568"/>
                  </a:moveTo>
                  <a:lnTo>
                    <a:pt x="2288" y="572"/>
                  </a:lnTo>
                  <a:lnTo>
                    <a:pt x="2313" y="583"/>
                  </a:lnTo>
                  <a:lnTo>
                    <a:pt x="2335" y="589"/>
                  </a:lnTo>
                  <a:lnTo>
                    <a:pt x="2354" y="592"/>
                  </a:lnTo>
                  <a:lnTo>
                    <a:pt x="2370" y="594"/>
                  </a:lnTo>
                  <a:lnTo>
                    <a:pt x="2389" y="596"/>
                  </a:lnTo>
                  <a:lnTo>
                    <a:pt x="2409" y="598"/>
                  </a:lnTo>
                  <a:lnTo>
                    <a:pt x="2410" y="596"/>
                  </a:lnTo>
                  <a:lnTo>
                    <a:pt x="2429" y="592"/>
                  </a:lnTo>
                  <a:lnTo>
                    <a:pt x="2445" y="592"/>
                  </a:lnTo>
                  <a:lnTo>
                    <a:pt x="2473" y="596"/>
                  </a:lnTo>
                  <a:lnTo>
                    <a:pt x="2493" y="607"/>
                  </a:lnTo>
                  <a:lnTo>
                    <a:pt x="2506" y="623"/>
                  </a:lnTo>
                  <a:lnTo>
                    <a:pt x="2509" y="644"/>
                  </a:lnTo>
                  <a:lnTo>
                    <a:pt x="2506" y="666"/>
                  </a:lnTo>
                  <a:lnTo>
                    <a:pt x="2493" y="688"/>
                  </a:lnTo>
                  <a:lnTo>
                    <a:pt x="2471" y="708"/>
                  </a:lnTo>
                  <a:lnTo>
                    <a:pt x="2445" y="728"/>
                  </a:lnTo>
                  <a:lnTo>
                    <a:pt x="2410" y="746"/>
                  </a:lnTo>
                  <a:lnTo>
                    <a:pt x="2383" y="754"/>
                  </a:lnTo>
                  <a:lnTo>
                    <a:pt x="2354" y="757"/>
                  </a:lnTo>
                  <a:lnTo>
                    <a:pt x="2324" y="755"/>
                  </a:lnTo>
                  <a:lnTo>
                    <a:pt x="2293" y="744"/>
                  </a:lnTo>
                  <a:lnTo>
                    <a:pt x="2262" y="726"/>
                  </a:lnTo>
                  <a:lnTo>
                    <a:pt x="2258" y="722"/>
                  </a:lnTo>
                  <a:lnTo>
                    <a:pt x="2235" y="697"/>
                  </a:lnTo>
                  <a:lnTo>
                    <a:pt x="2220" y="669"/>
                  </a:lnTo>
                  <a:lnTo>
                    <a:pt x="2216" y="642"/>
                  </a:lnTo>
                  <a:lnTo>
                    <a:pt x="2218" y="618"/>
                  </a:lnTo>
                  <a:lnTo>
                    <a:pt x="2227" y="596"/>
                  </a:lnTo>
                  <a:lnTo>
                    <a:pt x="2240" y="579"/>
                  </a:lnTo>
                  <a:lnTo>
                    <a:pt x="2258" y="570"/>
                  </a:lnTo>
                  <a:lnTo>
                    <a:pt x="2273" y="568"/>
                  </a:lnTo>
                  <a:close/>
                  <a:moveTo>
                    <a:pt x="846" y="475"/>
                  </a:moveTo>
                  <a:lnTo>
                    <a:pt x="852" y="482"/>
                  </a:lnTo>
                  <a:lnTo>
                    <a:pt x="859" y="488"/>
                  </a:lnTo>
                  <a:lnTo>
                    <a:pt x="868" y="493"/>
                  </a:lnTo>
                  <a:lnTo>
                    <a:pt x="874" y="495"/>
                  </a:lnTo>
                  <a:lnTo>
                    <a:pt x="899" y="508"/>
                  </a:lnTo>
                  <a:lnTo>
                    <a:pt x="921" y="526"/>
                  </a:lnTo>
                  <a:lnTo>
                    <a:pt x="938" y="548"/>
                  </a:lnTo>
                  <a:lnTo>
                    <a:pt x="947" y="565"/>
                  </a:lnTo>
                  <a:lnTo>
                    <a:pt x="953" y="583"/>
                  </a:lnTo>
                  <a:lnTo>
                    <a:pt x="953" y="598"/>
                  </a:lnTo>
                  <a:lnTo>
                    <a:pt x="947" y="609"/>
                  </a:lnTo>
                  <a:lnTo>
                    <a:pt x="938" y="614"/>
                  </a:lnTo>
                  <a:lnTo>
                    <a:pt x="931" y="616"/>
                  </a:lnTo>
                  <a:lnTo>
                    <a:pt x="921" y="616"/>
                  </a:lnTo>
                  <a:lnTo>
                    <a:pt x="912" y="612"/>
                  </a:lnTo>
                  <a:lnTo>
                    <a:pt x="888" y="609"/>
                  </a:lnTo>
                  <a:lnTo>
                    <a:pt x="868" y="605"/>
                  </a:lnTo>
                  <a:lnTo>
                    <a:pt x="848" y="607"/>
                  </a:lnTo>
                  <a:lnTo>
                    <a:pt x="834" y="612"/>
                  </a:lnTo>
                  <a:lnTo>
                    <a:pt x="824" y="620"/>
                  </a:lnTo>
                  <a:lnTo>
                    <a:pt x="821" y="631"/>
                  </a:lnTo>
                  <a:lnTo>
                    <a:pt x="824" y="645"/>
                  </a:lnTo>
                  <a:lnTo>
                    <a:pt x="834" y="662"/>
                  </a:lnTo>
                  <a:lnTo>
                    <a:pt x="854" y="682"/>
                  </a:lnTo>
                  <a:lnTo>
                    <a:pt x="861" y="691"/>
                  </a:lnTo>
                  <a:lnTo>
                    <a:pt x="868" y="699"/>
                  </a:lnTo>
                  <a:lnTo>
                    <a:pt x="881" y="722"/>
                  </a:lnTo>
                  <a:lnTo>
                    <a:pt x="887" y="746"/>
                  </a:lnTo>
                  <a:lnTo>
                    <a:pt x="887" y="766"/>
                  </a:lnTo>
                  <a:lnTo>
                    <a:pt x="879" y="785"/>
                  </a:lnTo>
                  <a:lnTo>
                    <a:pt x="868" y="799"/>
                  </a:lnTo>
                  <a:lnTo>
                    <a:pt x="854" y="807"/>
                  </a:lnTo>
                  <a:lnTo>
                    <a:pt x="837" y="810"/>
                  </a:lnTo>
                  <a:lnTo>
                    <a:pt x="821" y="807"/>
                  </a:lnTo>
                  <a:lnTo>
                    <a:pt x="797" y="798"/>
                  </a:lnTo>
                  <a:lnTo>
                    <a:pt x="766" y="785"/>
                  </a:lnTo>
                  <a:lnTo>
                    <a:pt x="724" y="770"/>
                  </a:lnTo>
                  <a:lnTo>
                    <a:pt x="678" y="755"/>
                  </a:lnTo>
                  <a:lnTo>
                    <a:pt x="628" y="739"/>
                  </a:lnTo>
                  <a:lnTo>
                    <a:pt x="577" y="726"/>
                  </a:lnTo>
                  <a:lnTo>
                    <a:pt x="650" y="649"/>
                  </a:lnTo>
                  <a:lnTo>
                    <a:pt x="678" y="622"/>
                  </a:lnTo>
                  <a:lnTo>
                    <a:pt x="727" y="576"/>
                  </a:lnTo>
                  <a:lnTo>
                    <a:pt x="766" y="543"/>
                  </a:lnTo>
                  <a:lnTo>
                    <a:pt x="766" y="543"/>
                  </a:lnTo>
                  <a:lnTo>
                    <a:pt x="846" y="475"/>
                  </a:lnTo>
                  <a:close/>
                  <a:moveTo>
                    <a:pt x="3513" y="416"/>
                  </a:moveTo>
                  <a:lnTo>
                    <a:pt x="3552" y="444"/>
                  </a:lnTo>
                  <a:lnTo>
                    <a:pt x="3632" y="508"/>
                  </a:lnTo>
                  <a:lnTo>
                    <a:pt x="3711" y="576"/>
                  </a:lnTo>
                  <a:lnTo>
                    <a:pt x="3747" y="611"/>
                  </a:lnTo>
                  <a:lnTo>
                    <a:pt x="3733" y="605"/>
                  </a:lnTo>
                  <a:lnTo>
                    <a:pt x="3716" y="605"/>
                  </a:lnTo>
                  <a:lnTo>
                    <a:pt x="3698" y="607"/>
                  </a:lnTo>
                  <a:lnTo>
                    <a:pt x="3683" y="614"/>
                  </a:lnTo>
                  <a:lnTo>
                    <a:pt x="3671" y="625"/>
                  </a:lnTo>
                  <a:lnTo>
                    <a:pt x="3661" y="642"/>
                  </a:lnTo>
                  <a:lnTo>
                    <a:pt x="3650" y="671"/>
                  </a:lnTo>
                  <a:lnTo>
                    <a:pt x="3632" y="695"/>
                  </a:lnTo>
                  <a:lnTo>
                    <a:pt x="3610" y="719"/>
                  </a:lnTo>
                  <a:lnTo>
                    <a:pt x="3588" y="741"/>
                  </a:lnTo>
                  <a:lnTo>
                    <a:pt x="3570" y="766"/>
                  </a:lnTo>
                  <a:lnTo>
                    <a:pt x="3555" y="794"/>
                  </a:lnTo>
                  <a:lnTo>
                    <a:pt x="3552" y="818"/>
                  </a:lnTo>
                  <a:lnTo>
                    <a:pt x="3553" y="840"/>
                  </a:lnTo>
                  <a:lnTo>
                    <a:pt x="3563" y="862"/>
                  </a:lnTo>
                  <a:lnTo>
                    <a:pt x="3572" y="884"/>
                  </a:lnTo>
                  <a:lnTo>
                    <a:pt x="3581" y="904"/>
                  </a:lnTo>
                  <a:lnTo>
                    <a:pt x="3584" y="922"/>
                  </a:lnTo>
                  <a:lnTo>
                    <a:pt x="3583" y="941"/>
                  </a:lnTo>
                  <a:lnTo>
                    <a:pt x="3572" y="959"/>
                  </a:lnTo>
                  <a:lnTo>
                    <a:pt x="3552" y="981"/>
                  </a:lnTo>
                  <a:lnTo>
                    <a:pt x="3533" y="1005"/>
                  </a:lnTo>
                  <a:lnTo>
                    <a:pt x="3519" y="1023"/>
                  </a:lnTo>
                  <a:lnTo>
                    <a:pt x="3504" y="1040"/>
                  </a:lnTo>
                  <a:lnTo>
                    <a:pt x="3487" y="1051"/>
                  </a:lnTo>
                  <a:lnTo>
                    <a:pt x="3469" y="1054"/>
                  </a:lnTo>
                  <a:lnTo>
                    <a:pt x="3460" y="1056"/>
                  </a:lnTo>
                  <a:lnTo>
                    <a:pt x="3451" y="1062"/>
                  </a:lnTo>
                  <a:lnTo>
                    <a:pt x="3443" y="1067"/>
                  </a:lnTo>
                  <a:lnTo>
                    <a:pt x="3431" y="1076"/>
                  </a:lnTo>
                  <a:lnTo>
                    <a:pt x="3420" y="1087"/>
                  </a:lnTo>
                  <a:lnTo>
                    <a:pt x="3410" y="1097"/>
                  </a:lnTo>
                  <a:lnTo>
                    <a:pt x="3401" y="1102"/>
                  </a:lnTo>
                  <a:lnTo>
                    <a:pt x="3392" y="1102"/>
                  </a:lnTo>
                  <a:lnTo>
                    <a:pt x="3385" y="1097"/>
                  </a:lnTo>
                  <a:lnTo>
                    <a:pt x="3379" y="1084"/>
                  </a:lnTo>
                  <a:lnTo>
                    <a:pt x="3372" y="1060"/>
                  </a:lnTo>
                  <a:lnTo>
                    <a:pt x="3361" y="1036"/>
                  </a:lnTo>
                  <a:lnTo>
                    <a:pt x="3350" y="1016"/>
                  </a:lnTo>
                  <a:lnTo>
                    <a:pt x="3335" y="999"/>
                  </a:lnTo>
                  <a:lnTo>
                    <a:pt x="3321" y="988"/>
                  </a:lnTo>
                  <a:lnTo>
                    <a:pt x="3306" y="986"/>
                  </a:lnTo>
                  <a:lnTo>
                    <a:pt x="3290" y="994"/>
                  </a:lnTo>
                  <a:lnTo>
                    <a:pt x="3279" y="1003"/>
                  </a:lnTo>
                  <a:lnTo>
                    <a:pt x="3269" y="1016"/>
                  </a:lnTo>
                  <a:lnTo>
                    <a:pt x="3262" y="1030"/>
                  </a:lnTo>
                  <a:lnTo>
                    <a:pt x="3257" y="1043"/>
                  </a:lnTo>
                  <a:lnTo>
                    <a:pt x="3251" y="1056"/>
                  </a:lnTo>
                  <a:lnTo>
                    <a:pt x="3244" y="1065"/>
                  </a:lnTo>
                  <a:lnTo>
                    <a:pt x="3238" y="1069"/>
                  </a:lnTo>
                  <a:lnTo>
                    <a:pt x="3229" y="1067"/>
                  </a:lnTo>
                  <a:lnTo>
                    <a:pt x="3218" y="1056"/>
                  </a:lnTo>
                  <a:lnTo>
                    <a:pt x="3204" y="1038"/>
                  </a:lnTo>
                  <a:lnTo>
                    <a:pt x="3185" y="1007"/>
                  </a:lnTo>
                  <a:lnTo>
                    <a:pt x="3169" y="974"/>
                  </a:lnTo>
                  <a:lnTo>
                    <a:pt x="3154" y="939"/>
                  </a:lnTo>
                  <a:lnTo>
                    <a:pt x="3145" y="904"/>
                  </a:lnTo>
                  <a:lnTo>
                    <a:pt x="3139" y="871"/>
                  </a:lnTo>
                  <a:lnTo>
                    <a:pt x="3139" y="838"/>
                  </a:lnTo>
                  <a:lnTo>
                    <a:pt x="3149" y="809"/>
                  </a:lnTo>
                  <a:lnTo>
                    <a:pt x="3165" y="783"/>
                  </a:lnTo>
                  <a:lnTo>
                    <a:pt x="3202" y="748"/>
                  </a:lnTo>
                  <a:lnTo>
                    <a:pt x="3240" y="713"/>
                  </a:lnTo>
                  <a:lnTo>
                    <a:pt x="3279" y="678"/>
                  </a:lnTo>
                  <a:lnTo>
                    <a:pt x="3315" y="644"/>
                  </a:lnTo>
                  <a:lnTo>
                    <a:pt x="3346" y="609"/>
                  </a:lnTo>
                  <a:lnTo>
                    <a:pt x="3365" y="583"/>
                  </a:lnTo>
                  <a:lnTo>
                    <a:pt x="3387" y="552"/>
                  </a:lnTo>
                  <a:lnTo>
                    <a:pt x="3414" y="519"/>
                  </a:lnTo>
                  <a:lnTo>
                    <a:pt x="3443" y="484"/>
                  </a:lnTo>
                  <a:lnTo>
                    <a:pt x="3478" y="447"/>
                  </a:lnTo>
                  <a:lnTo>
                    <a:pt x="3513" y="416"/>
                  </a:lnTo>
                  <a:close/>
                  <a:moveTo>
                    <a:pt x="2707" y="271"/>
                  </a:moveTo>
                  <a:lnTo>
                    <a:pt x="2716" y="271"/>
                  </a:lnTo>
                  <a:lnTo>
                    <a:pt x="2731" y="273"/>
                  </a:lnTo>
                  <a:lnTo>
                    <a:pt x="2742" y="280"/>
                  </a:lnTo>
                  <a:lnTo>
                    <a:pt x="2753" y="291"/>
                  </a:lnTo>
                  <a:lnTo>
                    <a:pt x="2760" y="302"/>
                  </a:lnTo>
                  <a:lnTo>
                    <a:pt x="2766" y="315"/>
                  </a:lnTo>
                  <a:lnTo>
                    <a:pt x="2766" y="328"/>
                  </a:lnTo>
                  <a:lnTo>
                    <a:pt x="2760" y="339"/>
                  </a:lnTo>
                  <a:lnTo>
                    <a:pt x="2751" y="345"/>
                  </a:lnTo>
                  <a:lnTo>
                    <a:pt x="2735" y="348"/>
                  </a:lnTo>
                  <a:lnTo>
                    <a:pt x="2716" y="345"/>
                  </a:lnTo>
                  <a:lnTo>
                    <a:pt x="2702" y="337"/>
                  </a:lnTo>
                  <a:lnTo>
                    <a:pt x="2689" y="328"/>
                  </a:lnTo>
                  <a:lnTo>
                    <a:pt x="2680" y="317"/>
                  </a:lnTo>
                  <a:lnTo>
                    <a:pt x="2674" y="304"/>
                  </a:lnTo>
                  <a:lnTo>
                    <a:pt x="2672" y="293"/>
                  </a:lnTo>
                  <a:lnTo>
                    <a:pt x="2676" y="282"/>
                  </a:lnTo>
                  <a:lnTo>
                    <a:pt x="2685" y="275"/>
                  </a:lnTo>
                  <a:lnTo>
                    <a:pt x="2702" y="271"/>
                  </a:lnTo>
                  <a:lnTo>
                    <a:pt x="2707" y="271"/>
                  </a:lnTo>
                  <a:close/>
                  <a:moveTo>
                    <a:pt x="2218" y="0"/>
                  </a:moveTo>
                  <a:lnTo>
                    <a:pt x="2258" y="0"/>
                  </a:lnTo>
                  <a:lnTo>
                    <a:pt x="2258" y="0"/>
                  </a:lnTo>
                  <a:lnTo>
                    <a:pt x="2301" y="0"/>
                  </a:lnTo>
                  <a:lnTo>
                    <a:pt x="2299" y="16"/>
                  </a:lnTo>
                  <a:lnTo>
                    <a:pt x="2293" y="33"/>
                  </a:lnTo>
                  <a:lnTo>
                    <a:pt x="2279" y="49"/>
                  </a:lnTo>
                  <a:lnTo>
                    <a:pt x="2268" y="62"/>
                  </a:lnTo>
                  <a:lnTo>
                    <a:pt x="2258" y="75"/>
                  </a:lnTo>
                  <a:lnTo>
                    <a:pt x="2247" y="90"/>
                  </a:lnTo>
                  <a:lnTo>
                    <a:pt x="2238" y="104"/>
                  </a:lnTo>
                  <a:lnTo>
                    <a:pt x="2229" y="117"/>
                  </a:lnTo>
                  <a:lnTo>
                    <a:pt x="2218" y="126"/>
                  </a:lnTo>
                  <a:lnTo>
                    <a:pt x="2207" y="134"/>
                  </a:lnTo>
                  <a:lnTo>
                    <a:pt x="2191" y="139"/>
                  </a:lnTo>
                  <a:lnTo>
                    <a:pt x="2167" y="141"/>
                  </a:lnTo>
                  <a:lnTo>
                    <a:pt x="2154" y="143"/>
                  </a:lnTo>
                  <a:lnTo>
                    <a:pt x="2147" y="148"/>
                  </a:lnTo>
                  <a:lnTo>
                    <a:pt x="2147" y="156"/>
                  </a:lnTo>
                  <a:lnTo>
                    <a:pt x="2152" y="167"/>
                  </a:lnTo>
                  <a:lnTo>
                    <a:pt x="2160" y="180"/>
                  </a:lnTo>
                  <a:lnTo>
                    <a:pt x="2169" y="192"/>
                  </a:lnTo>
                  <a:lnTo>
                    <a:pt x="2178" y="207"/>
                  </a:lnTo>
                  <a:lnTo>
                    <a:pt x="2187" y="220"/>
                  </a:lnTo>
                  <a:lnTo>
                    <a:pt x="2194" y="233"/>
                  </a:lnTo>
                  <a:lnTo>
                    <a:pt x="2198" y="242"/>
                  </a:lnTo>
                  <a:lnTo>
                    <a:pt x="2196" y="251"/>
                  </a:lnTo>
                  <a:lnTo>
                    <a:pt x="2187" y="257"/>
                  </a:lnTo>
                  <a:lnTo>
                    <a:pt x="2172" y="258"/>
                  </a:lnTo>
                  <a:lnTo>
                    <a:pt x="2149" y="262"/>
                  </a:lnTo>
                  <a:lnTo>
                    <a:pt x="2128" y="269"/>
                  </a:lnTo>
                  <a:lnTo>
                    <a:pt x="2112" y="282"/>
                  </a:lnTo>
                  <a:lnTo>
                    <a:pt x="2101" y="295"/>
                  </a:lnTo>
                  <a:lnTo>
                    <a:pt x="2094" y="312"/>
                  </a:lnTo>
                  <a:lnTo>
                    <a:pt x="2094" y="326"/>
                  </a:lnTo>
                  <a:lnTo>
                    <a:pt x="2097" y="339"/>
                  </a:lnTo>
                  <a:lnTo>
                    <a:pt x="2106" y="350"/>
                  </a:lnTo>
                  <a:lnTo>
                    <a:pt x="2123" y="356"/>
                  </a:lnTo>
                  <a:lnTo>
                    <a:pt x="2145" y="356"/>
                  </a:lnTo>
                  <a:lnTo>
                    <a:pt x="2172" y="354"/>
                  </a:lnTo>
                  <a:lnTo>
                    <a:pt x="2193" y="356"/>
                  </a:lnTo>
                  <a:lnTo>
                    <a:pt x="2204" y="361"/>
                  </a:lnTo>
                  <a:lnTo>
                    <a:pt x="2207" y="370"/>
                  </a:lnTo>
                  <a:lnTo>
                    <a:pt x="2200" y="381"/>
                  </a:lnTo>
                  <a:lnTo>
                    <a:pt x="2187" y="394"/>
                  </a:lnTo>
                  <a:lnTo>
                    <a:pt x="2165" y="409"/>
                  </a:lnTo>
                  <a:lnTo>
                    <a:pt x="2134" y="425"/>
                  </a:lnTo>
                  <a:lnTo>
                    <a:pt x="2103" y="438"/>
                  </a:lnTo>
                  <a:lnTo>
                    <a:pt x="2068" y="449"/>
                  </a:lnTo>
                  <a:lnTo>
                    <a:pt x="2031" y="458"/>
                  </a:lnTo>
                  <a:lnTo>
                    <a:pt x="1995" y="467"/>
                  </a:lnTo>
                  <a:lnTo>
                    <a:pt x="1960" y="477"/>
                  </a:lnTo>
                  <a:lnTo>
                    <a:pt x="1927" y="488"/>
                  </a:lnTo>
                  <a:lnTo>
                    <a:pt x="1898" y="500"/>
                  </a:lnTo>
                  <a:lnTo>
                    <a:pt x="1874" y="517"/>
                  </a:lnTo>
                  <a:lnTo>
                    <a:pt x="1856" y="537"/>
                  </a:lnTo>
                  <a:lnTo>
                    <a:pt x="1839" y="557"/>
                  </a:lnTo>
                  <a:lnTo>
                    <a:pt x="1819" y="572"/>
                  </a:lnTo>
                  <a:lnTo>
                    <a:pt x="1793" y="585"/>
                  </a:lnTo>
                  <a:lnTo>
                    <a:pt x="1766" y="594"/>
                  </a:lnTo>
                  <a:lnTo>
                    <a:pt x="1738" y="605"/>
                  </a:lnTo>
                  <a:lnTo>
                    <a:pt x="1711" y="614"/>
                  </a:lnTo>
                  <a:lnTo>
                    <a:pt x="1687" y="623"/>
                  </a:lnTo>
                  <a:lnTo>
                    <a:pt x="1669" y="636"/>
                  </a:lnTo>
                  <a:lnTo>
                    <a:pt x="1656" y="649"/>
                  </a:lnTo>
                  <a:lnTo>
                    <a:pt x="1652" y="667"/>
                  </a:lnTo>
                  <a:lnTo>
                    <a:pt x="1652" y="684"/>
                  </a:lnTo>
                  <a:lnTo>
                    <a:pt x="1650" y="708"/>
                  </a:lnTo>
                  <a:lnTo>
                    <a:pt x="1647" y="733"/>
                  </a:lnTo>
                  <a:lnTo>
                    <a:pt x="1643" y="763"/>
                  </a:lnTo>
                  <a:lnTo>
                    <a:pt x="1636" y="792"/>
                  </a:lnTo>
                  <a:lnTo>
                    <a:pt x="1628" y="821"/>
                  </a:lnTo>
                  <a:lnTo>
                    <a:pt x="1617" y="851"/>
                  </a:lnTo>
                  <a:lnTo>
                    <a:pt x="1605" y="876"/>
                  </a:lnTo>
                  <a:lnTo>
                    <a:pt x="1590" y="898"/>
                  </a:lnTo>
                  <a:lnTo>
                    <a:pt x="1573" y="915"/>
                  </a:lnTo>
                  <a:lnTo>
                    <a:pt x="1551" y="926"/>
                  </a:lnTo>
                  <a:lnTo>
                    <a:pt x="1528" y="930"/>
                  </a:lnTo>
                  <a:lnTo>
                    <a:pt x="1502" y="924"/>
                  </a:lnTo>
                  <a:lnTo>
                    <a:pt x="1464" y="908"/>
                  </a:lnTo>
                  <a:lnTo>
                    <a:pt x="1432" y="886"/>
                  </a:lnTo>
                  <a:lnTo>
                    <a:pt x="1407" y="860"/>
                  </a:lnTo>
                  <a:lnTo>
                    <a:pt x="1385" y="831"/>
                  </a:lnTo>
                  <a:lnTo>
                    <a:pt x="1365" y="801"/>
                  </a:lnTo>
                  <a:lnTo>
                    <a:pt x="1348" y="770"/>
                  </a:lnTo>
                  <a:lnTo>
                    <a:pt x="1334" y="739"/>
                  </a:lnTo>
                  <a:lnTo>
                    <a:pt x="1319" y="710"/>
                  </a:lnTo>
                  <a:lnTo>
                    <a:pt x="1304" y="682"/>
                  </a:lnTo>
                  <a:lnTo>
                    <a:pt x="1291" y="658"/>
                  </a:lnTo>
                  <a:lnTo>
                    <a:pt x="1286" y="633"/>
                  </a:lnTo>
                  <a:lnTo>
                    <a:pt x="1288" y="609"/>
                  </a:lnTo>
                  <a:lnTo>
                    <a:pt x="1290" y="585"/>
                  </a:lnTo>
                  <a:lnTo>
                    <a:pt x="1295" y="563"/>
                  </a:lnTo>
                  <a:lnTo>
                    <a:pt x="1299" y="543"/>
                  </a:lnTo>
                  <a:lnTo>
                    <a:pt x="1299" y="526"/>
                  </a:lnTo>
                  <a:lnTo>
                    <a:pt x="1293" y="511"/>
                  </a:lnTo>
                  <a:lnTo>
                    <a:pt x="1282" y="500"/>
                  </a:lnTo>
                  <a:lnTo>
                    <a:pt x="1275" y="493"/>
                  </a:lnTo>
                  <a:lnTo>
                    <a:pt x="1273" y="482"/>
                  </a:lnTo>
                  <a:lnTo>
                    <a:pt x="1277" y="469"/>
                  </a:lnTo>
                  <a:lnTo>
                    <a:pt x="1284" y="456"/>
                  </a:lnTo>
                  <a:lnTo>
                    <a:pt x="1293" y="442"/>
                  </a:lnTo>
                  <a:lnTo>
                    <a:pt x="1304" y="427"/>
                  </a:lnTo>
                  <a:lnTo>
                    <a:pt x="1317" y="412"/>
                  </a:lnTo>
                  <a:lnTo>
                    <a:pt x="1328" y="401"/>
                  </a:lnTo>
                  <a:lnTo>
                    <a:pt x="1337" y="390"/>
                  </a:lnTo>
                  <a:lnTo>
                    <a:pt x="1345" y="385"/>
                  </a:lnTo>
                  <a:lnTo>
                    <a:pt x="1346" y="381"/>
                  </a:lnTo>
                  <a:lnTo>
                    <a:pt x="1345" y="381"/>
                  </a:lnTo>
                  <a:lnTo>
                    <a:pt x="1335" y="387"/>
                  </a:lnTo>
                  <a:lnTo>
                    <a:pt x="1319" y="396"/>
                  </a:lnTo>
                  <a:lnTo>
                    <a:pt x="1301" y="400"/>
                  </a:lnTo>
                  <a:lnTo>
                    <a:pt x="1284" y="400"/>
                  </a:lnTo>
                  <a:lnTo>
                    <a:pt x="1268" y="398"/>
                  </a:lnTo>
                  <a:lnTo>
                    <a:pt x="1255" y="392"/>
                  </a:lnTo>
                  <a:lnTo>
                    <a:pt x="1246" y="385"/>
                  </a:lnTo>
                  <a:lnTo>
                    <a:pt x="1242" y="376"/>
                  </a:lnTo>
                  <a:lnTo>
                    <a:pt x="1244" y="368"/>
                  </a:lnTo>
                  <a:lnTo>
                    <a:pt x="1253" y="361"/>
                  </a:lnTo>
                  <a:lnTo>
                    <a:pt x="1271" y="356"/>
                  </a:lnTo>
                  <a:lnTo>
                    <a:pt x="1293" y="348"/>
                  </a:lnTo>
                  <a:lnTo>
                    <a:pt x="1308" y="337"/>
                  </a:lnTo>
                  <a:lnTo>
                    <a:pt x="1315" y="324"/>
                  </a:lnTo>
                  <a:lnTo>
                    <a:pt x="1317" y="312"/>
                  </a:lnTo>
                  <a:lnTo>
                    <a:pt x="1315" y="299"/>
                  </a:lnTo>
                  <a:lnTo>
                    <a:pt x="1308" y="290"/>
                  </a:lnTo>
                  <a:lnTo>
                    <a:pt x="1297" y="282"/>
                  </a:lnTo>
                  <a:lnTo>
                    <a:pt x="1282" y="279"/>
                  </a:lnTo>
                  <a:lnTo>
                    <a:pt x="1266" y="280"/>
                  </a:lnTo>
                  <a:lnTo>
                    <a:pt x="1246" y="284"/>
                  </a:lnTo>
                  <a:lnTo>
                    <a:pt x="1227" y="284"/>
                  </a:lnTo>
                  <a:lnTo>
                    <a:pt x="1211" y="280"/>
                  </a:lnTo>
                  <a:lnTo>
                    <a:pt x="1198" y="273"/>
                  </a:lnTo>
                  <a:lnTo>
                    <a:pt x="1193" y="264"/>
                  </a:lnTo>
                  <a:lnTo>
                    <a:pt x="1193" y="251"/>
                  </a:lnTo>
                  <a:lnTo>
                    <a:pt x="1209" y="242"/>
                  </a:lnTo>
                  <a:lnTo>
                    <a:pt x="1306" y="196"/>
                  </a:lnTo>
                  <a:lnTo>
                    <a:pt x="1374" y="167"/>
                  </a:lnTo>
                  <a:lnTo>
                    <a:pt x="1405" y="154"/>
                  </a:lnTo>
                  <a:lnTo>
                    <a:pt x="1508" y="115"/>
                  </a:lnTo>
                  <a:lnTo>
                    <a:pt x="1630" y="79"/>
                  </a:lnTo>
                  <a:lnTo>
                    <a:pt x="1757" y="47"/>
                  </a:lnTo>
                  <a:lnTo>
                    <a:pt x="1885" y="24"/>
                  </a:lnTo>
                  <a:lnTo>
                    <a:pt x="2017" y="9"/>
                  </a:lnTo>
                  <a:lnTo>
                    <a:pt x="2150" y="0"/>
                  </a:lnTo>
                  <a:lnTo>
                    <a:pt x="2218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31BEF023-9F20-4777-AC54-24E8DB339521}"/>
                </a:ext>
              </a:extLst>
            </p:cNvPr>
            <p:cNvGrpSpPr/>
            <p:nvPr/>
          </p:nvGrpSpPr>
          <p:grpSpPr>
            <a:xfrm>
              <a:off x="7786688" y="1071563"/>
              <a:ext cx="1416050" cy="2498725"/>
              <a:chOff x="7786688" y="1071563"/>
              <a:chExt cx="1416050" cy="2498725"/>
            </a:xfrm>
          </p:grpSpPr>
          <p:sp>
            <p:nvSpPr>
              <p:cNvPr id="270" name="Freeform 206">
                <a:extLst>
                  <a:ext uri="{FF2B5EF4-FFF2-40B4-BE49-F238E27FC236}">
                    <a16:creationId xmlns:a16="http://schemas.microsoft.com/office/drawing/2014/main" id="{A662FD91-56D1-44F1-95A3-1D22A6420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6688" y="1071563"/>
                <a:ext cx="1416050" cy="2498725"/>
              </a:xfrm>
              <a:custGeom>
                <a:avLst/>
                <a:gdLst>
                  <a:gd name="T0" fmla="*/ 891 w 1783"/>
                  <a:gd name="T1" fmla="*/ 0 h 3148"/>
                  <a:gd name="T2" fmla="*/ 989 w 1783"/>
                  <a:gd name="T3" fmla="*/ 5 h 3148"/>
                  <a:gd name="T4" fmla="*/ 1082 w 1783"/>
                  <a:gd name="T5" fmla="*/ 20 h 3148"/>
                  <a:gd name="T6" fmla="*/ 1174 w 1783"/>
                  <a:gd name="T7" fmla="*/ 45 h 3148"/>
                  <a:gd name="T8" fmla="*/ 1260 w 1783"/>
                  <a:gd name="T9" fmla="*/ 78 h 3148"/>
                  <a:gd name="T10" fmla="*/ 1342 w 1783"/>
                  <a:gd name="T11" fmla="*/ 121 h 3148"/>
                  <a:gd name="T12" fmla="*/ 1417 w 1783"/>
                  <a:gd name="T13" fmla="*/ 172 h 3148"/>
                  <a:gd name="T14" fmla="*/ 1489 w 1783"/>
                  <a:gd name="T15" fmla="*/ 229 h 3148"/>
                  <a:gd name="T16" fmla="*/ 1553 w 1783"/>
                  <a:gd name="T17" fmla="*/ 293 h 3148"/>
                  <a:gd name="T18" fmla="*/ 1611 w 1783"/>
                  <a:gd name="T19" fmla="*/ 364 h 3148"/>
                  <a:gd name="T20" fmla="*/ 1661 w 1783"/>
                  <a:gd name="T21" fmla="*/ 441 h 3148"/>
                  <a:gd name="T22" fmla="*/ 1705 w 1783"/>
                  <a:gd name="T23" fmla="*/ 524 h 3148"/>
                  <a:gd name="T24" fmla="*/ 1738 w 1783"/>
                  <a:gd name="T25" fmla="*/ 610 h 3148"/>
                  <a:gd name="T26" fmla="*/ 1763 w 1783"/>
                  <a:gd name="T27" fmla="*/ 700 h 3148"/>
                  <a:gd name="T28" fmla="*/ 1778 w 1783"/>
                  <a:gd name="T29" fmla="*/ 795 h 3148"/>
                  <a:gd name="T30" fmla="*/ 1783 w 1783"/>
                  <a:gd name="T31" fmla="*/ 893 h 3148"/>
                  <a:gd name="T32" fmla="*/ 1782 w 1783"/>
                  <a:gd name="T33" fmla="*/ 948 h 3148"/>
                  <a:gd name="T34" fmla="*/ 1774 w 1783"/>
                  <a:gd name="T35" fmla="*/ 1006 h 3148"/>
                  <a:gd name="T36" fmla="*/ 1765 w 1783"/>
                  <a:gd name="T37" fmla="*/ 1067 h 3148"/>
                  <a:gd name="T38" fmla="*/ 1752 w 1783"/>
                  <a:gd name="T39" fmla="*/ 1126 h 3148"/>
                  <a:gd name="T40" fmla="*/ 1736 w 1783"/>
                  <a:gd name="T41" fmla="*/ 1179 h 3148"/>
                  <a:gd name="T42" fmla="*/ 1719 w 1783"/>
                  <a:gd name="T43" fmla="*/ 1226 h 3148"/>
                  <a:gd name="T44" fmla="*/ 891 w 1783"/>
                  <a:gd name="T45" fmla="*/ 3148 h 3148"/>
                  <a:gd name="T46" fmla="*/ 67 w 1783"/>
                  <a:gd name="T47" fmla="*/ 1234 h 3148"/>
                  <a:gd name="T48" fmla="*/ 47 w 1783"/>
                  <a:gd name="T49" fmla="*/ 1184 h 3148"/>
                  <a:gd name="T50" fmla="*/ 31 w 1783"/>
                  <a:gd name="T51" fmla="*/ 1127 h 3148"/>
                  <a:gd name="T52" fmla="*/ 18 w 1783"/>
                  <a:gd name="T53" fmla="*/ 1069 h 3148"/>
                  <a:gd name="T54" fmla="*/ 7 w 1783"/>
                  <a:gd name="T55" fmla="*/ 1006 h 3148"/>
                  <a:gd name="T56" fmla="*/ 1 w 1783"/>
                  <a:gd name="T57" fmla="*/ 948 h 3148"/>
                  <a:gd name="T58" fmla="*/ 0 w 1783"/>
                  <a:gd name="T59" fmla="*/ 893 h 3148"/>
                  <a:gd name="T60" fmla="*/ 5 w 1783"/>
                  <a:gd name="T61" fmla="*/ 795 h 3148"/>
                  <a:gd name="T62" fmla="*/ 20 w 1783"/>
                  <a:gd name="T63" fmla="*/ 700 h 3148"/>
                  <a:gd name="T64" fmla="*/ 45 w 1783"/>
                  <a:gd name="T65" fmla="*/ 610 h 3148"/>
                  <a:gd name="T66" fmla="*/ 78 w 1783"/>
                  <a:gd name="T67" fmla="*/ 524 h 3148"/>
                  <a:gd name="T68" fmla="*/ 120 w 1783"/>
                  <a:gd name="T69" fmla="*/ 441 h 3148"/>
                  <a:gd name="T70" fmla="*/ 172 w 1783"/>
                  <a:gd name="T71" fmla="*/ 364 h 3148"/>
                  <a:gd name="T72" fmla="*/ 228 w 1783"/>
                  <a:gd name="T73" fmla="*/ 293 h 3148"/>
                  <a:gd name="T74" fmla="*/ 293 w 1783"/>
                  <a:gd name="T75" fmla="*/ 229 h 3148"/>
                  <a:gd name="T76" fmla="*/ 364 w 1783"/>
                  <a:gd name="T77" fmla="*/ 172 h 3148"/>
                  <a:gd name="T78" fmla="*/ 441 w 1783"/>
                  <a:gd name="T79" fmla="*/ 121 h 3148"/>
                  <a:gd name="T80" fmla="*/ 523 w 1783"/>
                  <a:gd name="T81" fmla="*/ 78 h 3148"/>
                  <a:gd name="T82" fmla="*/ 609 w 1783"/>
                  <a:gd name="T83" fmla="*/ 45 h 3148"/>
                  <a:gd name="T84" fmla="*/ 699 w 1783"/>
                  <a:gd name="T85" fmla="*/ 20 h 3148"/>
                  <a:gd name="T86" fmla="*/ 794 w 1783"/>
                  <a:gd name="T87" fmla="*/ 5 h 3148"/>
                  <a:gd name="T88" fmla="*/ 891 w 1783"/>
                  <a:gd name="T89" fmla="*/ 0 h 3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83" h="3148">
                    <a:moveTo>
                      <a:pt x="891" y="0"/>
                    </a:moveTo>
                    <a:lnTo>
                      <a:pt x="989" y="5"/>
                    </a:lnTo>
                    <a:lnTo>
                      <a:pt x="1082" y="20"/>
                    </a:lnTo>
                    <a:lnTo>
                      <a:pt x="1174" y="45"/>
                    </a:lnTo>
                    <a:lnTo>
                      <a:pt x="1260" y="78"/>
                    </a:lnTo>
                    <a:lnTo>
                      <a:pt x="1342" y="121"/>
                    </a:lnTo>
                    <a:lnTo>
                      <a:pt x="1417" y="172"/>
                    </a:lnTo>
                    <a:lnTo>
                      <a:pt x="1489" y="229"/>
                    </a:lnTo>
                    <a:lnTo>
                      <a:pt x="1553" y="293"/>
                    </a:lnTo>
                    <a:lnTo>
                      <a:pt x="1611" y="364"/>
                    </a:lnTo>
                    <a:lnTo>
                      <a:pt x="1661" y="441"/>
                    </a:lnTo>
                    <a:lnTo>
                      <a:pt x="1705" y="524"/>
                    </a:lnTo>
                    <a:lnTo>
                      <a:pt x="1738" y="610"/>
                    </a:lnTo>
                    <a:lnTo>
                      <a:pt x="1763" y="700"/>
                    </a:lnTo>
                    <a:lnTo>
                      <a:pt x="1778" y="795"/>
                    </a:lnTo>
                    <a:lnTo>
                      <a:pt x="1783" y="893"/>
                    </a:lnTo>
                    <a:lnTo>
                      <a:pt x="1782" y="948"/>
                    </a:lnTo>
                    <a:lnTo>
                      <a:pt x="1774" y="1006"/>
                    </a:lnTo>
                    <a:lnTo>
                      <a:pt x="1765" y="1067"/>
                    </a:lnTo>
                    <a:lnTo>
                      <a:pt x="1752" y="1126"/>
                    </a:lnTo>
                    <a:lnTo>
                      <a:pt x="1736" y="1179"/>
                    </a:lnTo>
                    <a:lnTo>
                      <a:pt x="1719" y="1226"/>
                    </a:lnTo>
                    <a:lnTo>
                      <a:pt x="891" y="3148"/>
                    </a:lnTo>
                    <a:lnTo>
                      <a:pt x="67" y="1234"/>
                    </a:lnTo>
                    <a:lnTo>
                      <a:pt x="47" y="1184"/>
                    </a:lnTo>
                    <a:lnTo>
                      <a:pt x="31" y="1127"/>
                    </a:lnTo>
                    <a:lnTo>
                      <a:pt x="18" y="1069"/>
                    </a:lnTo>
                    <a:lnTo>
                      <a:pt x="7" y="1006"/>
                    </a:lnTo>
                    <a:lnTo>
                      <a:pt x="1" y="948"/>
                    </a:lnTo>
                    <a:lnTo>
                      <a:pt x="0" y="893"/>
                    </a:lnTo>
                    <a:lnTo>
                      <a:pt x="5" y="795"/>
                    </a:lnTo>
                    <a:lnTo>
                      <a:pt x="20" y="700"/>
                    </a:lnTo>
                    <a:lnTo>
                      <a:pt x="45" y="610"/>
                    </a:lnTo>
                    <a:lnTo>
                      <a:pt x="78" y="524"/>
                    </a:lnTo>
                    <a:lnTo>
                      <a:pt x="120" y="441"/>
                    </a:lnTo>
                    <a:lnTo>
                      <a:pt x="172" y="364"/>
                    </a:lnTo>
                    <a:lnTo>
                      <a:pt x="228" y="293"/>
                    </a:lnTo>
                    <a:lnTo>
                      <a:pt x="293" y="229"/>
                    </a:lnTo>
                    <a:lnTo>
                      <a:pt x="364" y="172"/>
                    </a:lnTo>
                    <a:lnTo>
                      <a:pt x="441" y="121"/>
                    </a:lnTo>
                    <a:lnTo>
                      <a:pt x="523" y="78"/>
                    </a:lnTo>
                    <a:lnTo>
                      <a:pt x="609" y="45"/>
                    </a:lnTo>
                    <a:lnTo>
                      <a:pt x="699" y="20"/>
                    </a:lnTo>
                    <a:lnTo>
                      <a:pt x="794" y="5"/>
                    </a:lnTo>
                    <a:lnTo>
                      <a:pt x="891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Freeform 207">
                <a:extLst>
                  <a:ext uri="{FF2B5EF4-FFF2-40B4-BE49-F238E27FC236}">
                    <a16:creationId xmlns:a16="http://schemas.microsoft.com/office/drawing/2014/main" id="{F97A364D-AA34-402C-BC02-6B120425F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3688" y="1198563"/>
                <a:ext cx="1163637" cy="1163638"/>
              </a:xfrm>
              <a:custGeom>
                <a:avLst/>
                <a:gdLst>
                  <a:gd name="T0" fmla="*/ 732 w 1465"/>
                  <a:gd name="T1" fmla="*/ 0 h 1467"/>
                  <a:gd name="T2" fmla="*/ 824 w 1465"/>
                  <a:gd name="T3" fmla="*/ 6 h 1467"/>
                  <a:gd name="T4" fmla="*/ 912 w 1465"/>
                  <a:gd name="T5" fmla="*/ 22 h 1467"/>
                  <a:gd name="T6" fmla="*/ 996 w 1465"/>
                  <a:gd name="T7" fmla="*/ 50 h 1467"/>
                  <a:gd name="T8" fmla="*/ 1075 w 1465"/>
                  <a:gd name="T9" fmla="*/ 86 h 1467"/>
                  <a:gd name="T10" fmla="*/ 1150 w 1465"/>
                  <a:gd name="T11" fmla="*/ 132 h 1467"/>
                  <a:gd name="T12" fmla="*/ 1218 w 1465"/>
                  <a:gd name="T13" fmla="*/ 185 h 1467"/>
                  <a:gd name="T14" fmla="*/ 1278 w 1465"/>
                  <a:gd name="T15" fmla="*/ 248 h 1467"/>
                  <a:gd name="T16" fmla="*/ 1333 w 1465"/>
                  <a:gd name="T17" fmla="*/ 315 h 1467"/>
                  <a:gd name="T18" fmla="*/ 1379 w 1465"/>
                  <a:gd name="T19" fmla="*/ 389 h 1467"/>
                  <a:gd name="T20" fmla="*/ 1416 w 1465"/>
                  <a:gd name="T21" fmla="*/ 470 h 1467"/>
                  <a:gd name="T22" fmla="*/ 1441 w 1465"/>
                  <a:gd name="T23" fmla="*/ 554 h 1467"/>
                  <a:gd name="T24" fmla="*/ 1458 w 1465"/>
                  <a:gd name="T25" fmla="*/ 642 h 1467"/>
                  <a:gd name="T26" fmla="*/ 1465 w 1465"/>
                  <a:gd name="T27" fmla="*/ 734 h 1467"/>
                  <a:gd name="T28" fmla="*/ 1458 w 1465"/>
                  <a:gd name="T29" fmla="*/ 825 h 1467"/>
                  <a:gd name="T30" fmla="*/ 1441 w 1465"/>
                  <a:gd name="T31" fmla="*/ 913 h 1467"/>
                  <a:gd name="T32" fmla="*/ 1416 w 1465"/>
                  <a:gd name="T33" fmla="*/ 998 h 1467"/>
                  <a:gd name="T34" fmla="*/ 1379 w 1465"/>
                  <a:gd name="T35" fmla="*/ 1078 h 1467"/>
                  <a:gd name="T36" fmla="*/ 1333 w 1465"/>
                  <a:gd name="T37" fmla="*/ 1152 h 1467"/>
                  <a:gd name="T38" fmla="*/ 1278 w 1465"/>
                  <a:gd name="T39" fmla="*/ 1220 h 1467"/>
                  <a:gd name="T40" fmla="*/ 1218 w 1465"/>
                  <a:gd name="T41" fmla="*/ 1282 h 1467"/>
                  <a:gd name="T42" fmla="*/ 1150 w 1465"/>
                  <a:gd name="T43" fmla="*/ 1335 h 1467"/>
                  <a:gd name="T44" fmla="*/ 1075 w 1465"/>
                  <a:gd name="T45" fmla="*/ 1381 h 1467"/>
                  <a:gd name="T46" fmla="*/ 996 w 1465"/>
                  <a:gd name="T47" fmla="*/ 1418 h 1467"/>
                  <a:gd name="T48" fmla="*/ 912 w 1465"/>
                  <a:gd name="T49" fmla="*/ 1443 h 1467"/>
                  <a:gd name="T50" fmla="*/ 824 w 1465"/>
                  <a:gd name="T51" fmla="*/ 1462 h 1467"/>
                  <a:gd name="T52" fmla="*/ 732 w 1465"/>
                  <a:gd name="T53" fmla="*/ 1467 h 1467"/>
                  <a:gd name="T54" fmla="*/ 641 w 1465"/>
                  <a:gd name="T55" fmla="*/ 1462 h 1467"/>
                  <a:gd name="T56" fmla="*/ 553 w 1465"/>
                  <a:gd name="T57" fmla="*/ 1443 h 1467"/>
                  <a:gd name="T58" fmla="*/ 469 w 1465"/>
                  <a:gd name="T59" fmla="*/ 1418 h 1467"/>
                  <a:gd name="T60" fmla="*/ 388 w 1465"/>
                  <a:gd name="T61" fmla="*/ 1381 h 1467"/>
                  <a:gd name="T62" fmla="*/ 315 w 1465"/>
                  <a:gd name="T63" fmla="*/ 1335 h 1467"/>
                  <a:gd name="T64" fmla="*/ 245 w 1465"/>
                  <a:gd name="T65" fmla="*/ 1282 h 1467"/>
                  <a:gd name="T66" fmla="*/ 185 w 1465"/>
                  <a:gd name="T67" fmla="*/ 1220 h 1467"/>
                  <a:gd name="T68" fmla="*/ 132 w 1465"/>
                  <a:gd name="T69" fmla="*/ 1152 h 1467"/>
                  <a:gd name="T70" fmla="*/ 86 w 1465"/>
                  <a:gd name="T71" fmla="*/ 1078 h 1467"/>
                  <a:gd name="T72" fmla="*/ 49 w 1465"/>
                  <a:gd name="T73" fmla="*/ 998 h 1467"/>
                  <a:gd name="T74" fmla="*/ 22 w 1465"/>
                  <a:gd name="T75" fmla="*/ 913 h 1467"/>
                  <a:gd name="T76" fmla="*/ 5 w 1465"/>
                  <a:gd name="T77" fmla="*/ 825 h 1467"/>
                  <a:gd name="T78" fmla="*/ 0 w 1465"/>
                  <a:gd name="T79" fmla="*/ 734 h 1467"/>
                  <a:gd name="T80" fmla="*/ 5 w 1465"/>
                  <a:gd name="T81" fmla="*/ 642 h 1467"/>
                  <a:gd name="T82" fmla="*/ 22 w 1465"/>
                  <a:gd name="T83" fmla="*/ 554 h 1467"/>
                  <a:gd name="T84" fmla="*/ 49 w 1465"/>
                  <a:gd name="T85" fmla="*/ 470 h 1467"/>
                  <a:gd name="T86" fmla="*/ 86 w 1465"/>
                  <a:gd name="T87" fmla="*/ 389 h 1467"/>
                  <a:gd name="T88" fmla="*/ 132 w 1465"/>
                  <a:gd name="T89" fmla="*/ 315 h 1467"/>
                  <a:gd name="T90" fmla="*/ 185 w 1465"/>
                  <a:gd name="T91" fmla="*/ 248 h 1467"/>
                  <a:gd name="T92" fmla="*/ 245 w 1465"/>
                  <a:gd name="T93" fmla="*/ 185 h 1467"/>
                  <a:gd name="T94" fmla="*/ 315 w 1465"/>
                  <a:gd name="T95" fmla="*/ 132 h 1467"/>
                  <a:gd name="T96" fmla="*/ 388 w 1465"/>
                  <a:gd name="T97" fmla="*/ 86 h 1467"/>
                  <a:gd name="T98" fmla="*/ 469 w 1465"/>
                  <a:gd name="T99" fmla="*/ 50 h 1467"/>
                  <a:gd name="T100" fmla="*/ 553 w 1465"/>
                  <a:gd name="T101" fmla="*/ 22 h 1467"/>
                  <a:gd name="T102" fmla="*/ 641 w 1465"/>
                  <a:gd name="T103" fmla="*/ 6 h 1467"/>
                  <a:gd name="T104" fmla="*/ 732 w 1465"/>
                  <a:gd name="T105" fmla="*/ 0 h 1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65" h="1467">
                    <a:moveTo>
                      <a:pt x="732" y="0"/>
                    </a:moveTo>
                    <a:lnTo>
                      <a:pt x="824" y="6"/>
                    </a:lnTo>
                    <a:lnTo>
                      <a:pt x="912" y="22"/>
                    </a:lnTo>
                    <a:lnTo>
                      <a:pt x="996" y="50"/>
                    </a:lnTo>
                    <a:lnTo>
                      <a:pt x="1075" y="86"/>
                    </a:lnTo>
                    <a:lnTo>
                      <a:pt x="1150" y="132"/>
                    </a:lnTo>
                    <a:lnTo>
                      <a:pt x="1218" y="185"/>
                    </a:lnTo>
                    <a:lnTo>
                      <a:pt x="1278" y="248"/>
                    </a:lnTo>
                    <a:lnTo>
                      <a:pt x="1333" y="315"/>
                    </a:lnTo>
                    <a:lnTo>
                      <a:pt x="1379" y="389"/>
                    </a:lnTo>
                    <a:lnTo>
                      <a:pt x="1416" y="470"/>
                    </a:lnTo>
                    <a:lnTo>
                      <a:pt x="1441" y="554"/>
                    </a:lnTo>
                    <a:lnTo>
                      <a:pt x="1458" y="642"/>
                    </a:lnTo>
                    <a:lnTo>
                      <a:pt x="1465" y="734"/>
                    </a:lnTo>
                    <a:lnTo>
                      <a:pt x="1458" y="825"/>
                    </a:lnTo>
                    <a:lnTo>
                      <a:pt x="1441" y="913"/>
                    </a:lnTo>
                    <a:lnTo>
                      <a:pt x="1416" y="998"/>
                    </a:lnTo>
                    <a:lnTo>
                      <a:pt x="1379" y="1078"/>
                    </a:lnTo>
                    <a:lnTo>
                      <a:pt x="1333" y="1152"/>
                    </a:lnTo>
                    <a:lnTo>
                      <a:pt x="1278" y="1220"/>
                    </a:lnTo>
                    <a:lnTo>
                      <a:pt x="1218" y="1282"/>
                    </a:lnTo>
                    <a:lnTo>
                      <a:pt x="1150" y="1335"/>
                    </a:lnTo>
                    <a:lnTo>
                      <a:pt x="1075" y="1381"/>
                    </a:lnTo>
                    <a:lnTo>
                      <a:pt x="996" y="1418"/>
                    </a:lnTo>
                    <a:lnTo>
                      <a:pt x="912" y="1443"/>
                    </a:lnTo>
                    <a:lnTo>
                      <a:pt x="824" y="1462"/>
                    </a:lnTo>
                    <a:lnTo>
                      <a:pt x="732" y="1467"/>
                    </a:lnTo>
                    <a:lnTo>
                      <a:pt x="641" y="1462"/>
                    </a:lnTo>
                    <a:lnTo>
                      <a:pt x="553" y="1443"/>
                    </a:lnTo>
                    <a:lnTo>
                      <a:pt x="469" y="1418"/>
                    </a:lnTo>
                    <a:lnTo>
                      <a:pt x="388" y="1381"/>
                    </a:lnTo>
                    <a:lnTo>
                      <a:pt x="315" y="1335"/>
                    </a:lnTo>
                    <a:lnTo>
                      <a:pt x="245" y="1282"/>
                    </a:lnTo>
                    <a:lnTo>
                      <a:pt x="185" y="1220"/>
                    </a:lnTo>
                    <a:lnTo>
                      <a:pt x="132" y="1152"/>
                    </a:lnTo>
                    <a:lnTo>
                      <a:pt x="86" y="1078"/>
                    </a:lnTo>
                    <a:lnTo>
                      <a:pt x="49" y="998"/>
                    </a:lnTo>
                    <a:lnTo>
                      <a:pt x="22" y="913"/>
                    </a:lnTo>
                    <a:lnTo>
                      <a:pt x="5" y="825"/>
                    </a:lnTo>
                    <a:lnTo>
                      <a:pt x="0" y="734"/>
                    </a:lnTo>
                    <a:lnTo>
                      <a:pt x="5" y="642"/>
                    </a:lnTo>
                    <a:lnTo>
                      <a:pt x="22" y="554"/>
                    </a:lnTo>
                    <a:lnTo>
                      <a:pt x="49" y="470"/>
                    </a:lnTo>
                    <a:lnTo>
                      <a:pt x="86" y="389"/>
                    </a:lnTo>
                    <a:lnTo>
                      <a:pt x="132" y="315"/>
                    </a:lnTo>
                    <a:lnTo>
                      <a:pt x="185" y="248"/>
                    </a:lnTo>
                    <a:lnTo>
                      <a:pt x="245" y="185"/>
                    </a:lnTo>
                    <a:lnTo>
                      <a:pt x="315" y="132"/>
                    </a:lnTo>
                    <a:lnTo>
                      <a:pt x="388" y="86"/>
                    </a:lnTo>
                    <a:lnTo>
                      <a:pt x="469" y="50"/>
                    </a:lnTo>
                    <a:lnTo>
                      <a:pt x="553" y="22"/>
                    </a:lnTo>
                    <a:lnTo>
                      <a:pt x="641" y="6"/>
                    </a:lnTo>
                    <a:lnTo>
                      <a:pt x="7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125CC6FD-E7B9-48A6-BCCD-007A87697BDC}"/>
                </a:ext>
              </a:extLst>
            </p:cNvPr>
            <p:cNvGrpSpPr/>
            <p:nvPr/>
          </p:nvGrpSpPr>
          <p:grpSpPr>
            <a:xfrm>
              <a:off x="6542088" y="2811463"/>
              <a:ext cx="823912" cy="1454150"/>
              <a:chOff x="6542088" y="2811463"/>
              <a:chExt cx="823912" cy="1454150"/>
            </a:xfrm>
          </p:grpSpPr>
          <p:sp>
            <p:nvSpPr>
              <p:cNvPr id="268" name="Freeform 204">
                <a:extLst>
                  <a:ext uri="{FF2B5EF4-FFF2-40B4-BE49-F238E27FC236}">
                    <a16:creationId xmlns:a16="http://schemas.microsoft.com/office/drawing/2014/main" id="{CA72B033-152F-48E3-A0C3-7F0D4187B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2088" y="2811463"/>
                <a:ext cx="823912" cy="1454150"/>
              </a:xfrm>
              <a:custGeom>
                <a:avLst/>
                <a:gdLst>
                  <a:gd name="T0" fmla="*/ 518 w 1036"/>
                  <a:gd name="T1" fmla="*/ 0 h 1832"/>
                  <a:gd name="T2" fmla="*/ 595 w 1036"/>
                  <a:gd name="T3" fmla="*/ 7 h 1832"/>
                  <a:gd name="T4" fmla="*/ 668 w 1036"/>
                  <a:gd name="T5" fmla="*/ 22 h 1832"/>
                  <a:gd name="T6" fmla="*/ 738 w 1036"/>
                  <a:gd name="T7" fmla="*/ 50 h 1832"/>
                  <a:gd name="T8" fmla="*/ 800 w 1036"/>
                  <a:gd name="T9" fmla="*/ 84 h 1832"/>
                  <a:gd name="T10" fmla="*/ 859 w 1036"/>
                  <a:gd name="T11" fmla="*/ 128 h 1832"/>
                  <a:gd name="T12" fmla="*/ 910 w 1036"/>
                  <a:gd name="T13" fmla="*/ 180 h 1832"/>
                  <a:gd name="T14" fmla="*/ 954 w 1036"/>
                  <a:gd name="T15" fmla="*/ 237 h 1832"/>
                  <a:gd name="T16" fmla="*/ 989 w 1036"/>
                  <a:gd name="T17" fmla="*/ 301 h 1832"/>
                  <a:gd name="T18" fmla="*/ 1014 w 1036"/>
                  <a:gd name="T19" fmla="*/ 371 h 1832"/>
                  <a:gd name="T20" fmla="*/ 1031 w 1036"/>
                  <a:gd name="T21" fmla="*/ 444 h 1832"/>
                  <a:gd name="T22" fmla="*/ 1036 w 1036"/>
                  <a:gd name="T23" fmla="*/ 521 h 1832"/>
                  <a:gd name="T24" fmla="*/ 1035 w 1036"/>
                  <a:gd name="T25" fmla="*/ 559 h 1832"/>
                  <a:gd name="T26" fmla="*/ 1029 w 1036"/>
                  <a:gd name="T27" fmla="*/ 600 h 1832"/>
                  <a:gd name="T28" fmla="*/ 1022 w 1036"/>
                  <a:gd name="T29" fmla="*/ 642 h 1832"/>
                  <a:gd name="T30" fmla="*/ 1013 w 1036"/>
                  <a:gd name="T31" fmla="*/ 680 h 1832"/>
                  <a:gd name="T32" fmla="*/ 1000 w 1036"/>
                  <a:gd name="T33" fmla="*/ 713 h 1832"/>
                  <a:gd name="T34" fmla="*/ 518 w 1036"/>
                  <a:gd name="T35" fmla="*/ 1832 h 1832"/>
                  <a:gd name="T36" fmla="*/ 40 w 1036"/>
                  <a:gd name="T37" fmla="*/ 719 h 1832"/>
                  <a:gd name="T38" fmla="*/ 27 w 1036"/>
                  <a:gd name="T39" fmla="*/ 684 h 1832"/>
                  <a:gd name="T40" fmla="*/ 16 w 1036"/>
                  <a:gd name="T41" fmla="*/ 644 h 1832"/>
                  <a:gd name="T42" fmla="*/ 7 w 1036"/>
                  <a:gd name="T43" fmla="*/ 602 h 1832"/>
                  <a:gd name="T44" fmla="*/ 2 w 1036"/>
                  <a:gd name="T45" fmla="*/ 559 h 1832"/>
                  <a:gd name="T46" fmla="*/ 0 w 1036"/>
                  <a:gd name="T47" fmla="*/ 521 h 1832"/>
                  <a:gd name="T48" fmla="*/ 5 w 1036"/>
                  <a:gd name="T49" fmla="*/ 444 h 1832"/>
                  <a:gd name="T50" fmla="*/ 22 w 1036"/>
                  <a:gd name="T51" fmla="*/ 371 h 1832"/>
                  <a:gd name="T52" fmla="*/ 49 w 1036"/>
                  <a:gd name="T53" fmla="*/ 301 h 1832"/>
                  <a:gd name="T54" fmla="*/ 84 w 1036"/>
                  <a:gd name="T55" fmla="*/ 237 h 1832"/>
                  <a:gd name="T56" fmla="*/ 128 w 1036"/>
                  <a:gd name="T57" fmla="*/ 180 h 1832"/>
                  <a:gd name="T58" fmla="*/ 179 w 1036"/>
                  <a:gd name="T59" fmla="*/ 128 h 1832"/>
                  <a:gd name="T60" fmla="*/ 236 w 1036"/>
                  <a:gd name="T61" fmla="*/ 84 h 1832"/>
                  <a:gd name="T62" fmla="*/ 300 w 1036"/>
                  <a:gd name="T63" fmla="*/ 50 h 1832"/>
                  <a:gd name="T64" fmla="*/ 370 w 1036"/>
                  <a:gd name="T65" fmla="*/ 22 h 1832"/>
                  <a:gd name="T66" fmla="*/ 441 w 1036"/>
                  <a:gd name="T67" fmla="*/ 7 h 1832"/>
                  <a:gd name="T68" fmla="*/ 518 w 1036"/>
                  <a:gd name="T69" fmla="*/ 0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36" h="1832">
                    <a:moveTo>
                      <a:pt x="518" y="0"/>
                    </a:moveTo>
                    <a:lnTo>
                      <a:pt x="595" y="7"/>
                    </a:lnTo>
                    <a:lnTo>
                      <a:pt x="668" y="22"/>
                    </a:lnTo>
                    <a:lnTo>
                      <a:pt x="738" y="50"/>
                    </a:lnTo>
                    <a:lnTo>
                      <a:pt x="800" y="84"/>
                    </a:lnTo>
                    <a:lnTo>
                      <a:pt x="859" y="128"/>
                    </a:lnTo>
                    <a:lnTo>
                      <a:pt x="910" y="180"/>
                    </a:lnTo>
                    <a:lnTo>
                      <a:pt x="954" y="237"/>
                    </a:lnTo>
                    <a:lnTo>
                      <a:pt x="989" y="301"/>
                    </a:lnTo>
                    <a:lnTo>
                      <a:pt x="1014" y="371"/>
                    </a:lnTo>
                    <a:lnTo>
                      <a:pt x="1031" y="444"/>
                    </a:lnTo>
                    <a:lnTo>
                      <a:pt x="1036" y="521"/>
                    </a:lnTo>
                    <a:lnTo>
                      <a:pt x="1035" y="559"/>
                    </a:lnTo>
                    <a:lnTo>
                      <a:pt x="1029" y="600"/>
                    </a:lnTo>
                    <a:lnTo>
                      <a:pt x="1022" y="642"/>
                    </a:lnTo>
                    <a:lnTo>
                      <a:pt x="1013" y="680"/>
                    </a:lnTo>
                    <a:lnTo>
                      <a:pt x="1000" y="713"/>
                    </a:lnTo>
                    <a:lnTo>
                      <a:pt x="518" y="1832"/>
                    </a:lnTo>
                    <a:lnTo>
                      <a:pt x="40" y="719"/>
                    </a:lnTo>
                    <a:lnTo>
                      <a:pt x="27" y="684"/>
                    </a:lnTo>
                    <a:lnTo>
                      <a:pt x="16" y="644"/>
                    </a:lnTo>
                    <a:lnTo>
                      <a:pt x="7" y="602"/>
                    </a:lnTo>
                    <a:lnTo>
                      <a:pt x="2" y="559"/>
                    </a:lnTo>
                    <a:lnTo>
                      <a:pt x="0" y="521"/>
                    </a:lnTo>
                    <a:lnTo>
                      <a:pt x="5" y="444"/>
                    </a:lnTo>
                    <a:lnTo>
                      <a:pt x="22" y="371"/>
                    </a:lnTo>
                    <a:lnTo>
                      <a:pt x="49" y="301"/>
                    </a:lnTo>
                    <a:lnTo>
                      <a:pt x="84" y="237"/>
                    </a:lnTo>
                    <a:lnTo>
                      <a:pt x="128" y="180"/>
                    </a:lnTo>
                    <a:lnTo>
                      <a:pt x="179" y="128"/>
                    </a:lnTo>
                    <a:lnTo>
                      <a:pt x="236" y="84"/>
                    </a:lnTo>
                    <a:lnTo>
                      <a:pt x="300" y="50"/>
                    </a:lnTo>
                    <a:lnTo>
                      <a:pt x="370" y="22"/>
                    </a:lnTo>
                    <a:lnTo>
                      <a:pt x="441" y="7"/>
                    </a:lnTo>
                    <a:lnTo>
                      <a:pt x="518" y="0"/>
                    </a:lnTo>
                    <a:close/>
                  </a:path>
                </a:pathLst>
              </a:custGeom>
              <a:solidFill>
                <a:srgbClr val="59595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9" name="Freeform 12">
                <a:extLst>
                  <a:ext uri="{FF2B5EF4-FFF2-40B4-BE49-F238E27FC236}">
                    <a16:creationId xmlns:a16="http://schemas.microsoft.com/office/drawing/2014/main" id="{044FD214-0925-4A8D-8C75-06FEAEFBA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700" y="2884488"/>
                <a:ext cx="676275" cy="677863"/>
              </a:xfrm>
              <a:custGeom>
                <a:avLst/>
                <a:gdLst>
                  <a:gd name="T0" fmla="*/ 425 w 852"/>
                  <a:gd name="T1" fmla="*/ 0 h 852"/>
                  <a:gd name="T2" fmla="*/ 495 w 852"/>
                  <a:gd name="T3" fmla="*/ 5 h 852"/>
                  <a:gd name="T4" fmla="*/ 561 w 852"/>
                  <a:gd name="T5" fmla="*/ 22 h 852"/>
                  <a:gd name="T6" fmla="*/ 621 w 852"/>
                  <a:gd name="T7" fmla="*/ 47 h 852"/>
                  <a:gd name="T8" fmla="*/ 676 w 852"/>
                  <a:gd name="T9" fmla="*/ 82 h 852"/>
                  <a:gd name="T10" fmla="*/ 725 w 852"/>
                  <a:gd name="T11" fmla="*/ 124 h 852"/>
                  <a:gd name="T12" fmla="*/ 769 w 852"/>
                  <a:gd name="T13" fmla="*/ 174 h 852"/>
                  <a:gd name="T14" fmla="*/ 804 w 852"/>
                  <a:gd name="T15" fmla="*/ 231 h 852"/>
                  <a:gd name="T16" fmla="*/ 830 w 852"/>
                  <a:gd name="T17" fmla="*/ 291 h 852"/>
                  <a:gd name="T18" fmla="*/ 846 w 852"/>
                  <a:gd name="T19" fmla="*/ 357 h 852"/>
                  <a:gd name="T20" fmla="*/ 852 w 852"/>
                  <a:gd name="T21" fmla="*/ 425 h 852"/>
                  <a:gd name="T22" fmla="*/ 846 w 852"/>
                  <a:gd name="T23" fmla="*/ 495 h 852"/>
                  <a:gd name="T24" fmla="*/ 830 w 852"/>
                  <a:gd name="T25" fmla="*/ 561 h 852"/>
                  <a:gd name="T26" fmla="*/ 804 w 852"/>
                  <a:gd name="T27" fmla="*/ 621 h 852"/>
                  <a:gd name="T28" fmla="*/ 769 w 852"/>
                  <a:gd name="T29" fmla="*/ 678 h 852"/>
                  <a:gd name="T30" fmla="*/ 725 w 852"/>
                  <a:gd name="T31" fmla="*/ 728 h 852"/>
                  <a:gd name="T32" fmla="*/ 676 w 852"/>
                  <a:gd name="T33" fmla="*/ 770 h 852"/>
                  <a:gd name="T34" fmla="*/ 621 w 852"/>
                  <a:gd name="T35" fmla="*/ 805 h 852"/>
                  <a:gd name="T36" fmla="*/ 561 w 852"/>
                  <a:gd name="T37" fmla="*/ 830 h 852"/>
                  <a:gd name="T38" fmla="*/ 495 w 852"/>
                  <a:gd name="T39" fmla="*/ 847 h 852"/>
                  <a:gd name="T40" fmla="*/ 425 w 852"/>
                  <a:gd name="T41" fmla="*/ 852 h 852"/>
                  <a:gd name="T42" fmla="*/ 357 w 852"/>
                  <a:gd name="T43" fmla="*/ 847 h 852"/>
                  <a:gd name="T44" fmla="*/ 291 w 852"/>
                  <a:gd name="T45" fmla="*/ 830 h 852"/>
                  <a:gd name="T46" fmla="*/ 231 w 852"/>
                  <a:gd name="T47" fmla="*/ 805 h 852"/>
                  <a:gd name="T48" fmla="*/ 174 w 852"/>
                  <a:gd name="T49" fmla="*/ 770 h 852"/>
                  <a:gd name="T50" fmla="*/ 125 w 852"/>
                  <a:gd name="T51" fmla="*/ 728 h 852"/>
                  <a:gd name="T52" fmla="*/ 83 w 852"/>
                  <a:gd name="T53" fmla="*/ 678 h 852"/>
                  <a:gd name="T54" fmla="*/ 48 w 852"/>
                  <a:gd name="T55" fmla="*/ 621 h 852"/>
                  <a:gd name="T56" fmla="*/ 22 w 852"/>
                  <a:gd name="T57" fmla="*/ 561 h 852"/>
                  <a:gd name="T58" fmla="*/ 6 w 852"/>
                  <a:gd name="T59" fmla="*/ 495 h 852"/>
                  <a:gd name="T60" fmla="*/ 0 w 852"/>
                  <a:gd name="T61" fmla="*/ 425 h 852"/>
                  <a:gd name="T62" fmla="*/ 6 w 852"/>
                  <a:gd name="T63" fmla="*/ 357 h 852"/>
                  <a:gd name="T64" fmla="*/ 22 w 852"/>
                  <a:gd name="T65" fmla="*/ 291 h 852"/>
                  <a:gd name="T66" fmla="*/ 48 w 852"/>
                  <a:gd name="T67" fmla="*/ 231 h 852"/>
                  <a:gd name="T68" fmla="*/ 83 w 852"/>
                  <a:gd name="T69" fmla="*/ 174 h 852"/>
                  <a:gd name="T70" fmla="*/ 125 w 852"/>
                  <a:gd name="T71" fmla="*/ 124 h 852"/>
                  <a:gd name="T72" fmla="*/ 174 w 852"/>
                  <a:gd name="T73" fmla="*/ 82 h 852"/>
                  <a:gd name="T74" fmla="*/ 231 w 852"/>
                  <a:gd name="T75" fmla="*/ 47 h 852"/>
                  <a:gd name="T76" fmla="*/ 291 w 852"/>
                  <a:gd name="T77" fmla="*/ 22 h 852"/>
                  <a:gd name="T78" fmla="*/ 357 w 852"/>
                  <a:gd name="T79" fmla="*/ 5 h 852"/>
                  <a:gd name="T80" fmla="*/ 425 w 852"/>
                  <a:gd name="T81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52" h="852">
                    <a:moveTo>
                      <a:pt x="425" y="0"/>
                    </a:moveTo>
                    <a:lnTo>
                      <a:pt x="495" y="5"/>
                    </a:lnTo>
                    <a:lnTo>
                      <a:pt x="561" y="22"/>
                    </a:lnTo>
                    <a:lnTo>
                      <a:pt x="621" y="47"/>
                    </a:lnTo>
                    <a:lnTo>
                      <a:pt x="676" y="82"/>
                    </a:lnTo>
                    <a:lnTo>
                      <a:pt x="725" y="124"/>
                    </a:lnTo>
                    <a:lnTo>
                      <a:pt x="769" y="174"/>
                    </a:lnTo>
                    <a:lnTo>
                      <a:pt x="804" y="231"/>
                    </a:lnTo>
                    <a:lnTo>
                      <a:pt x="830" y="291"/>
                    </a:lnTo>
                    <a:lnTo>
                      <a:pt x="846" y="357"/>
                    </a:lnTo>
                    <a:lnTo>
                      <a:pt x="852" y="425"/>
                    </a:lnTo>
                    <a:lnTo>
                      <a:pt x="846" y="495"/>
                    </a:lnTo>
                    <a:lnTo>
                      <a:pt x="830" y="561"/>
                    </a:lnTo>
                    <a:lnTo>
                      <a:pt x="804" y="621"/>
                    </a:lnTo>
                    <a:lnTo>
                      <a:pt x="769" y="678"/>
                    </a:lnTo>
                    <a:lnTo>
                      <a:pt x="725" y="728"/>
                    </a:lnTo>
                    <a:lnTo>
                      <a:pt x="676" y="770"/>
                    </a:lnTo>
                    <a:lnTo>
                      <a:pt x="621" y="805"/>
                    </a:lnTo>
                    <a:lnTo>
                      <a:pt x="561" y="830"/>
                    </a:lnTo>
                    <a:lnTo>
                      <a:pt x="495" y="847"/>
                    </a:lnTo>
                    <a:lnTo>
                      <a:pt x="425" y="852"/>
                    </a:lnTo>
                    <a:lnTo>
                      <a:pt x="357" y="847"/>
                    </a:lnTo>
                    <a:lnTo>
                      <a:pt x="291" y="830"/>
                    </a:lnTo>
                    <a:lnTo>
                      <a:pt x="231" y="805"/>
                    </a:lnTo>
                    <a:lnTo>
                      <a:pt x="174" y="770"/>
                    </a:lnTo>
                    <a:lnTo>
                      <a:pt x="125" y="728"/>
                    </a:lnTo>
                    <a:lnTo>
                      <a:pt x="83" y="678"/>
                    </a:lnTo>
                    <a:lnTo>
                      <a:pt x="48" y="621"/>
                    </a:lnTo>
                    <a:lnTo>
                      <a:pt x="22" y="561"/>
                    </a:lnTo>
                    <a:lnTo>
                      <a:pt x="6" y="495"/>
                    </a:lnTo>
                    <a:lnTo>
                      <a:pt x="0" y="425"/>
                    </a:lnTo>
                    <a:lnTo>
                      <a:pt x="6" y="357"/>
                    </a:lnTo>
                    <a:lnTo>
                      <a:pt x="22" y="291"/>
                    </a:lnTo>
                    <a:lnTo>
                      <a:pt x="48" y="231"/>
                    </a:lnTo>
                    <a:lnTo>
                      <a:pt x="83" y="174"/>
                    </a:lnTo>
                    <a:lnTo>
                      <a:pt x="125" y="124"/>
                    </a:lnTo>
                    <a:lnTo>
                      <a:pt x="174" y="82"/>
                    </a:lnTo>
                    <a:lnTo>
                      <a:pt x="231" y="47"/>
                    </a:lnTo>
                    <a:lnTo>
                      <a:pt x="291" y="22"/>
                    </a:lnTo>
                    <a:lnTo>
                      <a:pt x="357" y="5"/>
                    </a:lnTo>
                    <a:lnTo>
                      <a:pt x="42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292D33F5-1443-47DC-A3A6-02639519AB7A}"/>
              </a:ext>
            </a:extLst>
          </p:cNvPr>
          <p:cNvGrpSpPr/>
          <p:nvPr/>
        </p:nvGrpSpPr>
        <p:grpSpPr>
          <a:xfrm>
            <a:off x="32781" y="3786342"/>
            <a:ext cx="1108564" cy="1045693"/>
            <a:chOff x="5484813" y="1069975"/>
            <a:chExt cx="5762625" cy="4530725"/>
          </a:xfrm>
        </p:grpSpPr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1252CC85-22CE-4221-82DA-A6B0DF8BA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7988" y="2133600"/>
              <a:ext cx="1949450" cy="194945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Freeform 210">
              <a:extLst>
                <a:ext uri="{FF2B5EF4-FFF2-40B4-BE49-F238E27FC236}">
                  <a16:creationId xmlns:a16="http://schemas.microsoft.com/office/drawing/2014/main" id="{785A82A5-E1C2-4059-8EAE-705CDABE7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2495550"/>
              <a:ext cx="649288" cy="1223963"/>
            </a:xfrm>
            <a:custGeom>
              <a:avLst/>
              <a:gdLst>
                <a:gd name="T0" fmla="*/ 204 w 409"/>
                <a:gd name="T1" fmla="*/ 0 h 771"/>
                <a:gd name="T2" fmla="*/ 241 w 409"/>
                <a:gd name="T3" fmla="*/ 3 h 771"/>
                <a:gd name="T4" fmla="*/ 276 w 409"/>
                <a:gd name="T5" fmla="*/ 13 h 771"/>
                <a:gd name="T6" fmla="*/ 308 w 409"/>
                <a:gd name="T7" fmla="*/ 28 h 771"/>
                <a:gd name="T8" fmla="*/ 336 w 409"/>
                <a:gd name="T9" fmla="*/ 48 h 771"/>
                <a:gd name="T10" fmla="*/ 360 w 409"/>
                <a:gd name="T11" fmla="*/ 72 h 771"/>
                <a:gd name="T12" fmla="*/ 381 w 409"/>
                <a:gd name="T13" fmla="*/ 101 h 771"/>
                <a:gd name="T14" fmla="*/ 396 w 409"/>
                <a:gd name="T15" fmla="*/ 133 h 771"/>
                <a:gd name="T16" fmla="*/ 406 w 409"/>
                <a:gd name="T17" fmla="*/ 168 h 771"/>
                <a:gd name="T18" fmla="*/ 409 w 409"/>
                <a:gd name="T19" fmla="*/ 204 h 771"/>
                <a:gd name="T20" fmla="*/ 406 w 409"/>
                <a:gd name="T21" fmla="*/ 240 h 771"/>
                <a:gd name="T22" fmla="*/ 397 w 409"/>
                <a:gd name="T23" fmla="*/ 273 h 771"/>
                <a:gd name="T24" fmla="*/ 384 w 409"/>
                <a:gd name="T25" fmla="*/ 303 h 771"/>
                <a:gd name="T26" fmla="*/ 365 w 409"/>
                <a:gd name="T27" fmla="*/ 332 h 771"/>
                <a:gd name="T28" fmla="*/ 342 w 409"/>
                <a:gd name="T29" fmla="*/ 356 h 771"/>
                <a:gd name="T30" fmla="*/ 315 w 409"/>
                <a:gd name="T31" fmla="*/ 376 h 771"/>
                <a:gd name="T32" fmla="*/ 385 w 409"/>
                <a:gd name="T33" fmla="*/ 771 h 771"/>
                <a:gd name="T34" fmla="*/ 23 w 409"/>
                <a:gd name="T35" fmla="*/ 771 h 771"/>
                <a:gd name="T36" fmla="*/ 93 w 409"/>
                <a:gd name="T37" fmla="*/ 376 h 771"/>
                <a:gd name="T38" fmla="*/ 67 w 409"/>
                <a:gd name="T39" fmla="*/ 356 h 771"/>
                <a:gd name="T40" fmla="*/ 44 w 409"/>
                <a:gd name="T41" fmla="*/ 332 h 771"/>
                <a:gd name="T42" fmla="*/ 25 w 409"/>
                <a:gd name="T43" fmla="*/ 303 h 771"/>
                <a:gd name="T44" fmla="*/ 12 w 409"/>
                <a:gd name="T45" fmla="*/ 273 h 771"/>
                <a:gd name="T46" fmla="*/ 3 w 409"/>
                <a:gd name="T47" fmla="*/ 240 h 771"/>
                <a:gd name="T48" fmla="*/ 0 w 409"/>
                <a:gd name="T49" fmla="*/ 204 h 771"/>
                <a:gd name="T50" fmla="*/ 3 w 409"/>
                <a:gd name="T51" fmla="*/ 168 h 771"/>
                <a:gd name="T52" fmla="*/ 13 w 409"/>
                <a:gd name="T53" fmla="*/ 133 h 771"/>
                <a:gd name="T54" fmla="*/ 27 w 409"/>
                <a:gd name="T55" fmla="*/ 101 h 771"/>
                <a:gd name="T56" fmla="*/ 48 w 409"/>
                <a:gd name="T57" fmla="*/ 72 h 771"/>
                <a:gd name="T58" fmla="*/ 72 w 409"/>
                <a:gd name="T59" fmla="*/ 48 h 771"/>
                <a:gd name="T60" fmla="*/ 101 w 409"/>
                <a:gd name="T61" fmla="*/ 28 h 771"/>
                <a:gd name="T62" fmla="*/ 133 w 409"/>
                <a:gd name="T63" fmla="*/ 13 h 771"/>
                <a:gd name="T64" fmla="*/ 168 w 409"/>
                <a:gd name="T65" fmla="*/ 3 h 771"/>
                <a:gd name="T66" fmla="*/ 204 w 409"/>
                <a:gd name="T67" fmla="*/ 0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9" h="771">
                  <a:moveTo>
                    <a:pt x="204" y="0"/>
                  </a:moveTo>
                  <a:lnTo>
                    <a:pt x="241" y="3"/>
                  </a:lnTo>
                  <a:lnTo>
                    <a:pt x="276" y="13"/>
                  </a:lnTo>
                  <a:lnTo>
                    <a:pt x="308" y="28"/>
                  </a:lnTo>
                  <a:lnTo>
                    <a:pt x="336" y="48"/>
                  </a:lnTo>
                  <a:lnTo>
                    <a:pt x="360" y="72"/>
                  </a:lnTo>
                  <a:lnTo>
                    <a:pt x="381" y="101"/>
                  </a:lnTo>
                  <a:lnTo>
                    <a:pt x="396" y="133"/>
                  </a:lnTo>
                  <a:lnTo>
                    <a:pt x="406" y="168"/>
                  </a:lnTo>
                  <a:lnTo>
                    <a:pt x="409" y="204"/>
                  </a:lnTo>
                  <a:lnTo>
                    <a:pt x="406" y="240"/>
                  </a:lnTo>
                  <a:lnTo>
                    <a:pt x="397" y="273"/>
                  </a:lnTo>
                  <a:lnTo>
                    <a:pt x="384" y="303"/>
                  </a:lnTo>
                  <a:lnTo>
                    <a:pt x="365" y="332"/>
                  </a:lnTo>
                  <a:lnTo>
                    <a:pt x="342" y="356"/>
                  </a:lnTo>
                  <a:lnTo>
                    <a:pt x="315" y="376"/>
                  </a:lnTo>
                  <a:lnTo>
                    <a:pt x="385" y="771"/>
                  </a:lnTo>
                  <a:lnTo>
                    <a:pt x="23" y="771"/>
                  </a:lnTo>
                  <a:lnTo>
                    <a:pt x="93" y="376"/>
                  </a:lnTo>
                  <a:lnTo>
                    <a:pt x="67" y="356"/>
                  </a:lnTo>
                  <a:lnTo>
                    <a:pt x="44" y="332"/>
                  </a:lnTo>
                  <a:lnTo>
                    <a:pt x="25" y="303"/>
                  </a:lnTo>
                  <a:lnTo>
                    <a:pt x="12" y="273"/>
                  </a:lnTo>
                  <a:lnTo>
                    <a:pt x="3" y="240"/>
                  </a:lnTo>
                  <a:lnTo>
                    <a:pt x="0" y="204"/>
                  </a:lnTo>
                  <a:lnTo>
                    <a:pt x="3" y="168"/>
                  </a:lnTo>
                  <a:lnTo>
                    <a:pt x="13" y="133"/>
                  </a:lnTo>
                  <a:lnTo>
                    <a:pt x="27" y="101"/>
                  </a:lnTo>
                  <a:lnTo>
                    <a:pt x="48" y="72"/>
                  </a:lnTo>
                  <a:lnTo>
                    <a:pt x="72" y="48"/>
                  </a:lnTo>
                  <a:lnTo>
                    <a:pt x="101" y="28"/>
                  </a:lnTo>
                  <a:lnTo>
                    <a:pt x="133" y="13"/>
                  </a:lnTo>
                  <a:lnTo>
                    <a:pt x="168" y="3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000000">
                <a:lumMod val="75000"/>
                <a:lumOff val="25000"/>
                <a:alpha val="39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11">
              <a:extLst>
                <a:ext uri="{FF2B5EF4-FFF2-40B4-BE49-F238E27FC236}">
                  <a16:creationId xmlns:a16="http://schemas.microsoft.com/office/drawing/2014/main" id="{4388EAA3-5462-4AC3-BBE1-44184E5D7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2301" y="1069975"/>
              <a:ext cx="1522413" cy="1063625"/>
            </a:xfrm>
            <a:custGeom>
              <a:avLst/>
              <a:gdLst>
                <a:gd name="T0" fmla="*/ 204 w 959"/>
                <a:gd name="T1" fmla="*/ 0 h 670"/>
                <a:gd name="T2" fmla="*/ 754 w 959"/>
                <a:gd name="T3" fmla="*/ 0 h 670"/>
                <a:gd name="T4" fmla="*/ 792 w 959"/>
                <a:gd name="T5" fmla="*/ 4 h 670"/>
                <a:gd name="T6" fmla="*/ 826 w 959"/>
                <a:gd name="T7" fmla="*/ 13 h 670"/>
                <a:gd name="T8" fmla="*/ 858 w 959"/>
                <a:gd name="T9" fmla="*/ 29 h 670"/>
                <a:gd name="T10" fmla="*/ 886 w 959"/>
                <a:gd name="T11" fmla="*/ 49 h 670"/>
                <a:gd name="T12" fmla="*/ 910 w 959"/>
                <a:gd name="T13" fmla="*/ 73 h 670"/>
                <a:gd name="T14" fmla="*/ 931 w 959"/>
                <a:gd name="T15" fmla="*/ 101 h 670"/>
                <a:gd name="T16" fmla="*/ 947 w 959"/>
                <a:gd name="T17" fmla="*/ 133 h 670"/>
                <a:gd name="T18" fmla="*/ 956 w 959"/>
                <a:gd name="T19" fmla="*/ 169 h 670"/>
                <a:gd name="T20" fmla="*/ 959 w 959"/>
                <a:gd name="T21" fmla="*/ 205 h 670"/>
                <a:gd name="T22" fmla="*/ 959 w 959"/>
                <a:gd name="T23" fmla="*/ 670 h 670"/>
                <a:gd name="T24" fmla="*/ 786 w 959"/>
                <a:gd name="T25" fmla="*/ 670 h 670"/>
                <a:gd name="T26" fmla="*/ 786 w 959"/>
                <a:gd name="T27" fmla="*/ 275 h 670"/>
                <a:gd name="T28" fmla="*/ 783 w 959"/>
                <a:gd name="T29" fmla="*/ 252 h 670"/>
                <a:gd name="T30" fmla="*/ 775 w 959"/>
                <a:gd name="T31" fmla="*/ 231 h 670"/>
                <a:gd name="T32" fmla="*/ 763 w 959"/>
                <a:gd name="T33" fmla="*/ 212 h 670"/>
                <a:gd name="T34" fmla="*/ 748 w 959"/>
                <a:gd name="T35" fmla="*/ 196 h 670"/>
                <a:gd name="T36" fmla="*/ 729 w 959"/>
                <a:gd name="T37" fmla="*/ 184 h 670"/>
                <a:gd name="T38" fmla="*/ 707 w 959"/>
                <a:gd name="T39" fmla="*/ 176 h 670"/>
                <a:gd name="T40" fmla="*/ 684 w 959"/>
                <a:gd name="T41" fmla="*/ 173 h 670"/>
                <a:gd name="T42" fmla="*/ 275 w 959"/>
                <a:gd name="T43" fmla="*/ 173 h 670"/>
                <a:gd name="T44" fmla="*/ 252 w 959"/>
                <a:gd name="T45" fmla="*/ 176 h 670"/>
                <a:gd name="T46" fmla="*/ 230 w 959"/>
                <a:gd name="T47" fmla="*/ 184 h 670"/>
                <a:gd name="T48" fmla="*/ 211 w 959"/>
                <a:gd name="T49" fmla="*/ 196 h 670"/>
                <a:gd name="T50" fmla="*/ 195 w 959"/>
                <a:gd name="T51" fmla="*/ 212 h 670"/>
                <a:gd name="T52" fmla="*/ 183 w 959"/>
                <a:gd name="T53" fmla="*/ 231 h 670"/>
                <a:gd name="T54" fmla="*/ 175 w 959"/>
                <a:gd name="T55" fmla="*/ 252 h 670"/>
                <a:gd name="T56" fmla="*/ 172 w 959"/>
                <a:gd name="T57" fmla="*/ 275 h 670"/>
                <a:gd name="T58" fmla="*/ 172 w 959"/>
                <a:gd name="T59" fmla="*/ 670 h 670"/>
                <a:gd name="T60" fmla="*/ 0 w 959"/>
                <a:gd name="T61" fmla="*/ 670 h 670"/>
                <a:gd name="T62" fmla="*/ 0 w 959"/>
                <a:gd name="T63" fmla="*/ 205 h 670"/>
                <a:gd name="T64" fmla="*/ 3 w 959"/>
                <a:gd name="T65" fmla="*/ 169 h 670"/>
                <a:gd name="T66" fmla="*/ 12 w 959"/>
                <a:gd name="T67" fmla="*/ 133 h 670"/>
                <a:gd name="T68" fmla="*/ 27 w 959"/>
                <a:gd name="T69" fmla="*/ 101 h 670"/>
                <a:gd name="T70" fmla="*/ 48 w 959"/>
                <a:gd name="T71" fmla="*/ 73 h 670"/>
                <a:gd name="T72" fmla="*/ 72 w 959"/>
                <a:gd name="T73" fmla="*/ 49 h 670"/>
                <a:gd name="T74" fmla="*/ 101 w 959"/>
                <a:gd name="T75" fmla="*/ 29 h 670"/>
                <a:gd name="T76" fmla="*/ 133 w 959"/>
                <a:gd name="T77" fmla="*/ 13 h 670"/>
                <a:gd name="T78" fmla="*/ 167 w 959"/>
                <a:gd name="T79" fmla="*/ 4 h 670"/>
                <a:gd name="T80" fmla="*/ 204 w 959"/>
                <a:gd name="T81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9" h="670">
                  <a:moveTo>
                    <a:pt x="204" y="0"/>
                  </a:moveTo>
                  <a:lnTo>
                    <a:pt x="754" y="0"/>
                  </a:lnTo>
                  <a:lnTo>
                    <a:pt x="792" y="4"/>
                  </a:lnTo>
                  <a:lnTo>
                    <a:pt x="826" y="13"/>
                  </a:lnTo>
                  <a:lnTo>
                    <a:pt x="858" y="29"/>
                  </a:lnTo>
                  <a:lnTo>
                    <a:pt x="886" y="49"/>
                  </a:lnTo>
                  <a:lnTo>
                    <a:pt x="910" y="73"/>
                  </a:lnTo>
                  <a:lnTo>
                    <a:pt x="931" y="101"/>
                  </a:lnTo>
                  <a:lnTo>
                    <a:pt x="947" y="133"/>
                  </a:lnTo>
                  <a:lnTo>
                    <a:pt x="956" y="169"/>
                  </a:lnTo>
                  <a:lnTo>
                    <a:pt x="959" y="205"/>
                  </a:lnTo>
                  <a:lnTo>
                    <a:pt x="959" y="670"/>
                  </a:lnTo>
                  <a:lnTo>
                    <a:pt x="786" y="670"/>
                  </a:lnTo>
                  <a:lnTo>
                    <a:pt x="786" y="275"/>
                  </a:lnTo>
                  <a:lnTo>
                    <a:pt x="783" y="252"/>
                  </a:lnTo>
                  <a:lnTo>
                    <a:pt x="775" y="231"/>
                  </a:lnTo>
                  <a:lnTo>
                    <a:pt x="763" y="212"/>
                  </a:lnTo>
                  <a:lnTo>
                    <a:pt x="748" y="196"/>
                  </a:lnTo>
                  <a:lnTo>
                    <a:pt x="729" y="184"/>
                  </a:lnTo>
                  <a:lnTo>
                    <a:pt x="707" y="176"/>
                  </a:lnTo>
                  <a:lnTo>
                    <a:pt x="684" y="173"/>
                  </a:lnTo>
                  <a:lnTo>
                    <a:pt x="275" y="173"/>
                  </a:lnTo>
                  <a:lnTo>
                    <a:pt x="252" y="176"/>
                  </a:lnTo>
                  <a:lnTo>
                    <a:pt x="230" y="184"/>
                  </a:lnTo>
                  <a:lnTo>
                    <a:pt x="211" y="196"/>
                  </a:lnTo>
                  <a:lnTo>
                    <a:pt x="195" y="212"/>
                  </a:lnTo>
                  <a:lnTo>
                    <a:pt x="183" y="231"/>
                  </a:lnTo>
                  <a:lnTo>
                    <a:pt x="175" y="252"/>
                  </a:lnTo>
                  <a:lnTo>
                    <a:pt x="172" y="275"/>
                  </a:lnTo>
                  <a:lnTo>
                    <a:pt x="172" y="670"/>
                  </a:lnTo>
                  <a:lnTo>
                    <a:pt x="0" y="670"/>
                  </a:lnTo>
                  <a:lnTo>
                    <a:pt x="0" y="205"/>
                  </a:lnTo>
                  <a:lnTo>
                    <a:pt x="3" y="169"/>
                  </a:lnTo>
                  <a:lnTo>
                    <a:pt x="12" y="133"/>
                  </a:lnTo>
                  <a:lnTo>
                    <a:pt x="27" y="101"/>
                  </a:lnTo>
                  <a:lnTo>
                    <a:pt x="48" y="73"/>
                  </a:lnTo>
                  <a:lnTo>
                    <a:pt x="72" y="49"/>
                  </a:lnTo>
                  <a:lnTo>
                    <a:pt x="101" y="29"/>
                  </a:lnTo>
                  <a:lnTo>
                    <a:pt x="133" y="13"/>
                  </a:lnTo>
                  <a:lnTo>
                    <a:pt x="167" y="4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12">
              <a:extLst>
                <a:ext uri="{FF2B5EF4-FFF2-40B4-BE49-F238E27FC236}">
                  <a16:creationId xmlns:a16="http://schemas.microsoft.com/office/drawing/2014/main" id="{FC2F740B-9C2A-4CD3-A01F-533FE0978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2273300"/>
              <a:ext cx="3983038" cy="2619375"/>
            </a:xfrm>
            <a:custGeom>
              <a:avLst/>
              <a:gdLst>
                <a:gd name="T0" fmla="*/ 87 w 2509"/>
                <a:gd name="T1" fmla="*/ 0 h 1650"/>
                <a:gd name="T2" fmla="*/ 2422 w 2509"/>
                <a:gd name="T3" fmla="*/ 0 h 1650"/>
                <a:gd name="T4" fmla="*/ 2445 w 2509"/>
                <a:gd name="T5" fmla="*/ 3 h 1650"/>
                <a:gd name="T6" fmla="*/ 2466 w 2509"/>
                <a:gd name="T7" fmla="*/ 12 h 1650"/>
                <a:gd name="T8" fmla="*/ 2483 w 2509"/>
                <a:gd name="T9" fmla="*/ 25 h 1650"/>
                <a:gd name="T10" fmla="*/ 2497 w 2509"/>
                <a:gd name="T11" fmla="*/ 43 h 1650"/>
                <a:gd name="T12" fmla="*/ 2505 w 2509"/>
                <a:gd name="T13" fmla="*/ 64 h 1650"/>
                <a:gd name="T14" fmla="*/ 2509 w 2509"/>
                <a:gd name="T15" fmla="*/ 87 h 1650"/>
                <a:gd name="T16" fmla="*/ 2509 w 2509"/>
                <a:gd name="T17" fmla="*/ 1563 h 1650"/>
                <a:gd name="T18" fmla="*/ 2505 w 2509"/>
                <a:gd name="T19" fmla="*/ 1586 h 1650"/>
                <a:gd name="T20" fmla="*/ 2497 w 2509"/>
                <a:gd name="T21" fmla="*/ 1607 h 1650"/>
                <a:gd name="T22" fmla="*/ 2483 w 2509"/>
                <a:gd name="T23" fmla="*/ 1625 h 1650"/>
                <a:gd name="T24" fmla="*/ 2466 w 2509"/>
                <a:gd name="T25" fmla="*/ 1638 h 1650"/>
                <a:gd name="T26" fmla="*/ 2445 w 2509"/>
                <a:gd name="T27" fmla="*/ 1647 h 1650"/>
                <a:gd name="T28" fmla="*/ 2422 w 2509"/>
                <a:gd name="T29" fmla="*/ 1650 h 1650"/>
                <a:gd name="T30" fmla="*/ 87 w 2509"/>
                <a:gd name="T31" fmla="*/ 1650 h 1650"/>
                <a:gd name="T32" fmla="*/ 63 w 2509"/>
                <a:gd name="T33" fmla="*/ 1647 h 1650"/>
                <a:gd name="T34" fmla="*/ 43 w 2509"/>
                <a:gd name="T35" fmla="*/ 1638 h 1650"/>
                <a:gd name="T36" fmla="*/ 25 w 2509"/>
                <a:gd name="T37" fmla="*/ 1625 h 1650"/>
                <a:gd name="T38" fmla="*/ 12 w 2509"/>
                <a:gd name="T39" fmla="*/ 1607 h 1650"/>
                <a:gd name="T40" fmla="*/ 3 w 2509"/>
                <a:gd name="T41" fmla="*/ 1586 h 1650"/>
                <a:gd name="T42" fmla="*/ 0 w 2509"/>
                <a:gd name="T43" fmla="*/ 1563 h 1650"/>
                <a:gd name="T44" fmla="*/ 0 w 2509"/>
                <a:gd name="T45" fmla="*/ 87 h 1650"/>
                <a:gd name="T46" fmla="*/ 3 w 2509"/>
                <a:gd name="T47" fmla="*/ 64 h 1650"/>
                <a:gd name="T48" fmla="*/ 12 w 2509"/>
                <a:gd name="T49" fmla="*/ 43 h 1650"/>
                <a:gd name="T50" fmla="*/ 25 w 2509"/>
                <a:gd name="T51" fmla="*/ 25 h 1650"/>
                <a:gd name="T52" fmla="*/ 43 w 2509"/>
                <a:gd name="T53" fmla="*/ 12 h 1650"/>
                <a:gd name="T54" fmla="*/ 63 w 2509"/>
                <a:gd name="T55" fmla="*/ 3 h 1650"/>
                <a:gd name="T56" fmla="*/ 87 w 2509"/>
                <a:gd name="T57" fmla="*/ 0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09" h="1650">
                  <a:moveTo>
                    <a:pt x="87" y="0"/>
                  </a:moveTo>
                  <a:lnTo>
                    <a:pt x="2422" y="0"/>
                  </a:lnTo>
                  <a:lnTo>
                    <a:pt x="2445" y="3"/>
                  </a:lnTo>
                  <a:lnTo>
                    <a:pt x="2466" y="12"/>
                  </a:lnTo>
                  <a:lnTo>
                    <a:pt x="2483" y="25"/>
                  </a:lnTo>
                  <a:lnTo>
                    <a:pt x="2497" y="43"/>
                  </a:lnTo>
                  <a:lnTo>
                    <a:pt x="2505" y="64"/>
                  </a:lnTo>
                  <a:lnTo>
                    <a:pt x="2509" y="87"/>
                  </a:lnTo>
                  <a:lnTo>
                    <a:pt x="2509" y="1563"/>
                  </a:lnTo>
                  <a:lnTo>
                    <a:pt x="2505" y="1586"/>
                  </a:lnTo>
                  <a:lnTo>
                    <a:pt x="2497" y="1607"/>
                  </a:lnTo>
                  <a:lnTo>
                    <a:pt x="2483" y="1625"/>
                  </a:lnTo>
                  <a:lnTo>
                    <a:pt x="2466" y="1638"/>
                  </a:lnTo>
                  <a:lnTo>
                    <a:pt x="2445" y="1647"/>
                  </a:lnTo>
                  <a:lnTo>
                    <a:pt x="2422" y="1650"/>
                  </a:lnTo>
                  <a:lnTo>
                    <a:pt x="87" y="1650"/>
                  </a:lnTo>
                  <a:lnTo>
                    <a:pt x="63" y="1647"/>
                  </a:lnTo>
                  <a:lnTo>
                    <a:pt x="43" y="1638"/>
                  </a:lnTo>
                  <a:lnTo>
                    <a:pt x="25" y="1625"/>
                  </a:lnTo>
                  <a:lnTo>
                    <a:pt x="12" y="1607"/>
                  </a:lnTo>
                  <a:lnTo>
                    <a:pt x="3" y="1586"/>
                  </a:lnTo>
                  <a:lnTo>
                    <a:pt x="0" y="1563"/>
                  </a:lnTo>
                  <a:lnTo>
                    <a:pt x="0" y="87"/>
                  </a:lnTo>
                  <a:lnTo>
                    <a:pt x="3" y="64"/>
                  </a:lnTo>
                  <a:lnTo>
                    <a:pt x="12" y="43"/>
                  </a:lnTo>
                  <a:lnTo>
                    <a:pt x="25" y="25"/>
                  </a:lnTo>
                  <a:lnTo>
                    <a:pt x="43" y="12"/>
                  </a:lnTo>
                  <a:lnTo>
                    <a:pt x="63" y="3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B06C3AE5-C06E-48FF-AEB3-E045B46D7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6" y="2547938"/>
              <a:ext cx="3568700" cy="19161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14">
              <a:extLst>
                <a:ext uri="{FF2B5EF4-FFF2-40B4-BE49-F238E27FC236}">
                  <a16:creationId xmlns:a16="http://schemas.microsoft.com/office/drawing/2014/main" id="{54D343C4-E884-42A7-96AE-A08A1A33A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476" y="2365375"/>
              <a:ext cx="100013" cy="100013"/>
            </a:xfrm>
            <a:custGeom>
              <a:avLst/>
              <a:gdLst>
                <a:gd name="T0" fmla="*/ 32 w 63"/>
                <a:gd name="T1" fmla="*/ 0 h 63"/>
                <a:gd name="T2" fmla="*/ 44 w 63"/>
                <a:gd name="T3" fmla="*/ 2 h 63"/>
                <a:gd name="T4" fmla="*/ 54 w 63"/>
                <a:gd name="T5" fmla="*/ 9 h 63"/>
                <a:gd name="T6" fmla="*/ 60 w 63"/>
                <a:gd name="T7" fmla="*/ 19 h 63"/>
                <a:gd name="T8" fmla="*/ 63 w 63"/>
                <a:gd name="T9" fmla="*/ 31 h 63"/>
                <a:gd name="T10" fmla="*/ 60 w 63"/>
                <a:gd name="T11" fmla="*/ 43 h 63"/>
                <a:gd name="T12" fmla="*/ 54 w 63"/>
                <a:gd name="T13" fmla="*/ 53 h 63"/>
                <a:gd name="T14" fmla="*/ 44 w 63"/>
                <a:gd name="T15" fmla="*/ 61 h 63"/>
                <a:gd name="T16" fmla="*/ 32 w 63"/>
                <a:gd name="T17" fmla="*/ 63 h 63"/>
                <a:gd name="T18" fmla="*/ 19 w 63"/>
                <a:gd name="T19" fmla="*/ 61 h 63"/>
                <a:gd name="T20" fmla="*/ 9 w 63"/>
                <a:gd name="T21" fmla="*/ 53 h 63"/>
                <a:gd name="T22" fmla="*/ 2 w 63"/>
                <a:gd name="T23" fmla="*/ 43 h 63"/>
                <a:gd name="T24" fmla="*/ 0 w 63"/>
                <a:gd name="T25" fmla="*/ 31 h 63"/>
                <a:gd name="T26" fmla="*/ 2 w 63"/>
                <a:gd name="T27" fmla="*/ 19 h 63"/>
                <a:gd name="T28" fmla="*/ 9 w 63"/>
                <a:gd name="T29" fmla="*/ 9 h 63"/>
                <a:gd name="T30" fmla="*/ 19 w 63"/>
                <a:gd name="T31" fmla="*/ 2 h 63"/>
                <a:gd name="T32" fmla="*/ 32 w 63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lnTo>
                    <a:pt x="44" y="2"/>
                  </a:lnTo>
                  <a:lnTo>
                    <a:pt x="54" y="9"/>
                  </a:lnTo>
                  <a:lnTo>
                    <a:pt x="60" y="19"/>
                  </a:lnTo>
                  <a:lnTo>
                    <a:pt x="63" y="31"/>
                  </a:lnTo>
                  <a:lnTo>
                    <a:pt x="60" y="43"/>
                  </a:lnTo>
                  <a:lnTo>
                    <a:pt x="54" y="53"/>
                  </a:lnTo>
                  <a:lnTo>
                    <a:pt x="44" y="61"/>
                  </a:lnTo>
                  <a:lnTo>
                    <a:pt x="32" y="63"/>
                  </a:lnTo>
                  <a:lnTo>
                    <a:pt x="19" y="61"/>
                  </a:lnTo>
                  <a:lnTo>
                    <a:pt x="9" y="53"/>
                  </a:lnTo>
                  <a:lnTo>
                    <a:pt x="2" y="43"/>
                  </a:lnTo>
                  <a:lnTo>
                    <a:pt x="0" y="31"/>
                  </a:lnTo>
                  <a:lnTo>
                    <a:pt x="2" y="19"/>
                  </a:lnTo>
                  <a:lnTo>
                    <a:pt x="9" y="9"/>
                  </a:lnTo>
                  <a:lnTo>
                    <a:pt x="19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EFF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Rectangle 12">
              <a:extLst>
                <a:ext uri="{FF2B5EF4-FFF2-40B4-BE49-F238E27FC236}">
                  <a16:creationId xmlns:a16="http://schemas.microsoft.com/office/drawing/2014/main" id="{64C0869B-226E-4949-859A-40217D705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551" y="4583113"/>
              <a:ext cx="169863" cy="169863"/>
            </a:xfrm>
            <a:prstGeom prst="rect">
              <a:avLst/>
            </a:prstGeom>
            <a:solidFill>
              <a:srgbClr val="DEFFF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13">
              <a:extLst>
                <a:ext uri="{FF2B5EF4-FFF2-40B4-BE49-F238E27FC236}">
                  <a16:creationId xmlns:a16="http://schemas.microsoft.com/office/drawing/2014/main" id="{6947A087-BE7B-40AB-B53E-5EC6F5992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4892675"/>
              <a:ext cx="5365750" cy="454025"/>
            </a:xfrm>
            <a:custGeom>
              <a:avLst/>
              <a:gdLst>
                <a:gd name="T0" fmla="*/ 436 w 3380"/>
                <a:gd name="T1" fmla="*/ 0 h 286"/>
                <a:gd name="T2" fmla="*/ 2945 w 3380"/>
                <a:gd name="T3" fmla="*/ 0 h 286"/>
                <a:gd name="T4" fmla="*/ 3380 w 3380"/>
                <a:gd name="T5" fmla="*/ 286 h 286"/>
                <a:gd name="T6" fmla="*/ 0 w 3380"/>
                <a:gd name="T7" fmla="*/ 286 h 286"/>
                <a:gd name="T8" fmla="*/ 436 w 3380"/>
                <a:gd name="T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0" h="286">
                  <a:moveTo>
                    <a:pt x="436" y="0"/>
                  </a:moveTo>
                  <a:lnTo>
                    <a:pt x="2945" y="0"/>
                  </a:lnTo>
                  <a:lnTo>
                    <a:pt x="3380" y="286"/>
                  </a:lnTo>
                  <a:lnTo>
                    <a:pt x="0" y="286"/>
                  </a:lnTo>
                  <a:lnTo>
                    <a:pt x="43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14">
              <a:extLst>
                <a:ext uri="{FF2B5EF4-FFF2-40B4-BE49-F238E27FC236}">
                  <a16:creationId xmlns:a16="http://schemas.microsoft.com/office/drawing/2014/main" id="{90AEF2BC-9B25-49DA-B12B-40553B6FD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5346700"/>
              <a:ext cx="5365750" cy="254000"/>
            </a:xfrm>
            <a:custGeom>
              <a:avLst/>
              <a:gdLst>
                <a:gd name="T0" fmla="*/ 0 w 3380"/>
                <a:gd name="T1" fmla="*/ 0 h 160"/>
                <a:gd name="T2" fmla="*/ 3380 w 3380"/>
                <a:gd name="T3" fmla="*/ 0 h 160"/>
                <a:gd name="T4" fmla="*/ 3380 w 3380"/>
                <a:gd name="T5" fmla="*/ 97 h 160"/>
                <a:gd name="T6" fmla="*/ 3377 w 3380"/>
                <a:gd name="T7" fmla="*/ 117 h 160"/>
                <a:gd name="T8" fmla="*/ 3368 w 3380"/>
                <a:gd name="T9" fmla="*/ 135 h 160"/>
                <a:gd name="T10" fmla="*/ 3355 w 3380"/>
                <a:gd name="T11" fmla="*/ 148 h 160"/>
                <a:gd name="T12" fmla="*/ 3337 w 3380"/>
                <a:gd name="T13" fmla="*/ 158 h 160"/>
                <a:gd name="T14" fmla="*/ 3318 w 3380"/>
                <a:gd name="T15" fmla="*/ 160 h 160"/>
                <a:gd name="T16" fmla="*/ 63 w 3380"/>
                <a:gd name="T17" fmla="*/ 160 h 160"/>
                <a:gd name="T18" fmla="*/ 43 w 3380"/>
                <a:gd name="T19" fmla="*/ 158 h 160"/>
                <a:gd name="T20" fmla="*/ 25 w 3380"/>
                <a:gd name="T21" fmla="*/ 148 h 160"/>
                <a:gd name="T22" fmla="*/ 12 w 3380"/>
                <a:gd name="T23" fmla="*/ 135 h 160"/>
                <a:gd name="T24" fmla="*/ 3 w 3380"/>
                <a:gd name="T25" fmla="*/ 117 h 160"/>
                <a:gd name="T26" fmla="*/ 0 w 3380"/>
                <a:gd name="T27" fmla="*/ 97 h 160"/>
                <a:gd name="T28" fmla="*/ 0 w 3380"/>
                <a:gd name="T2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80" h="160">
                  <a:moveTo>
                    <a:pt x="0" y="0"/>
                  </a:moveTo>
                  <a:lnTo>
                    <a:pt x="3380" y="0"/>
                  </a:lnTo>
                  <a:lnTo>
                    <a:pt x="3380" y="97"/>
                  </a:lnTo>
                  <a:lnTo>
                    <a:pt x="3377" y="117"/>
                  </a:lnTo>
                  <a:lnTo>
                    <a:pt x="3368" y="135"/>
                  </a:lnTo>
                  <a:lnTo>
                    <a:pt x="3355" y="148"/>
                  </a:lnTo>
                  <a:lnTo>
                    <a:pt x="3337" y="158"/>
                  </a:lnTo>
                  <a:lnTo>
                    <a:pt x="3318" y="160"/>
                  </a:lnTo>
                  <a:lnTo>
                    <a:pt x="63" y="160"/>
                  </a:lnTo>
                  <a:lnTo>
                    <a:pt x="43" y="158"/>
                  </a:lnTo>
                  <a:lnTo>
                    <a:pt x="25" y="148"/>
                  </a:lnTo>
                  <a:lnTo>
                    <a:pt x="12" y="135"/>
                  </a:lnTo>
                  <a:lnTo>
                    <a:pt x="3" y="117"/>
                  </a:lnTo>
                  <a:lnTo>
                    <a:pt x="0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Rectangle 15">
              <a:extLst>
                <a:ext uri="{FF2B5EF4-FFF2-40B4-BE49-F238E27FC236}">
                  <a16:creationId xmlns:a16="http://schemas.microsoft.com/office/drawing/2014/main" id="{D28DFF15-3BC1-47E1-A808-826E91EAA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351" y="5478463"/>
              <a:ext cx="1084263" cy="6985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Rectangle 16">
              <a:extLst>
                <a:ext uri="{FF2B5EF4-FFF2-40B4-BE49-F238E27FC236}">
                  <a16:creationId xmlns:a16="http://schemas.microsoft.com/office/drawing/2014/main" id="{40E1D275-B89E-4D67-9750-B7C61FB170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813" y="5346700"/>
              <a:ext cx="5365750" cy="77788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17">
              <a:extLst>
                <a:ext uri="{FF2B5EF4-FFF2-40B4-BE49-F238E27FC236}">
                  <a16:creationId xmlns:a16="http://schemas.microsoft.com/office/drawing/2014/main" id="{7F830C8D-974A-4EB6-AE2B-E09B51C71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3426" y="4964113"/>
              <a:ext cx="4710113" cy="306388"/>
            </a:xfrm>
            <a:custGeom>
              <a:avLst/>
              <a:gdLst>
                <a:gd name="T0" fmla="*/ 294 w 2967"/>
                <a:gd name="T1" fmla="*/ 0 h 193"/>
                <a:gd name="T2" fmla="*/ 2674 w 2967"/>
                <a:gd name="T3" fmla="*/ 0 h 193"/>
                <a:gd name="T4" fmla="*/ 2967 w 2967"/>
                <a:gd name="T5" fmla="*/ 193 h 193"/>
                <a:gd name="T6" fmla="*/ 0 w 2967"/>
                <a:gd name="T7" fmla="*/ 193 h 193"/>
                <a:gd name="T8" fmla="*/ 294 w 2967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7" h="193">
                  <a:moveTo>
                    <a:pt x="294" y="0"/>
                  </a:moveTo>
                  <a:lnTo>
                    <a:pt x="2674" y="0"/>
                  </a:lnTo>
                  <a:lnTo>
                    <a:pt x="2967" y="193"/>
                  </a:lnTo>
                  <a:lnTo>
                    <a:pt x="0" y="19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Rectangle 18">
              <a:extLst>
                <a:ext uri="{FF2B5EF4-FFF2-40B4-BE49-F238E27FC236}">
                  <a16:creationId xmlns:a16="http://schemas.microsoft.com/office/drawing/2014/main" id="{C208BC7E-39BA-43D5-A76F-9A5DA9B20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35938" y="4937125"/>
              <a:ext cx="50800" cy="363538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19">
              <a:extLst>
                <a:ext uri="{FF2B5EF4-FFF2-40B4-BE49-F238E27FC236}">
                  <a16:creationId xmlns:a16="http://schemas.microsoft.com/office/drawing/2014/main" id="{6ECC4809-250E-4780-A4AA-2CA0829CD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1713" y="4929188"/>
              <a:ext cx="141288" cy="376238"/>
            </a:xfrm>
            <a:custGeom>
              <a:avLst/>
              <a:gdLst>
                <a:gd name="T0" fmla="*/ 30 w 89"/>
                <a:gd name="T1" fmla="*/ 0 h 237"/>
                <a:gd name="T2" fmla="*/ 89 w 89"/>
                <a:gd name="T3" fmla="*/ 229 h 237"/>
                <a:gd name="T4" fmla="*/ 58 w 89"/>
                <a:gd name="T5" fmla="*/ 237 h 237"/>
                <a:gd name="T6" fmla="*/ 0 w 89"/>
                <a:gd name="T7" fmla="*/ 8 h 237"/>
                <a:gd name="T8" fmla="*/ 30 w 89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237">
                  <a:moveTo>
                    <a:pt x="30" y="0"/>
                  </a:moveTo>
                  <a:lnTo>
                    <a:pt x="89" y="229"/>
                  </a:lnTo>
                  <a:lnTo>
                    <a:pt x="58" y="237"/>
                  </a:lnTo>
                  <a:lnTo>
                    <a:pt x="0" y="8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0">
              <a:extLst>
                <a:ext uri="{FF2B5EF4-FFF2-40B4-BE49-F238E27FC236}">
                  <a16:creationId xmlns:a16="http://schemas.microsoft.com/office/drawing/2014/main" id="{EF972E4F-641C-4E85-A05A-C2CE08CB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0501" y="4924425"/>
              <a:ext cx="227013" cy="385763"/>
            </a:xfrm>
            <a:custGeom>
              <a:avLst/>
              <a:gdLst>
                <a:gd name="T0" fmla="*/ 29 w 143"/>
                <a:gd name="T1" fmla="*/ 0 h 243"/>
                <a:gd name="T2" fmla="*/ 143 w 143"/>
                <a:gd name="T3" fmla="*/ 229 h 243"/>
                <a:gd name="T4" fmla="*/ 114 w 143"/>
                <a:gd name="T5" fmla="*/ 243 h 243"/>
                <a:gd name="T6" fmla="*/ 0 w 143"/>
                <a:gd name="T7" fmla="*/ 14 h 243"/>
                <a:gd name="T8" fmla="*/ 29 w 143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243">
                  <a:moveTo>
                    <a:pt x="29" y="0"/>
                  </a:moveTo>
                  <a:lnTo>
                    <a:pt x="143" y="229"/>
                  </a:lnTo>
                  <a:lnTo>
                    <a:pt x="114" y="243"/>
                  </a:lnTo>
                  <a:lnTo>
                    <a:pt x="0" y="1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1">
              <a:extLst>
                <a:ext uri="{FF2B5EF4-FFF2-40B4-BE49-F238E27FC236}">
                  <a16:creationId xmlns:a16="http://schemas.microsoft.com/office/drawing/2014/main" id="{A09461B0-28B1-4646-ADB5-70E984F6D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4921250"/>
              <a:ext cx="325438" cy="395288"/>
            </a:xfrm>
            <a:custGeom>
              <a:avLst/>
              <a:gdLst>
                <a:gd name="T0" fmla="*/ 25 w 205"/>
                <a:gd name="T1" fmla="*/ 0 h 249"/>
                <a:gd name="T2" fmla="*/ 205 w 205"/>
                <a:gd name="T3" fmla="*/ 229 h 249"/>
                <a:gd name="T4" fmla="*/ 179 w 205"/>
                <a:gd name="T5" fmla="*/ 249 h 249"/>
                <a:gd name="T6" fmla="*/ 0 w 205"/>
                <a:gd name="T7" fmla="*/ 20 h 249"/>
                <a:gd name="T8" fmla="*/ 25 w 205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249">
                  <a:moveTo>
                    <a:pt x="25" y="0"/>
                  </a:moveTo>
                  <a:lnTo>
                    <a:pt x="205" y="229"/>
                  </a:lnTo>
                  <a:lnTo>
                    <a:pt x="179" y="249"/>
                  </a:lnTo>
                  <a:lnTo>
                    <a:pt x="0" y="2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Rectangle 22">
              <a:extLst>
                <a:ext uri="{FF2B5EF4-FFF2-40B4-BE49-F238E27FC236}">
                  <a16:creationId xmlns:a16="http://schemas.microsoft.com/office/drawing/2014/main" id="{6DFE4AEE-AB2D-46D1-9CEA-5BFBDBE9E5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0913" y="5018088"/>
              <a:ext cx="4259263" cy="5080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23">
              <a:extLst>
                <a:ext uri="{FF2B5EF4-FFF2-40B4-BE49-F238E27FC236}">
                  <a16:creationId xmlns:a16="http://schemas.microsoft.com/office/drawing/2014/main" id="{4A1906CE-3092-45B7-A72D-98A4AE2BA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676" y="4929188"/>
              <a:ext cx="142875" cy="376238"/>
            </a:xfrm>
            <a:custGeom>
              <a:avLst/>
              <a:gdLst>
                <a:gd name="T0" fmla="*/ 58 w 90"/>
                <a:gd name="T1" fmla="*/ 0 h 237"/>
                <a:gd name="T2" fmla="*/ 90 w 90"/>
                <a:gd name="T3" fmla="*/ 8 h 237"/>
                <a:gd name="T4" fmla="*/ 32 w 90"/>
                <a:gd name="T5" fmla="*/ 237 h 237"/>
                <a:gd name="T6" fmla="*/ 0 w 90"/>
                <a:gd name="T7" fmla="*/ 229 h 237"/>
                <a:gd name="T8" fmla="*/ 58 w 90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37">
                  <a:moveTo>
                    <a:pt x="58" y="0"/>
                  </a:moveTo>
                  <a:lnTo>
                    <a:pt x="90" y="8"/>
                  </a:lnTo>
                  <a:lnTo>
                    <a:pt x="32" y="237"/>
                  </a:lnTo>
                  <a:lnTo>
                    <a:pt x="0" y="229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Freeform 24">
              <a:extLst>
                <a:ext uri="{FF2B5EF4-FFF2-40B4-BE49-F238E27FC236}">
                  <a16:creationId xmlns:a16="http://schemas.microsoft.com/office/drawing/2014/main" id="{FA6637A0-E636-4916-9C7C-652A8D4C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5163" y="4924425"/>
              <a:ext cx="228600" cy="385763"/>
            </a:xfrm>
            <a:custGeom>
              <a:avLst/>
              <a:gdLst>
                <a:gd name="T0" fmla="*/ 114 w 144"/>
                <a:gd name="T1" fmla="*/ 0 h 243"/>
                <a:gd name="T2" fmla="*/ 144 w 144"/>
                <a:gd name="T3" fmla="*/ 14 h 243"/>
                <a:gd name="T4" fmla="*/ 28 w 144"/>
                <a:gd name="T5" fmla="*/ 243 h 243"/>
                <a:gd name="T6" fmla="*/ 0 w 144"/>
                <a:gd name="T7" fmla="*/ 229 h 243"/>
                <a:gd name="T8" fmla="*/ 114 w 144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243">
                  <a:moveTo>
                    <a:pt x="114" y="0"/>
                  </a:moveTo>
                  <a:lnTo>
                    <a:pt x="144" y="14"/>
                  </a:lnTo>
                  <a:lnTo>
                    <a:pt x="28" y="243"/>
                  </a:lnTo>
                  <a:lnTo>
                    <a:pt x="0" y="229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Freeform 25">
              <a:extLst>
                <a:ext uri="{FF2B5EF4-FFF2-40B4-BE49-F238E27FC236}">
                  <a16:creationId xmlns:a16="http://schemas.microsoft.com/office/drawing/2014/main" id="{AF6F2385-2211-489B-ADC9-E97AC0DA4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6" y="4921250"/>
              <a:ext cx="327025" cy="395288"/>
            </a:xfrm>
            <a:custGeom>
              <a:avLst/>
              <a:gdLst>
                <a:gd name="T0" fmla="*/ 180 w 206"/>
                <a:gd name="T1" fmla="*/ 0 h 249"/>
                <a:gd name="T2" fmla="*/ 206 w 206"/>
                <a:gd name="T3" fmla="*/ 20 h 249"/>
                <a:gd name="T4" fmla="*/ 25 w 206"/>
                <a:gd name="T5" fmla="*/ 249 h 249"/>
                <a:gd name="T6" fmla="*/ 0 w 206"/>
                <a:gd name="T7" fmla="*/ 229 h 249"/>
                <a:gd name="T8" fmla="*/ 180 w 206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49">
                  <a:moveTo>
                    <a:pt x="180" y="0"/>
                  </a:moveTo>
                  <a:lnTo>
                    <a:pt x="206" y="20"/>
                  </a:lnTo>
                  <a:lnTo>
                    <a:pt x="25" y="249"/>
                  </a:lnTo>
                  <a:lnTo>
                    <a:pt x="0" y="229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Rectangle 26">
              <a:extLst>
                <a:ext uri="{FF2B5EF4-FFF2-40B4-BE49-F238E27FC236}">
                  <a16:creationId xmlns:a16="http://schemas.microsoft.com/office/drawing/2014/main" id="{A81198CD-93C4-434F-82CD-6DEDEBDAF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338" y="5145088"/>
              <a:ext cx="4638675" cy="5080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Freeform 27">
              <a:extLst>
                <a:ext uri="{FF2B5EF4-FFF2-40B4-BE49-F238E27FC236}">
                  <a16:creationId xmlns:a16="http://schemas.microsoft.com/office/drawing/2014/main" id="{36B93F68-1F3B-4FAA-9CA4-B9668EF49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6" y="2835275"/>
              <a:ext cx="585788" cy="727075"/>
            </a:xfrm>
            <a:custGeom>
              <a:avLst/>
              <a:gdLst>
                <a:gd name="T0" fmla="*/ 184 w 369"/>
                <a:gd name="T1" fmla="*/ 0 h 458"/>
                <a:gd name="T2" fmla="*/ 217 w 369"/>
                <a:gd name="T3" fmla="*/ 4 h 458"/>
                <a:gd name="T4" fmla="*/ 246 w 369"/>
                <a:gd name="T5" fmla="*/ 10 h 458"/>
                <a:gd name="T6" fmla="*/ 272 w 369"/>
                <a:gd name="T7" fmla="*/ 22 h 458"/>
                <a:gd name="T8" fmla="*/ 295 w 369"/>
                <a:gd name="T9" fmla="*/ 38 h 458"/>
                <a:gd name="T10" fmla="*/ 315 w 369"/>
                <a:gd name="T11" fmla="*/ 56 h 458"/>
                <a:gd name="T12" fmla="*/ 331 w 369"/>
                <a:gd name="T13" fmla="*/ 77 h 458"/>
                <a:gd name="T14" fmla="*/ 344 w 369"/>
                <a:gd name="T15" fmla="*/ 102 h 458"/>
                <a:gd name="T16" fmla="*/ 354 w 369"/>
                <a:gd name="T17" fmla="*/ 128 h 458"/>
                <a:gd name="T18" fmla="*/ 362 w 369"/>
                <a:gd name="T19" fmla="*/ 155 h 458"/>
                <a:gd name="T20" fmla="*/ 366 w 369"/>
                <a:gd name="T21" fmla="*/ 185 h 458"/>
                <a:gd name="T22" fmla="*/ 369 w 369"/>
                <a:gd name="T23" fmla="*/ 215 h 458"/>
                <a:gd name="T24" fmla="*/ 367 w 369"/>
                <a:gd name="T25" fmla="*/ 245 h 458"/>
                <a:gd name="T26" fmla="*/ 363 w 369"/>
                <a:gd name="T27" fmla="*/ 274 h 458"/>
                <a:gd name="T28" fmla="*/ 356 w 369"/>
                <a:gd name="T29" fmla="*/ 303 h 458"/>
                <a:gd name="T30" fmla="*/ 348 w 369"/>
                <a:gd name="T31" fmla="*/ 331 h 458"/>
                <a:gd name="T32" fmla="*/ 336 w 369"/>
                <a:gd name="T33" fmla="*/ 357 h 458"/>
                <a:gd name="T34" fmla="*/ 321 w 369"/>
                <a:gd name="T35" fmla="*/ 381 h 458"/>
                <a:gd name="T36" fmla="*/ 305 w 369"/>
                <a:gd name="T37" fmla="*/ 403 h 458"/>
                <a:gd name="T38" fmla="*/ 285 w 369"/>
                <a:gd name="T39" fmla="*/ 422 h 458"/>
                <a:gd name="T40" fmla="*/ 263 w 369"/>
                <a:gd name="T41" fmla="*/ 437 h 458"/>
                <a:gd name="T42" fmla="*/ 239 w 369"/>
                <a:gd name="T43" fmla="*/ 448 h 458"/>
                <a:gd name="T44" fmla="*/ 212 w 369"/>
                <a:gd name="T45" fmla="*/ 456 h 458"/>
                <a:gd name="T46" fmla="*/ 184 w 369"/>
                <a:gd name="T47" fmla="*/ 458 h 458"/>
                <a:gd name="T48" fmla="*/ 155 w 369"/>
                <a:gd name="T49" fmla="*/ 456 h 458"/>
                <a:gd name="T50" fmla="*/ 129 w 369"/>
                <a:gd name="T51" fmla="*/ 448 h 458"/>
                <a:gd name="T52" fmla="*/ 106 w 369"/>
                <a:gd name="T53" fmla="*/ 437 h 458"/>
                <a:gd name="T54" fmla="*/ 84 w 369"/>
                <a:gd name="T55" fmla="*/ 422 h 458"/>
                <a:gd name="T56" fmla="*/ 64 w 369"/>
                <a:gd name="T57" fmla="*/ 403 h 458"/>
                <a:gd name="T58" fmla="*/ 47 w 369"/>
                <a:gd name="T59" fmla="*/ 381 h 458"/>
                <a:gd name="T60" fmla="*/ 33 w 369"/>
                <a:gd name="T61" fmla="*/ 357 h 458"/>
                <a:gd name="T62" fmla="*/ 21 w 369"/>
                <a:gd name="T63" fmla="*/ 331 h 458"/>
                <a:gd name="T64" fmla="*/ 12 w 369"/>
                <a:gd name="T65" fmla="*/ 303 h 458"/>
                <a:gd name="T66" fmla="*/ 6 w 369"/>
                <a:gd name="T67" fmla="*/ 274 h 458"/>
                <a:gd name="T68" fmla="*/ 1 w 369"/>
                <a:gd name="T69" fmla="*/ 245 h 458"/>
                <a:gd name="T70" fmla="*/ 0 w 369"/>
                <a:gd name="T71" fmla="*/ 215 h 458"/>
                <a:gd name="T72" fmla="*/ 1 w 369"/>
                <a:gd name="T73" fmla="*/ 185 h 458"/>
                <a:gd name="T74" fmla="*/ 7 w 369"/>
                <a:gd name="T75" fmla="*/ 155 h 458"/>
                <a:gd name="T76" fmla="*/ 13 w 369"/>
                <a:gd name="T77" fmla="*/ 128 h 458"/>
                <a:gd name="T78" fmla="*/ 24 w 369"/>
                <a:gd name="T79" fmla="*/ 102 h 458"/>
                <a:gd name="T80" fmla="*/ 37 w 369"/>
                <a:gd name="T81" fmla="*/ 77 h 458"/>
                <a:gd name="T82" fmla="*/ 54 w 369"/>
                <a:gd name="T83" fmla="*/ 56 h 458"/>
                <a:gd name="T84" fmla="*/ 74 w 369"/>
                <a:gd name="T85" fmla="*/ 38 h 458"/>
                <a:gd name="T86" fmla="*/ 96 w 369"/>
                <a:gd name="T87" fmla="*/ 22 h 458"/>
                <a:gd name="T88" fmla="*/ 122 w 369"/>
                <a:gd name="T89" fmla="*/ 10 h 458"/>
                <a:gd name="T90" fmla="*/ 152 w 369"/>
                <a:gd name="T91" fmla="*/ 4 h 458"/>
                <a:gd name="T92" fmla="*/ 184 w 369"/>
                <a:gd name="T9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9" h="458">
                  <a:moveTo>
                    <a:pt x="184" y="0"/>
                  </a:moveTo>
                  <a:lnTo>
                    <a:pt x="217" y="4"/>
                  </a:lnTo>
                  <a:lnTo>
                    <a:pt x="246" y="10"/>
                  </a:lnTo>
                  <a:lnTo>
                    <a:pt x="272" y="22"/>
                  </a:lnTo>
                  <a:lnTo>
                    <a:pt x="295" y="38"/>
                  </a:lnTo>
                  <a:lnTo>
                    <a:pt x="315" y="56"/>
                  </a:lnTo>
                  <a:lnTo>
                    <a:pt x="331" y="77"/>
                  </a:lnTo>
                  <a:lnTo>
                    <a:pt x="344" y="102"/>
                  </a:lnTo>
                  <a:lnTo>
                    <a:pt x="354" y="128"/>
                  </a:lnTo>
                  <a:lnTo>
                    <a:pt x="362" y="155"/>
                  </a:lnTo>
                  <a:lnTo>
                    <a:pt x="366" y="185"/>
                  </a:lnTo>
                  <a:lnTo>
                    <a:pt x="369" y="215"/>
                  </a:lnTo>
                  <a:lnTo>
                    <a:pt x="367" y="245"/>
                  </a:lnTo>
                  <a:lnTo>
                    <a:pt x="363" y="274"/>
                  </a:lnTo>
                  <a:lnTo>
                    <a:pt x="356" y="303"/>
                  </a:lnTo>
                  <a:lnTo>
                    <a:pt x="348" y="331"/>
                  </a:lnTo>
                  <a:lnTo>
                    <a:pt x="336" y="357"/>
                  </a:lnTo>
                  <a:lnTo>
                    <a:pt x="321" y="381"/>
                  </a:lnTo>
                  <a:lnTo>
                    <a:pt x="305" y="403"/>
                  </a:lnTo>
                  <a:lnTo>
                    <a:pt x="285" y="422"/>
                  </a:lnTo>
                  <a:lnTo>
                    <a:pt x="263" y="437"/>
                  </a:lnTo>
                  <a:lnTo>
                    <a:pt x="239" y="448"/>
                  </a:lnTo>
                  <a:lnTo>
                    <a:pt x="212" y="456"/>
                  </a:lnTo>
                  <a:lnTo>
                    <a:pt x="184" y="458"/>
                  </a:lnTo>
                  <a:lnTo>
                    <a:pt x="155" y="456"/>
                  </a:lnTo>
                  <a:lnTo>
                    <a:pt x="129" y="448"/>
                  </a:lnTo>
                  <a:lnTo>
                    <a:pt x="106" y="437"/>
                  </a:lnTo>
                  <a:lnTo>
                    <a:pt x="84" y="422"/>
                  </a:lnTo>
                  <a:lnTo>
                    <a:pt x="64" y="403"/>
                  </a:lnTo>
                  <a:lnTo>
                    <a:pt x="47" y="381"/>
                  </a:lnTo>
                  <a:lnTo>
                    <a:pt x="33" y="357"/>
                  </a:lnTo>
                  <a:lnTo>
                    <a:pt x="21" y="331"/>
                  </a:lnTo>
                  <a:lnTo>
                    <a:pt x="12" y="303"/>
                  </a:lnTo>
                  <a:lnTo>
                    <a:pt x="6" y="274"/>
                  </a:lnTo>
                  <a:lnTo>
                    <a:pt x="1" y="245"/>
                  </a:lnTo>
                  <a:lnTo>
                    <a:pt x="0" y="215"/>
                  </a:lnTo>
                  <a:lnTo>
                    <a:pt x="1" y="185"/>
                  </a:lnTo>
                  <a:lnTo>
                    <a:pt x="7" y="155"/>
                  </a:lnTo>
                  <a:lnTo>
                    <a:pt x="13" y="128"/>
                  </a:lnTo>
                  <a:lnTo>
                    <a:pt x="24" y="102"/>
                  </a:lnTo>
                  <a:lnTo>
                    <a:pt x="37" y="77"/>
                  </a:lnTo>
                  <a:lnTo>
                    <a:pt x="54" y="56"/>
                  </a:lnTo>
                  <a:lnTo>
                    <a:pt x="74" y="38"/>
                  </a:lnTo>
                  <a:lnTo>
                    <a:pt x="96" y="22"/>
                  </a:lnTo>
                  <a:lnTo>
                    <a:pt x="122" y="10"/>
                  </a:lnTo>
                  <a:lnTo>
                    <a:pt x="152" y="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FFFFFF">
                <a:alpha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Freeform 28">
              <a:extLst>
                <a:ext uri="{FF2B5EF4-FFF2-40B4-BE49-F238E27FC236}">
                  <a16:creationId xmlns:a16="http://schemas.microsoft.com/office/drawing/2014/main" id="{C88CDA14-09AC-4739-BC1C-D467D7D6E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3535363"/>
              <a:ext cx="1311275" cy="647700"/>
            </a:xfrm>
            <a:custGeom>
              <a:avLst/>
              <a:gdLst>
                <a:gd name="T0" fmla="*/ 269 w 826"/>
                <a:gd name="T1" fmla="*/ 0 h 408"/>
                <a:gd name="T2" fmla="*/ 292 w 826"/>
                <a:gd name="T3" fmla="*/ 23 h 408"/>
                <a:gd name="T4" fmla="*/ 318 w 826"/>
                <a:gd name="T5" fmla="*/ 40 h 408"/>
                <a:gd name="T6" fmla="*/ 347 w 826"/>
                <a:gd name="T7" fmla="*/ 55 h 408"/>
                <a:gd name="T8" fmla="*/ 379 w 826"/>
                <a:gd name="T9" fmla="*/ 63 h 408"/>
                <a:gd name="T10" fmla="*/ 413 w 826"/>
                <a:gd name="T11" fmla="*/ 66 h 408"/>
                <a:gd name="T12" fmla="*/ 448 w 826"/>
                <a:gd name="T13" fmla="*/ 63 h 408"/>
                <a:gd name="T14" fmla="*/ 479 w 826"/>
                <a:gd name="T15" fmla="*/ 55 h 408"/>
                <a:gd name="T16" fmla="*/ 508 w 826"/>
                <a:gd name="T17" fmla="*/ 40 h 408"/>
                <a:gd name="T18" fmla="*/ 535 w 826"/>
                <a:gd name="T19" fmla="*/ 23 h 408"/>
                <a:gd name="T20" fmla="*/ 558 w 826"/>
                <a:gd name="T21" fmla="*/ 0 h 408"/>
                <a:gd name="T22" fmla="*/ 598 w 826"/>
                <a:gd name="T23" fmla="*/ 16 h 408"/>
                <a:gd name="T24" fmla="*/ 633 w 826"/>
                <a:gd name="T25" fmla="*/ 36 h 408"/>
                <a:gd name="T26" fmla="*/ 666 w 826"/>
                <a:gd name="T27" fmla="*/ 60 h 408"/>
                <a:gd name="T28" fmla="*/ 695 w 826"/>
                <a:gd name="T29" fmla="*/ 88 h 408"/>
                <a:gd name="T30" fmla="*/ 723 w 826"/>
                <a:gd name="T31" fmla="*/ 119 h 408"/>
                <a:gd name="T32" fmla="*/ 746 w 826"/>
                <a:gd name="T33" fmla="*/ 153 h 408"/>
                <a:gd name="T34" fmla="*/ 767 w 826"/>
                <a:gd name="T35" fmla="*/ 189 h 408"/>
                <a:gd name="T36" fmla="*/ 785 w 826"/>
                <a:gd name="T37" fmla="*/ 229 h 408"/>
                <a:gd name="T38" fmla="*/ 799 w 826"/>
                <a:gd name="T39" fmla="*/ 270 h 408"/>
                <a:gd name="T40" fmla="*/ 811 w 826"/>
                <a:gd name="T41" fmla="*/ 315 h 408"/>
                <a:gd name="T42" fmla="*/ 820 w 826"/>
                <a:gd name="T43" fmla="*/ 361 h 408"/>
                <a:gd name="T44" fmla="*/ 826 w 826"/>
                <a:gd name="T45" fmla="*/ 408 h 408"/>
                <a:gd name="T46" fmla="*/ 0 w 826"/>
                <a:gd name="T47" fmla="*/ 408 h 408"/>
                <a:gd name="T48" fmla="*/ 7 w 826"/>
                <a:gd name="T49" fmla="*/ 361 h 408"/>
                <a:gd name="T50" fmla="*/ 16 w 826"/>
                <a:gd name="T51" fmla="*/ 315 h 408"/>
                <a:gd name="T52" fmla="*/ 28 w 826"/>
                <a:gd name="T53" fmla="*/ 270 h 408"/>
                <a:gd name="T54" fmla="*/ 42 w 826"/>
                <a:gd name="T55" fmla="*/ 229 h 408"/>
                <a:gd name="T56" fmla="*/ 60 w 826"/>
                <a:gd name="T57" fmla="*/ 189 h 408"/>
                <a:gd name="T58" fmla="*/ 81 w 826"/>
                <a:gd name="T59" fmla="*/ 153 h 408"/>
                <a:gd name="T60" fmla="*/ 104 w 826"/>
                <a:gd name="T61" fmla="*/ 119 h 408"/>
                <a:gd name="T62" fmla="*/ 130 w 826"/>
                <a:gd name="T63" fmla="*/ 88 h 408"/>
                <a:gd name="T64" fmla="*/ 160 w 826"/>
                <a:gd name="T65" fmla="*/ 60 h 408"/>
                <a:gd name="T66" fmla="*/ 193 w 826"/>
                <a:gd name="T67" fmla="*/ 36 h 408"/>
                <a:gd name="T68" fmla="*/ 229 w 826"/>
                <a:gd name="T69" fmla="*/ 16 h 408"/>
                <a:gd name="T70" fmla="*/ 269 w 826"/>
                <a:gd name="T71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6" h="408">
                  <a:moveTo>
                    <a:pt x="269" y="0"/>
                  </a:moveTo>
                  <a:lnTo>
                    <a:pt x="292" y="23"/>
                  </a:lnTo>
                  <a:lnTo>
                    <a:pt x="318" y="40"/>
                  </a:lnTo>
                  <a:lnTo>
                    <a:pt x="347" y="55"/>
                  </a:lnTo>
                  <a:lnTo>
                    <a:pt x="379" y="63"/>
                  </a:lnTo>
                  <a:lnTo>
                    <a:pt x="413" y="66"/>
                  </a:lnTo>
                  <a:lnTo>
                    <a:pt x="448" y="63"/>
                  </a:lnTo>
                  <a:lnTo>
                    <a:pt x="479" y="55"/>
                  </a:lnTo>
                  <a:lnTo>
                    <a:pt x="508" y="40"/>
                  </a:lnTo>
                  <a:lnTo>
                    <a:pt x="535" y="23"/>
                  </a:lnTo>
                  <a:lnTo>
                    <a:pt x="558" y="0"/>
                  </a:lnTo>
                  <a:lnTo>
                    <a:pt x="598" y="16"/>
                  </a:lnTo>
                  <a:lnTo>
                    <a:pt x="633" y="36"/>
                  </a:lnTo>
                  <a:lnTo>
                    <a:pt x="666" y="60"/>
                  </a:lnTo>
                  <a:lnTo>
                    <a:pt x="695" y="88"/>
                  </a:lnTo>
                  <a:lnTo>
                    <a:pt x="723" y="119"/>
                  </a:lnTo>
                  <a:lnTo>
                    <a:pt x="746" y="153"/>
                  </a:lnTo>
                  <a:lnTo>
                    <a:pt x="767" y="189"/>
                  </a:lnTo>
                  <a:lnTo>
                    <a:pt x="785" y="229"/>
                  </a:lnTo>
                  <a:lnTo>
                    <a:pt x="799" y="270"/>
                  </a:lnTo>
                  <a:lnTo>
                    <a:pt x="811" y="315"/>
                  </a:lnTo>
                  <a:lnTo>
                    <a:pt x="820" y="361"/>
                  </a:lnTo>
                  <a:lnTo>
                    <a:pt x="826" y="408"/>
                  </a:lnTo>
                  <a:lnTo>
                    <a:pt x="0" y="408"/>
                  </a:lnTo>
                  <a:lnTo>
                    <a:pt x="7" y="361"/>
                  </a:lnTo>
                  <a:lnTo>
                    <a:pt x="16" y="315"/>
                  </a:lnTo>
                  <a:lnTo>
                    <a:pt x="28" y="270"/>
                  </a:lnTo>
                  <a:lnTo>
                    <a:pt x="42" y="229"/>
                  </a:lnTo>
                  <a:lnTo>
                    <a:pt x="60" y="189"/>
                  </a:lnTo>
                  <a:lnTo>
                    <a:pt x="81" y="153"/>
                  </a:lnTo>
                  <a:lnTo>
                    <a:pt x="104" y="119"/>
                  </a:lnTo>
                  <a:lnTo>
                    <a:pt x="130" y="88"/>
                  </a:lnTo>
                  <a:lnTo>
                    <a:pt x="160" y="60"/>
                  </a:lnTo>
                  <a:lnTo>
                    <a:pt x="193" y="36"/>
                  </a:lnTo>
                  <a:lnTo>
                    <a:pt x="229" y="16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FFFFFF">
                <a:alpha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29">
              <a:extLst>
                <a:ext uri="{FF2B5EF4-FFF2-40B4-BE49-F238E27FC236}">
                  <a16:creationId xmlns:a16="http://schemas.microsoft.com/office/drawing/2014/main" id="{4151E835-8728-4CB2-B7EA-369C1AE5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887788"/>
              <a:ext cx="1562100" cy="295275"/>
            </a:xfrm>
            <a:custGeom>
              <a:avLst/>
              <a:gdLst>
                <a:gd name="T0" fmla="*/ 21 w 984"/>
                <a:gd name="T1" fmla="*/ 0 h 186"/>
                <a:gd name="T2" fmla="*/ 964 w 984"/>
                <a:gd name="T3" fmla="*/ 0 h 186"/>
                <a:gd name="T4" fmla="*/ 975 w 984"/>
                <a:gd name="T5" fmla="*/ 2 h 186"/>
                <a:gd name="T6" fmla="*/ 982 w 984"/>
                <a:gd name="T7" fmla="*/ 10 h 186"/>
                <a:gd name="T8" fmla="*/ 984 w 984"/>
                <a:gd name="T9" fmla="*/ 21 h 186"/>
                <a:gd name="T10" fmla="*/ 984 w 984"/>
                <a:gd name="T11" fmla="*/ 165 h 186"/>
                <a:gd name="T12" fmla="*/ 982 w 984"/>
                <a:gd name="T13" fmla="*/ 176 h 186"/>
                <a:gd name="T14" fmla="*/ 975 w 984"/>
                <a:gd name="T15" fmla="*/ 184 h 186"/>
                <a:gd name="T16" fmla="*/ 964 w 984"/>
                <a:gd name="T17" fmla="*/ 186 h 186"/>
                <a:gd name="T18" fmla="*/ 21 w 984"/>
                <a:gd name="T19" fmla="*/ 186 h 186"/>
                <a:gd name="T20" fmla="*/ 11 w 984"/>
                <a:gd name="T21" fmla="*/ 184 h 186"/>
                <a:gd name="T22" fmla="*/ 3 w 984"/>
                <a:gd name="T23" fmla="*/ 176 h 186"/>
                <a:gd name="T24" fmla="*/ 0 w 984"/>
                <a:gd name="T25" fmla="*/ 165 h 186"/>
                <a:gd name="T26" fmla="*/ 0 w 984"/>
                <a:gd name="T27" fmla="*/ 21 h 186"/>
                <a:gd name="T28" fmla="*/ 3 w 984"/>
                <a:gd name="T29" fmla="*/ 10 h 186"/>
                <a:gd name="T30" fmla="*/ 11 w 984"/>
                <a:gd name="T31" fmla="*/ 2 h 186"/>
                <a:gd name="T32" fmla="*/ 21 w 984"/>
                <a:gd name="T3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4" h="186">
                  <a:moveTo>
                    <a:pt x="21" y="0"/>
                  </a:moveTo>
                  <a:lnTo>
                    <a:pt x="964" y="0"/>
                  </a:lnTo>
                  <a:lnTo>
                    <a:pt x="975" y="2"/>
                  </a:lnTo>
                  <a:lnTo>
                    <a:pt x="982" y="10"/>
                  </a:lnTo>
                  <a:lnTo>
                    <a:pt x="984" y="21"/>
                  </a:lnTo>
                  <a:lnTo>
                    <a:pt x="984" y="165"/>
                  </a:lnTo>
                  <a:lnTo>
                    <a:pt x="982" y="176"/>
                  </a:lnTo>
                  <a:lnTo>
                    <a:pt x="975" y="184"/>
                  </a:lnTo>
                  <a:lnTo>
                    <a:pt x="964" y="186"/>
                  </a:lnTo>
                  <a:lnTo>
                    <a:pt x="21" y="186"/>
                  </a:lnTo>
                  <a:lnTo>
                    <a:pt x="11" y="184"/>
                  </a:lnTo>
                  <a:lnTo>
                    <a:pt x="3" y="176"/>
                  </a:lnTo>
                  <a:lnTo>
                    <a:pt x="0" y="165"/>
                  </a:lnTo>
                  <a:lnTo>
                    <a:pt x="0" y="21"/>
                  </a:lnTo>
                  <a:lnTo>
                    <a:pt x="3" y="10"/>
                  </a:lnTo>
                  <a:lnTo>
                    <a:pt x="11" y="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Freeform 30">
              <a:extLst>
                <a:ext uri="{FF2B5EF4-FFF2-40B4-BE49-F238E27FC236}">
                  <a16:creationId xmlns:a16="http://schemas.microsoft.com/office/drawing/2014/main" id="{F7411D83-47F3-4018-906C-9DB3A651C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690938"/>
              <a:ext cx="604838" cy="112713"/>
            </a:xfrm>
            <a:custGeom>
              <a:avLst/>
              <a:gdLst>
                <a:gd name="T0" fmla="*/ 8 w 381"/>
                <a:gd name="T1" fmla="*/ 0 h 71"/>
                <a:gd name="T2" fmla="*/ 373 w 381"/>
                <a:gd name="T3" fmla="*/ 0 h 71"/>
                <a:gd name="T4" fmla="*/ 376 w 381"/>
                <a:gd name="T5" fmla="*/ 0 h 71"/>
                <a:gd name="T6" fmla="*/ 378 w 381"/>
                <a:gd name="T7" fmla="*/ 2 h 71"/>
                <a:gd name="T8" fmla="*/ 379 w 381"/>
                <a:gd name="T9" fmla="*/ 4 h 71"/>
                <a:gd name="T10" fmla="*/ 381 w 381"/>
                <a:gd name="T11" fmla="*/ 7 h 71"/>
                <a:gd name="T12" fmla="*/ 381 w 381"/>
                <a:gd name="T13" fmla="*/ 63 h 71"/>
                <a:gd name="T14" fmla="*/ 379 w 381"/>
                <a:gd name="T15" fmla="*/ 67 h 71"/>
                <a:gd name="T16" fmla="*/ 378 w 381"/>
                <a:gd name="T17" fmla="*/ 69 h 71"/>
                <a:gd name="T18" fmla="*/ 376 w 381"/>
                <a:gd name="T19" fmla="*/ 71 h 71"/>
                <a:gd name="T20" fmla="*/ 373 w 381"/>
                <a:gd name="T21" fmla="*/ 71 h 71"/>
                <a:gd name="T22" fmla="*/ 8 w 381"/>
                <a:gd name="T23" fmla="*/ 71 h 71"/>
                <a:gd name="T24" fmla="*/ 5 w 381"/>
                <a:gd name="T25" fmla="*/ 71 h 71"/>
                <a:gd name="T26" fmla="*/ 2 w 381"/>
                <a:gd name="T27" fmla="*/ 69 h 71"/>
                <a:gd name="T28" fmla="*/ 1 w 381"/>
                <a:gd name="T29" fmla="*/ 67 h 71"/>
                <a:gd name="T30" fmla="*/ 0 w 381"/>
                <a:gd name="T31" fmla="*/ 63 h 71"/>
                <a:gd name="T32" fmla="*/ 0 w 381"/>
                <a:gd name="T33" fmla="*/ 7 h 71"/>
                <a:gd name="T34" fmla="*/ 1 w 381"/>
                <a:gd name="T35" fmla="*/ 4 h 71"/>
                <a:gd name="T36" fmla="*/ 2 w 381"/>
                <a:gd name="T37" fmla="*/ 2 h 71"/>
                <a:gd name="T38" fmla="*/ 5 w 381"/>
                <a:gd name="T39" fmla="*/ 0 h 71"/>
                <a:gd name="T40" fmla="*/ 8 w 381"/>
                <a:gd name="T4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1" h="71">
                  <a:moveTo>
                    <a:pt x="8" y="0"/>
                  </a:moveTo>
                  <a:lnTo>
                    <a:pt x="373" y="0"/>
                  </a:lnTo>
                  <a:lnTo>
                    <a:pt x="376" y="0"/>
                  </a:lnTo>
                  <a:lnTo>
                    <a:pt x="378" y="2"/>
                  </a:lnTo>
                  <a:lnTo>
                    <a:pt x="379" y="4"/>
                  </a:lnTo>
                  <a:lnTo>
                    <a:pt x="381" y="7"/>
                  </a:lnTo>
                  <a:lnTo>
                    <a:pt x="381" y="63"/>
                  </a:lnTo>
                  <a:lnTo>
                    <a:pt x="379" y="67"/>
                  </a:lnTo>
                  <a:lnTo>
                    <a:pt x="378" y="69"/>
                  </a:lnTo>
                  <a:lnTo>
                    <a:pt x="376" y="71"/>
                  </a:lnTo>
                  <a:lnTo>
                    <a:pt x="373" y="71"/>
                  </a:lnTo>
                  <a:lnTo>
                    <a:pt x="8" y="71"/>
                  </a:lnTo>
                  <a:lnTo>
                    <a:pt x="5" y="71"/>
                  </a:lnTo>
                  <a:lnTo>
                    <a:pt x="2" y="69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>
                <a:alpha val="47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Freeform 31">
              <a:extLst>
                <a:ext uri="{FF2B5EF4-FFF2-40B4-BE49-F238E27FC236}">
                  <a16:creationId xmlns:a16="http://schemas.microsoft.com/office/drawing/2014/main" id="{D9E0246D-A169-4097-9B59-FD896FA6F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232150"/>
              <a:ext cx="1562100" cy="296863"/>
            </a:xfrm>
            <a:custGeom>
              <a:avLst/>
              <a:gdLst>
                <a:gd name="T0" fmla="*/ 21 w 984"/>
                <a:gd name="T1" fmla="*/ 0 h 187"/>
                <a:gd name="T2" fmla="*/ 964 w 984"/>
                <a:gd name="T3" fmla="*/ 0 h 187"/>
                <a:gd name="T4" fmla="*/ 975 w 984"/>
                <a:gd name="T5" fmla="*/ 3 h 187"/>
                <a:gd name="T6" fmla="*/ 982 w 984"/>
                <a:gd name="T7" fmla="*/ 11 h 187"/>
                <a:gd name="T8" fmla="*/ 984 w 984"/>
                <a:gd name="T9" fmla="*/ 21 h 187"/>
                <a:gd name="T10" fmla="*/ 984 w 984"/>
                <a:gd name="T11" fmla="*/ 166 h 187"/>
                <a:gd name="T12" fmla="*/ 982 w 984"/>
                <a:gd name="T13" fmla="*/ 177 h 187"/>
                <a:gd name="T14" fmla="*/ 975 w 984"/>
                <a:gd name="T15" fmla="*/ 184 h 187"/>
                <a:gd name="T16" fmla="*/ 964 w 984"/>
                <a:gd name="T17" fmla="*/ 187 h 187"/>
                <a:gd name="T18" fmla="*/ 21 w 984"/>
                <a:gd name="T19" fmla="*/ 187 h 187"/>
                <a:gd name="T20" fmla="*/ 11 w 984"/>
                <a:gd name="T21" fmla="*/ 184 h 187"/>
                <a:gd name="T22" fmla="*/ 3 w 984"/>
                <a:gd name="T23" fmla="*/ 177 h 187"/>
                <a:gd name="T24" fmla="*/ 0 w 984"/>
                <a:gd name="T25" fmla="*/ 166 h 187"/>
                <a:gd name="T26" fmla="*/ 0 w 984"/>
                <a:gd name="T27" fmla="*/ 21 h 187"/>
                <a:gd name="T28" fmla="*/ 3 w 984"/>
                <a:gd name="T29" fmla="*/ 11 h 187"/>
                <a:gd name="T30" fmla="*/ 11 w 984"/>
                <a:gd name="T31" fmla="*/ 3 h 187"/>
                <a:gd name="T32" fmla="*/ 21 w 984"/>
                <a:gd name="T33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4" h="187">
                  <a:moveTo>
                    <a:pt x="21" y="0"/>
                  </a:moveTo>
                  <a:lnTo>
                    <a:pt x="964" y="0"/>
                  </a:lnTo>
                  <a:lnTo>
                    <a:pt x="975" y="3"/>
                  </a:lnTo>
                  <a:lnTo>
                    <a:pt x="982" y="11"/>
                  </a:lnTo>
                  <a:lnTo>
                    <a:pt x="984" y="21"/>
                  </a:lnTo>
                  <a:lnTo>
                    <a:pt x="984" y="166"/>
                  </a:lnTo>
                  <a:lnTo>
                    <a:pt x="982" y="177"/>
                  </a:lnTo>
                  <a:lnTo>
                    <a:pt x="975" y="184"/>
                  </a:lnTo>
                  <a:lnTo>
                    <a:pt x="964" y="187"/>
                  </a:lnTo>
                  <a:lnTo>
                    <a:pt x="21" y="187"/>
                  </a:lnTo>
                  <a:lnTo>
                    <a:pt x="11" y="184"/>
                  </a:lnTo>
                  <a:lnTo>
                    <a:pt x="3" y="177"/>
                  </a:lnTo>
                  <a:lnTo>
                    <a:pt x="0" y="166"/>
                  </a:lnTo>
                  <a:lnTo>
                    <a:pt x="0" y="21"/>
                  </a:lnTo>
                  <a:lnTo>
                    <a:pt x="3" y="11"/>
                  </a:lnTo>
                  <a:lnTo>
                    <a:pt x="11" y="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32">
              <a:extLst>
                <a:ext uri="{FF2B5EF4-FFF2-40B4-BE49-F238E27FC236}">
                  <a16:creationId xmlns:a16="http://schemas.microsoft.com/office/drawing/2014/main" id="{7A87D7E2-46E2-4117-A09F-FE3A9A7E2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036888"/>
              <a:ext cx="604838" cy="112713"/>
            </a:xfrm>
            <a:custGeom>
              <a:avLst/>
              <a:gdLst>
                <a:gd name="T0" fmla="*/ 8 w 381"/>
                <a:gd name="T1" fmla="*/ 0 h 71"/>
                <a:gd name="T2" fmla="*/ 373 w 381"/>
                <a:gd name="T3" fmla="*/ 0 h 71"/>
                <a:gd name="T4" fmla="*/ 376 w 381"/>
                <a:gd name="T5" fmla="*/ 0 h 71"/>
                <a:gd name="T6" fmla="*/ 378 w 381"/>
                <a:gd name="T7" fmla="*/ 2 h 71"/>
                <a:gd name="T8" fmla="*/ 379 w 381"/>
                <a:gd name="T9" fmla="*/ 4 h 71"/>
                <a:gd name="T10" fmla="*/ 381 w 381"/>
                <a:gd name="T11" fmla="*/ 8 h 71"/>
                <a:gd name="T12" fmla="*/ 381 w 381"/>
                <a:gd name="T13" fmla="*/ 64 h 71"/>
                <a:gd name="T14" fmla="*/ 379 w 381"/>
                <a:gd name="T15" fmla="*/ 67 h 71"/>
                <a:gd name="T16" fmla="*/ 378 w 381"/>
                <a:gd name="T17" fmla="*/ 69 h 71"/>
                <a:gd name="T18" fmla="*/ 376 w 381"/>
                <a:gd name="T19" fmla="*/ 71 h 71"/>
                <a:gd name="T20" fmla="*/ 373 w 381"/>
                <a:gd name="T21" fmla="*/ 71 h 71"/>
                <a:gd name="T22" fmla="*/ 8 w 381"/>
                <a:gd name="T23" fmla="*/ 71 h 71"/>
                <a:gd name="T24" fmla="*/ 5 w 381"/>
                <a:gd name="T25" fmla="*/ 71 h 71"/>
                <a:gd name="T26" fmla="*/ 2 w 381"/>
                <a:gd name="T27" fmla="*/ 69 h 71"/>
                <a:gd name="T28" fmla="*/ 1 w 381"/>
                <a:gd name="T29" fmla="*/ 67 h 71"/>
                <a:gd name="T30" fmla="*/ 0 w 381"/>
                <a:gd name="T31" fmla="*/ 64 h 71"/>
                <a:gd name="T32" fmla="*/ 0 w 381"/>
                <a:gd name="T33" fmla="*/ 8 h 71"/>
                <a:gd name="T34" fmla="*/ 1 w 381"/>
                <a:gd name="T35" fmla="*/ 4 h 71"/>
                <a:gd name="T36" fmla="*/ 2 w 381"/>
                <a:gd name="T37" fmla="*/ 2 h 71"/>
                <a:gd name="T38" fmla="*/ 5 w 381"/>
                <a:gd name="T39" fmla="*/ 0 h 71"/>
                <a:gd name="T40" fmla="*/ 8 w 381"/>
                <a:gd name="T4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1" h="71">
                  <a:moveTo>
                    <a:pt x="8" y="0"/>
                  </a:moveTo>
                  <a:lnTo>
                    <a:pt x="373" y="0"/>
                  </a:lnTo>
                  <a:lnTo>
                    <a:pt x="376" y="0"/>
                  </a:lnTo>
                  <a:lnTo>
                    <a:pt x="378" y="2"/>
                  </a:lnTo>
                  <a:lnTo>
                    <a:pt x="379" y="4"/>
                  </a:lnTo>
                  <a:lnTo>
                    <a:pt x="381" y="8"/>
                  </a:lnTo>
                  <a:lnTo>
                    <a:pt x="381" y="64"/>
                  </a:lnTo>
                  <a:lnTo>
                    <a:pt x="379" y="67"/>
                  </a:lnTo>
                  <a:lnTo>
                    <a:pt x="378" y="69"/>
                  </a:lnTo>
                  <a:lnTo>
                    <a:pt x="376" y="71"/>
                  </a:lnTo>
                  <a:lnTo>
                    <a:pt x="373" y="71"/>
                  </a:lnTo>
                  <a:lnTo>
                    <a:pt x="8" y="71"/>
                  </a:lnTo>
                  <a:lnTo>
                    <a:pt x="5" y="71"/>
                  </a:lnTo>
                  <a:lnTo>
                    <a:pt x="2" y="69"/>
                  </a:lnTo>
                  <a:lnTo>
                    <a:pt x="1" y="67"/>
                  </a:lnTo>
                  <a:lnTo>
                    <a:pt x="0" y="64"/>
                  </a:lnTo>
                  <a:lnTo>
                    <a:pt x="0" y="8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>
                <a:alpha val="47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33">
              <a:extLst>
                <a:ext uri="{FF2B5EF4-FFF2-40B4-BE49-F238E27FC236}">
                  <a16:creationId xmlns:a16="http://schemas.microsoft.com/office/drawing/2014/main" id="{102295EA-4763-478A-80AB-00DB0343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26" y="1677988"/>
              <a:ext cx="1851025" cy="1174750"/>
            </a:xfrm>
            <a:custGeom>
              <a:avLst/>
              <a:gdLst>
                <a:gd name="T0" fmla="*/ 38 w 1166"/>
                <a:gd name="T1" fmla="*/ 0 h 740"/>
                <a:gd name="T2" fmla="*/ 1127 w 1166"/>
                <a:gd name="T3" fmla="*/ 0 h 740"/>
                <a:gd name="T4" fmla="*/ 1142 w 1166"/>
                <a:gd name="T5" fmla="*/ 4 h 740"/>
                <a:gd name="T6" fmla="*/ 1155 w 1166"/>
                <a:gd name="T7" fmla="*/ 11 h 740"/>
                <a:gd name="T8" fmla="*/ 1163 w 1166"/>
                <a:gd name="T9" fmla="*/ 23 h 740"/>
                <a:gd name="T10" fmla="*/ 1166 w 1166"/>
                <a:gd name="T11" fmla="*/ 39 h 740"/>
                <a:gd name="T12" fmla="*/ 1166 w 1166"/>
                <a:gd name="T13" fmla="*/ 702 h 740"/>
                <a:gd name="T14" fmla="*/ 1163 w 1166"/>
                <a:gd name="T15" fmla="*/ 717 h 740"/>
                <a:gd name="T16" fmla="*/ 1155 w 1166"/>
                <a:gd name="T17" fmla="*/ 729 h 740"/>
                <a:gd name="T18" fmla="*/ 1142 w 1166"/>
                <a:gd name="T19" fmla="*/ 738 h 740"/>
                <a:gd name="T20" fmla="*/ 1127 w 1166"/>
                <a:gd name="T21" fmla="*/ 740 h 740"/>
                <a:gd name="T22" fmla="*/ 38 w 1166"/>
                <a:gd name="T23" fmla="*/ 740 h 740"/>
                <a:gd name="T24" fmla="*/ 23 w 1166"/>
                <a:gd name="T25" fmla="*/ 738 h 740"/>
                <a:gd name="T26" fmla="*/ 11 w 1166"/>
                <a:gd name="T27" fmla="*/ 729 h 740"/>
                <a:gd name="T28" fmla="*/ 2 w 1166"/>
                <a:gd name="T29" fmla="*/ 717 h 740"/>
                <a:gd name="T30" fmla="*/ 0 w 1166"/>
                <a:gd name="T31" fmla="*/ 702 h 740"/>
                <a:gd name="T32" fmla="*/ 0 w 1166"/>
                <a:gd name="T33" fmla="*/ 39 h 740"/>
                <a:gd name="T34" fmla="*/ 2 w 1166"/>
                <a:gd name="T35" fmla="*/ 23 h 740"/>
                <a:gd name="T36" fmla="*/ 11 w 1166"/>
                <a:gd name="T37" fmla="*/ 11 h 740"/>
                <a:gd name="T38" fmla="*/ 23 w 1166"/>
                <a:gd name="T39" fmla="*/ 4 h 740"/>
                <a:gd name="T40" fmla="*/ 38 w 1166"/>
                <a:gd name="T41" fmla="*/ 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66" h="740">
                  <a:moveTo>
                    <a:pt x="38" y="0"/>
                  </a:moveTo>
                  <a:lnTo>
                    <a:pt x="1127" y="0"/>
                  </a:lnTo>
                  <a:lnTo>
                    <a:pt x="1142" y="4"/>
                  </a:lnTo>
                  <a:lnTo>
                    <a:pt x="1155" y="11"/>
                  </a:lnTo>
                  <a:lnTo>
                    <a:pt x="1163" y="23"/>
                  </a:lnTo>
                  <a:lnTo>
                    <a:pt x="1166" y="39"/>
                  </a:lnTo>
                  <a:lnTo>
                    <a:pt x="1166" y="702"/>
                  </a:lnTo>
                  <a:lnTo>
                    <a:pt x="1163" y="717"/>
                  </a:lnTo>
                  <a:lnTo>
                    <a:pt x="1155" y="729"/>
                  </a:lnTo>
                  <a:lnTo>
                    <a:pt x="1142" y="738"/>
                  </a:lnTo>
                  <a:lnTo>
                    <a:pt x="1127" y="740"/>
                  </a:lnTo>
                  <a:lnTo>
                    <a:pt x="38" y="740"/>
                  </a:lnTo>
                  <a:lnTo>
                    <a:pt x="23" y="738"/>
                  </a:lnTo>
                  <a:lnTo>
                    <a:pt x="11" y="729"/>
                  </a:lnTo>
                  <a:lnTo>
                    <a:pt x="2" y="717"/>
                  </a:lnTo>
                  <a:lnTo>
                    <a:pt x="0" y="702"/>
                  </a:lnTo>
                  <a:lnTo>
                    <a:pt x="0" y="39"/>
                  </a:lnTo>
                  <a:lnTo>
                    <a:pt x="2" y="23"/>
                  </a:lnTo>
                  <a:lnTo>
                    <a:pt x="11" y="11"/>
                  </a:lnTo>
                  <a:lnTo>
                    <a:pt x="23" y="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A7CCD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Rectangle 34">
              <a:extLst>
                <a:ext uri="{FF2B5EF4-FFF2-40B4-BE49-F238E27FC236}">
                  <a16:creationId xmlns:a16="http://schemas.microsoft.com/office/drawing/2014/main" id="{7EDD3192-5C76-4189-ACBD-C8C48CE10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7126" y="2503488"/>
              <a:ext cx="1851025" cy="219075"/>
            </a:xfrm>
            <a:prstGeom prst="rect">
              <a:avLst/>
            </a:prstGeom>
            <a:solidFill>
              <a:srgbClr val="3F3F3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Freeform 35">
              <a:extLst>
                <a:ext uri="{FF2B5EF4-FFF2-40B4-BE49-F238E27FC236}">
                  <a16:creationId xmlns:a16="http://schemas.microsoft.com/office/drawing/2014/main" id="{33ABFAFC-BE66-4B62-B881-11ED9709D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9838" y="1787525"/>
              <a:ext cx="420688" cy="300038"/>
            </a:xfrm>
            <a:custGeom>
              <a:avLst/>
              <a:gdLst>
                <a:gd name="T0" fmla="*/ 22 w 265"/>
                <a:gd name="T1" fmla="*/ 0 h 189"/>
                <a:gd name="T2" fmla="*/ 245 w 265"/>
                <a:gd name="T3" fmla="*/ 0 h 189"/>
                <a:gd name="T4" fmla="*/ 256 w 265"/>
                <a:gd name="T5" fmla="*/ 3 h 189"/>
                <a:gd name="T6" fmla="*/ 263 w 265"/>
                <a:gd name="T7" fmla="*/ 11 h 189"/>
                <a:gd name="T8" fmla="*/ 265 w 265"/>
                <a:gd name="T9" fmla="*/ 21 h 189"/>
                <a:gd name="T10" fmla="*/ 265 w 265"/>
                <a:gd name="T11" fmla="*/ 168 h 189"/>
                <a:gd name="T12" fmla="*/ 263 w 265"/>
                <a:gd name="T13" fmla="*/ 179 h 189"/>
                <a:gd name="T14" fmla="*/ 256 w 265"/>
                <a:gd name="T15" fmla="*/ 187 h 189"/>
                <a:gd name="T16" fmla="*/ 245 w 265"/>
                <a:gd name="T17" fmla="*/ 189 h 189"/>
                <a:gd name="T18" fmla="*/ 22 w 265"/>
                <a:gd name="T19" fmla="*/ 189 h 189"/>
                <a:gd name="T20" fmla="*/ 11 w 265"/>
                <a:gd name="T21" fmla="*/ 187 h 189"/>
                <a:gd name="T22" fmla="*/ 4 w 265"/>
                <a:gd name="T23" fmla="*/ 179 h 189"/>
                <a:gd name="T24" fmla="*/ 0 w 265"/>
                <a:gd name="T25" fmla="*/ 168 h 189"/>
                <a:gd name="T26" fmla="*/ 0 w 265"/>
                <a:gd name="T27" fmla="*/ 21 h 189"/>
                <a:gd name="T28" fmla="*/ 4 w 265"/>
                <a:gd name="T29" fmla="*/ 11 h 189"/>
                <a:gd name="T30" fmla="*/ 11 w 265"/>
                <a:gd name="T31" fmla="*/ 3 h 189"/>
                <a:gd name="T32" fmla="*/ 22 w 265"/>
                <a:gd name="T3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5" h="189">
                  <a:moveTo>
                    <a:pt x="22" y="0"/>
                  </a:moveTo>
                  <a:lnTo>
                    <a:pt x="245" y="0"/>
                  </a:lnTo>
                  <a:lnTo>
                    <a:pt x="256" y="3"/>
                  </a:lnTo>
                  <a:lnTo>
                    <a:pt x="263" y="11"/>
                  </a:lnTo>
                  <a:lnTo>
                    <a:pt x="265" y="21"/>
                  </a:lnTo>
                  <a:lnTo>
                    <a:pt x="265" y="168"/>
                  </a:lnTo>
                  <a:lnTo>
                    <a:pt x="263" y="179"/>
                  </a:lnTo>
                  <a:lnTo>
                    <a:pt x="256" y="187"/>
                  </a:lnTo>
                  <a:lnTo>
                    <a:pt x="245" y="189"/>
                  </a:lnTo>
                  <a:lnTo>
                    <a:pt x="22" y="189"/>
                  </a:lnTo>
                  <a:lnTo>
                    <a:pt x="11" y="187"/>
                  </a:lnTo>
                  <a:lnTo>
                    <a:pt x="4" y="179"/>
                  </a:lnTo>
                  <a:lnTo>
                    <a:pt x="0" y="168"/>
                  </a:lnTo>
                  <a:lnTo>
                    <a:pt x="0" y="21"/>
                  </a:lnTo>
                  <a:lnTo>
                    <a:pt x="4" y="11"/>
                  </a:lnTo>
                  <a:lnTo>
                    <a:pt x="11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3BF407E5-79EB-4541-A319-16AC53A7A609}"/>
              </a:ext>
            </a:extLst>
          </p:cNvPr>
          <p:cNvGrpSpPr/>
          <p:nvPr/>
        </p:nvGrpSpPr>
        <p:grpSpPr>
          <a:xfrm>
            <a:off x="102303" y="5277214"/>
            <a:ext cx="969520" cy="1003183"/>
            <a:chOff x="5965826" y="1566863"/>
            <a:chExt cx="4140200" cy="3486150"/>
          </a:xfrm>
        </p:grpSpPr>
        <p:sp>
          <p:nvSpPr>
            <p:cNvPr id="304" name="Freeform 8">
              <a:extLst>
                <a:ext uri="{FF2B5EF4-FFF2-40B4-BE49-F238E27FC236}">
                  <a16:creationId xmlns:a16="http://schemas.microsoft.com/office/drawing/2014/main" id="{D0B45B8A-A1BF-48F4-A013-51D14014E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6" y="4522788"/>
              <a:ext cx="1211263" cy="530225"/>
            </a:xfrm>
            <a:custGeom>
              <a:avLst/>
              <a:gdLst>
                <a:gd name="T0" fmla="*/ 368 w 1524"/>
                <a:gd name="T1" fmla="*/ 0 h 669"/>
                <a:gd name="T2" fmla="*/ 1154 w 1524"/>
                <a:gd name="T3" fmla="*/ 0 h 669"/>
                <a:gd name="T4" fmla="*/ 1524 w 1524"/>
                <a:gd name="T5" fmla="*/ 669 h 669"/>
                <a:gd name="T6" fmla="*/ 0 w 1524"/>
                <a:gd name="T7" fmla="*/ 669 h 669"/>
                <a:gd name="T8" fmla="*/ 368 w 1524"/>
                <a:gd name="T9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4" h="669">
                  <a:moveTo>
                    <a:pt x="368" y="0"/>
                  </a:moveTo>
                  <a:lnTo>
                    <a:pt x="1154" y="0"/>
                  </a:lnTo>
                  <a:lnTo>
                    <a:pt x="1524" y="669"/>
                  </a:lnTo>
                  <a:lnTo>
                    <a:pt x="0" y="669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Freeform 9">
              <a:extLst>
                <a:ext uri="{FF2B5EF4-FFF2-40B4-BE49-F238E27FC236}">
                  <a16:creationId xmlns:a16="http://schemas.microsoft.com/office/drawing/2014/main" id="{20D9784A-C771-45FE-8F74-5E0343630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2232026"/>
              <a:ext cx="3244850" cy="2425700"/>
            </a:xfrm>
            <a:custGeom>
              <a:avLst/>
              <a:gdLst>
                <a:gd name="T0" fmla="*/ 190 w 4088"/>
                <a:gd name="T1" fmla="*/ 0 h 3056"/>
                <a:gd name="T2" fmla="*/ 3898 w 4088"/>
                <a:gd name="T3" fmla="*/ 0 h 3056"/>
                <a:gd name="T4" fmla="*/ 3943 w 4088"/>
                <a:gd name="T5" fmla="*/ 6 h 3056"/>
                <a:gd name="T6" fmla="*/ 3982 w 4088"/>
                <a:gd name="T7" fmla="*/ 19 h 3056"/>
                <a:gd name="T8" fmla="*/ 4018 w 4088"/>
                <a:gd name="T9" fmla="*/ 41 h 3056"/>
                <a:gd name="T10" fmla="*/ 4046 w 4088"/>
                <a:gd name="T11" fmla="*/ 71 h 3056"/>
                <a:gd name="T12" fmla="*/ 4069 w 4088"/>
                <a:gd name="T13" fmla="*/ 107 h 3056"/>
                <a:gd name="T14" fmla="*/ 4084 w 4088"/>
                <a:gd name="T15" fmla="*/ 147 h 3056"/>
                <a:gd name="T16" fmla="*/ 4088 w 4088"/>
                <a:gd name="T17" fmla="*/ 190 h 3056"/>
                <a:gd name="T18" fmla="*/ 4088 w 4088"/>
                <a:gd name="T19" fmla="*/ 2865 h 3056"/>
                <a:gd name="T20" fmla="*/ 4084 w 4088"/>
                <a:gd name="T21" fmla="*/ 2909 h 3056"/>
                <a:gd name="T22" fmla="*/ 4069 w 4088"/>
                <a:gd name="T23" fmla="*/ 2948 h 3056"/>
                <a:gd name="T24" fmla="*/ 4046 w 4088"/>
                <a:gd name="T25" fmla="*/ 2984 h 3056"/>
                <a:gd name="T26" fmla="*/ 4018 w 4088"/>
                <a:gd name="T27" fmla="*/ 3014 h 3056"/>
                <a:gd name="T28" fmla="*/ 3982 w 4088"/>
                <a:gd name="T29" fmla="*/ 3037 h 3056"/>
                <a:gd name="T30" fmla="*/ 3943 w 4088"/>
                <a:gd name="T31" fmla="*/ 3050 h 3056"/>
                <a:gd name="T32" fmla="*/ 3898 w 4088"/>
                <a:gd name="T33" fmla="*/ 3056 h 3056"/>
                <a:gd name="T34" fmla="*/ 190 w 4088"/>
                <a:gd name="T35" fmla="*/ 3056 h 3056"/>
                <a:gd name="T36" fmla="*/ 147 w 4088"/>
                <a:gd name="T37" fmla="*/ 3050 h 3056"/>
                <a:gd name="T38" fmla="*/ 106 w 4088"/>
                <a:gd name="T39" fmla="*/ 3037 h 3056"/>
                <a:gd name="T40" fmla="*/ 72 w 4088"/>
                <a:gd name="T41" fmla="*/ 3014 h 3056"/>
                <a:gd name="T42" fmla="*/ 42 w 4088"/>
                <a:gd name="T43" fmla="*/ 2984 h 3056"/>
                <a:gd name="T44" fmla="*/ 19 w 4088"/>
                <a:gd name="T45" fmla="*/ 2948 h 3056"/>
                <a:gd name="T46" fmla="*/ 6 w 4088"/>
                <a:gd name="T47" fmla="*/ 2909 h 3056"/>
                <a:gd name="T48" fmla="*/ 0 w 4088"/>
                <a:gd name="T49" fmla="*/ 2865 h 3056"/>
                <a:gd name="T50" fmla="*/ 0 w 4088"/>
                <a:gd name="T51" fmla="*/ 190 h 3056"/>
                <a:gd name="T52" fmla="*/ 6 w 4088"/>
                <a:gd name="T53" fmla="*/ 147 h 3056"/>
                <a:gd name="T54" fmla="*/ 19 w 4088"/>
                <a:gd name="T55" fmla="*/ 107 h 3056"/>
                <a:gd name="T56" fmla="*/ 42 w 4088"/>
                <a:gd name="T57" fmla="*/ 71 h 3056"/>
                <a:gd name="T58" fmla="*/ 72 w 4088"/>
                <a:gd name="T59" fmla="*/ 41 h 3056"/>
                <a:gd name="T60" fmla="*/ 106 w 4088"/>
                <a:gd name="T61" fmla="*/ 19 h 3056"/>
                <a:gd name="T62" fmla="*/ 147 w 4088"/>
                <a:gd name="T63" fmla="*/ 6 h 3056"/>
                <a:gd name="T64" fmla="*/ 190 w 4088"/>
                <a:gd name="T65" fmla="*/ 0 h 3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88" h="3056">
                  <a:moveTo>
                    <a:pt x="190" y="0"/>
                  </a:moveTo>
                  <a:lnTo>
                    <a:pt x="3898" y="0"/>
                  </a:lnTo>
                  <a:lnTo>
                    <a:pt x="3943" y="6"/>
                  </a:lnTo>
                  <a:lnTo>
                    <a:pt x="3982" y="19"/>
                  </a:lnTo>
                  <a:lnTo>
                    <a:pt x="4018" y="41"/>
                  </a:lnTo>
                  <a:lnTo>
                    <a:pt x="4046" y="71"/>
                  </a:lnTo>
                  <a:lnTo>
                    <a:pt x="4069" y="107"/>
                  </a:lnTo>
                  <a:lnTo>
                    <a:pt x="4084" y="147"/>
                  </a:lnTo>
                  <a:lnTo>
                    <a:pt x="4088" y="190"/>
                  </a:lnTo>
                  <a:lnTo>
                    <a:pt x="4088" y="2865"/>
                  </a:lnTo>
                  <a:lnTo>
                    <a:pt x="4084" y="2909"/>
                  </a:lnTo>
                  <a:lnTo>
                    <a:pt x="4069" y="2948"/>
                  </a:lnTo>
                  <a:lnTo>
                    <a:pt x="4046" y="2984"/>
                  </a:lnTo>
                  <a:lnTo>
                    <a:pt x="4018" y="3014"/>
                  </a:lnTo>
                  <a:lnTo>
                    <a:pt x="3982" y="3037"/>
                  </a:lnTo>
                  <a:lnTo>
                    <a:pt x="3943" y="3050"/>
                  </a:lnTo>
                  <a:lnTo>
                    <a:pt x="3898" y="3056"/>
                  </a:lnTo>
                  <a:lnTo>
                    <a:pt x="190" y="3056"/>
                  </a:lnTo>
                  <a:lnTo>
                    <a:pt x="147" y="3050"/>
                  </a:lnTo>
                  <a:lnTo>
                    <a:pt x="106" y="3037"/>
                  </a:lnTo>
                  <a:lnTo>
                    <a:pt x="72" y="3014"/>
                  </a:lnTo>
                  <a:lnTo>
                    <a:pt x="42" y="2984"/>
                  </a:lnTo>
                  <a:lnTo>
                    <a:pt x="19" y="2948"/>
                  </a:lnTo>
                  <a:lnTo>
                    <a:pt x="6" y="2909"/>
                  </a:lnTo>
                  <a:lnTo>
                    <a:pt x="0" y="2865"/>
                  </a:lnTo>
                  <a:lnTo>
                    <a:pt x="0" y="190"/>
                  </a:lnTo>
                  <a:lnTo>
                    <a:pt x="6" y="147"/>
                  </a:lnTo>
                  <a:lnTo>
                    <a:pt x="19" y="107"/>
                  </a:lnTo>
                  <a:lnTo>
                    <a:pt x="42" y="71"/>
                  </a:lnTo>
                  <a:lnTo>
                    <a:pt x="72" y="41"/>
                  </a:lnTo>
                  <a:lnTo>
                    <a:pt x="106" y="19"/>
                  </a:lnTo>
                  <a:lnTo>
                    <a:pt x="147" y="6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10">
              <a:extLst>
                <a:ext uri="{FF2B5EF4-FFF2-40B4-BE49-F238E27FC236}">
                  <a16:creationId xmlns:a16="http://schemas.microsoft.com/office/drawing/2014/main" id="{5DE72A63-F32C-4B90-9660-62DAF23EA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6" y="4505326"/>
              <a:ext cx="38100" cy="38100"/>
            </a:xfrm>
            <a:custGeom>
              <a:avLst/>
              <a:gdLst>
                <a:gd name="T0" fmla="*/ 24 w 49"/>
                <a:gd name="T1" fmla="*/ 0 h 49"/>
                <a:gd name="T2" fmla="*/ 32 w 49"/>
                <a:gd name="T3" fmla="*/ 0 h 49"/>
                <a:gd name="T4" fmla="*/ 39 w 49"/>
                <a:gd name="T5" fmla="*/ 3 h 49"/>
                <a:gd name="T6" fmla="*/ 43 w 49"/>
                <a:gd name="T7" fmla="*/ 9 h 49"/>
                <a:gd name="T8" fmla="*/ 47 w 49"/>
                <a:gd name="T9" fmla="*/ 17 h 49"/>
                <a:gd name="T10" fmla="*/ 49 w 49"/>
                <a:gd name="T11" fmla="*/ 24 h 49"/>
                <a:gd name="T12" fmla="*/ 47 w 49"/>
                <a:gd name="T13" fmla="*/ 32 h 49"/>
                <a:gd name="T14" fmla="*/ 43 w 49"/>
                <a:gd name="T15" fmla="*/ 37 h 49"/>
                <a:gd name="T16" fmla="*/ 39 w 49"/>
                <a:gd name="T17" fmla="*/ 43 h 49"/>
                <a:gd name="T18" fmla="*/ 32 w 49"/>
                <a:gd name="T19" fmla="*/ 47 h 49"/>
                <a:gd name="T20" fmla="*/ 24 w 49"/>
                <a:gd name="T21" fmla="*/ 49 h 49"/>
                <a:gd name="T22" fmla="*/ 17 w 49"/>
                <a:gd name="T23" fmla="*/ 47 h 49"/>
                <a:gd name="T24" fmla="*/ 9 w 49"/>
                <a:gd name="T25" fmla="*/ 43 h 49"/>
                <a:gd name="T26" fmla="*/ 4 w 49"/>
                <a:gd name="T27" fmla="*/ 37 h 49"/>
                <a:gd name="T28" fmla="*/ 0 w 49"/>
                <a:gd name="T29" fmla="*/ 32 h 49"/>
                <a:gd name="T30" fmla="*/ 0 w 49"/>
                <a:gd name="T31" fmla="*/ 24 h 49"/>
                <a:gd name="T32" fmla="*/ 0 w 49"/>
                <a:gd name="T33" fmla="*/ 17 h 49"/>
                <a:gd name="T34" fmla="*/ 4 w 49"/>
                <a:gd name="T35" fmla="*/ 9 h 49"/>
                <a:gd name="T36" fmla="*/ 9 w 49"/>
                <a:gd name="T37" fmla="*/ 3 h 49"/>
                <a:gd name="T38" fmla="*/ 17 w 49"/>
                <a:gd name="T39" fmla="*/ 0 h 49"/>
                <a:gd name="T40" fmla="*/ 24 w 49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lnTo>
                    <a:pt x="32" y="0"/>
                  </a:lnTo>
                  <a:lnTo>
                    <a:pt x="39" y="3"/>
                  </a:lnTo>
                  <a:lnTo>
                    <a:pt x="43" y="9"/>
                  </a:lnTo>
                  <a:lnTo>
                    <a:pt x="47" y="17"/>
                  </a:lnTo>
                  <a:lnTo>
                    <a:pt x="49" y="24"/>
                  </a:lnTo>
                  <a:lnTo>
                    <a:pt x="47" y="32"/>
                  </a:lnTo>
                  <a:lnTo>
                    <a:pt x="43" y="37"/>
                  </a:lnTo>
                  <a:lnTo>
                    <a:pt x="39" y="43"/>
                  </a:lnTo>
                  <a:lnTo>
                    <a:pt x="32" y="47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9" y="43"/>
                  </a:lnTo>
                  <a:lnTo>
                    <a:pt x="4" y="37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4" y="9"/>
                  </a:lnTo>
                  <a:lnTo>
                    <a:pt x="9" y="3"/>
                  </a:lnTo>
                  <a:lnTo>
                    <a:pt x="17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11">
              <a:extLst>
                <a:ext uri="{FF2B5EF4-FFF2-40B4-BE49-F238E27FC236}">
                  <a16:creationId xmlns:a16="http://schemas.microsoft.com/office/drawing/2014/main" id="{D0B91AEE-F75F-410E-9F67-16955DEC4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26" y="4505326"/>
              <a:ext cx="38100" cy="38100"/>
            </a:xfrm>
            <a:custGeom>
              <a:avLst/>
              <a:gdLst>
                <a:gd name="T0" fmla="*/ 24 w 49"/>
                <a:gd name="T1" fmla="*/ 0 h 49"/>
                <a:gd name="T2" fmla="*/ 32 w 49"/>
                <a:gd name="T3" fmla="*/ 0 h 49"/>
                <a:gd name="T4" fmla="*/ 38 w 49"/>
                <a:gd name="T5" fmla="*/ 3 h 49"/>
                <a:gd name="T6" fmla="*/ 43 w 49"/>
                <a:gd name="T7" fmla="*/ 9 h 49"/>
                <a:gd name="T8" fmla="*/ 47 w 49"/>
                <a:gd name="T9" fmla="*/ 17 h 49"/>
                <a:gd name="T10" fmla="*/ 49 w 49"/>
                <a:gd name="T11" fmla="*/ 24 h 49"/>
                <a:gd name="T12" fmla="*/ 47 w 49"/>
                <a:gd name="T13" fmla="*/ 32 h 49"/>
                <a:gd name="T14" fmla="*/ 43 w 49"/>
                <a:gd name="T15" fmla="*/ 37 h 49"/>
                <a:gd name="T16" fmla="*/ 38 w 49"/>
                <a:gd name="T17" fmla="*/ 43 h 49"/>
                <a:gd name="T18" fmla="*/ 32 w 49"/>
                <a:gd name="T19" fmla="*/ 47 h 49"/>
                <a:gd name="T20" fmla="*/ 24 w 49"/>
                <a:gd name="T21" fmla="*/ 49 h 49"/>
                <a:gd name="T22" fmla="*/ 17 w 49"/>
                <a:gd name="T23" fmla="*/ 47 h 49"/>
                <a:gd name="T24" fmla="*/ 9 w 49"/>
                <a:gd name="T25" fmla="*/ 43 h 49"/>
                <a:gd name="T26" fmla="*/ 4 w 49"/>
                <a:gd name="T27" fmla="*/ 37 h 49"/>
                <a:gd name="T28" fmla="*/ 0 w 49"/>
                <a:gd name="T29" fmla="*/ 32 h 49"/>
                <a:gd name="T30" fmla="*/ 0 w 49"/>
                <a:gd name="T31" fmla="*/ 24 h 49"/>
                <a:gd name="T32" fmla="*/ 0 w 49"/>
                <a:gd name="T33" fmla="*/ 17 h 49"/>
                <a:gd name="T34" fmla="*/ 4 w 49"/>
                <a:gd name="T35" fmla="*/ 9 h 49"/>
                <a:gd name="T36" fmla="*/ 9 w 49"/>
                <a:gd name="T37" fmla="*/ 3 h 49"/>
                <a:gd name="T38" fmla="*/ 17 w 49"/>
                <a:gd name="T39" fmla="*/ 0 h 49"/>
                <a:gd name="T40" fmla="*/ 24 w 49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lnTo>
                    <a:pt x="32" y="0"/>
                  </a:lnTo>
                  <a:lnTo>
                    <a:pt x="38" y="3"/>
                  </a:lnTo>
                  <a:lnTo>
                    <a:pt x="43" y="9"/>
                  </a:lnTo>
                  <a:lnTo>
                    <a:pt x="47" y="17"/>
                  </a:lnTo>
                  <a:lnTo>
                    <a:pt x="49" y="24"/>
                  </a:lnTo>
                  <a:lnTo>
                    <a:pt x="47" y="32"/>
                  </a:lnTo>
                  <a:lnTo>
                    <a:pt x="43" y="37"/>
                  </a:lnTo>
                  <a:lnTo>
                    <a:pt x="38" y="43"/>
                  </a:lnTo>
                  <a:lnTo>
                    <a:pt x="32" y="47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9" y="43"/>
                  </a:lnTo>
                  <a:lnTo>
                    <a:pt x="4" y="37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4" y="9"/>
                  </a:lnTo>
                  <a:lnTo>
                    <a:pt x="9" y="3"/>
                  </a:lnTo>
                  <a:lnTo>
                    <a:pt x="17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12">
              <a:extLst>
                <a:ext uri="{FF2B5EF4-FFF2-40B4-BE49-F238E27FC236}">
                  <a16:creationId xmlns:a16="http://schemas.microsoft.com/office/drawing/2014/main" id="{CF630B7A-265F-45BA-B637-7BAC4FB1B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4838" y="4505326"/>
              <a:ext cx="39688" cy="38100"/>
            </a:xfrm>
            <a:custGeom>
              <a:avLst/>
              <a:gdLst>
                <a:gd name="T0" fmla="*/ 25 w 51"/>
                <a:gd name="T1" fmla="*/ 0 h 49"/>
                <a:gd name="T2" fmla="*/ 34 w 51"/>
                <a:gd name="T3" fmla="*/ 0 h 49"/>
                <a:gd name="T4" fmla="*/ 40 w 51"/>
                <a:gd name="T5" fmla="*/ 3 h 49"/>
                <a:gd name="T6" fmla="*/ 45 w 51"/>
                <a:gd name="T7" fmla="*/ 9 h 49"/>
                <a:gd name="T8" fmla="*/ 49 w 51"/>
                <a:gd name="T9" fmla="*/ 17 h 49"/>
                <a:gd name="T10" fmla="*/ 51 w 51"/>
                <a:gd name="T11" fmla="*/ 24 h 49"/>
                <a:gd name="T12" fmla="*/ 49 w 51"/>
                <a:gd name="T13" fmla="*/ 32 h 49"/>
                <a:gd name="T14" fmla="*/ 45 w 51"/>
                <a:gd name="T15" fmla="*/ 37 h 49"/>
                <a:gd name="T16" fmla="*/ 40 w 51"/>
                <a:gd name="T17" fmla="*/ 43 h 49"/>
                <a:gd name="T18" fmla="*/ 34 w 51"/>
                <a:gd name="T19" fmla="*/ 47 h 49"/>
                <a:gd name="T20" fmla="*/ 25 w 51"/>
                <a:gd name="T21" fmla="*/ 49 h 49"/>
                <a:gd name="T22" fmla="*/ 17 w 51"/>
                <a:gd name="T23" fmla="*/ 47 h 49"/>
                <a:gd name="T24" fmla="*/ 11 w 51"/>
                <a:gd name="T25" fmla="*/ 43 h 49"/>
                <a:gd name="T26" fmla="*/ 6 w 51"/>
                <a:gd name="T27" fmla="*/ 37 h 49"/>
                <a:gd name="T28" fmla="*/ 2 w 51"/>
                <a:gd name="T29" fmla="*/ 32 h 49"/>
                <a:gd name="T30" fmla="*/ 0 w 51"/>
                <a:gd name="T31" fmla="*/ 24 h 49"/>
                <a:gd name="T32" fmla="*/ 2 w 51"/>
                <a:gd name="T33" fmla="*/ 17 h 49"/>
                <a:gd name="T34" fmla="*/ 6 w 51"/>
                <a:gd name="T35" fmla="*/ 9 h 49"/>
                <a:gd name="T36" fmla="*/ 11 w 51"/>
                <a:gd name="T37" fmla="*/ 3 h 49"/>
                <a:gd name="T38" fmla="*/ 17 w 51"/>
                <a:gd name="T39" fmla="*/ 0 h 49"/>
                <a:gd name="T40" fmla="*/ 25 w 51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9">
                  <a:moveTo>
                    <a:pt x="25" y="0"/>
                  </a:moveTo>
                  <a:lnTo>
                    <a:pt x="34" y="0"/>
                  </a:lnTo>
                  <a:lnTo>
                    <a:pt x="40" y="3"/>
                  </a:lnTo>
                  <a:lnTo>
                    <a:pt x="45" y="9"/>
                  </a:lnTo>
                  <a:lnTo>
                    <a:pt x="49" y="17"/>
                  </a:lnTo>
                  <a:lnTo>
                    <a:pt x="51" y="24"/>
                  </a:lnTo>
                  <a:lnTo>
                    <a:pt x="49" y="32"/>
                  </a:lnTo>
                  <a:lnTo>
                    <a:pt x="45" y="37"/>
                  </a:lnTo>
                  <a:lnTo>
                    <a:pt x="40" y="43"/>
                  </a:lnTo>
                  <a:lnTo>
                    <a:pt x="34" y="47"/>
                  </a:lnTo>
                  <a:lnTo>
                    <a:pt x="25" y="49"/>
                  </a:lnTo>
                  <a:lnTo>
                    <a:pt x="17" y="47"/>
                  </a:lnTo>
                  <a:lnTo>
                    <a:pt x="11" y="43"/>
                  </a:lnTo>
                  <a:lnTo>
                    <a:pt x="6" y="37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2" y="17"/>
                  </a:lnTo>
                  <a:lnTo>
                    <a:pt x="6" y="9"/>
                  </a:lnTo>
                  <a:lnTo>
                    <a:pt x="11" y="3"/>
                  </a:lnTo>
                  <a:lnTo>
                    <a:pt x="17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13">
              <a:extLst>
                <a:ext uri="{FF2B5EF4-FFF2-40B4-BE49-F238E27FC236}">
                  <a16:creationId xmlns:a16="http://schemas.microsoft.com/office/drawing/2014/main" id="{9CC0960C-B652-42E1-9650-397220586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4894263"/>
              <a:ext cx="3754438" cy="158750"/>
            </a:xfrm>
            <a:custGeom>
              <a:avLst/>
              <a:gdLst>
                <a:gd name="T0" fmla="*/ 100 w 4728"/>
                <a:gd name="T1" fmla="*/ 0 h 202"/>
                <a:gd name="T2" fmla="*/ 4627 w 4728"/>
                <a:gd name="T3" fmla="*/ 0 h 202"/>
                <a:gd name="T4" fmla="*/ 4659 w 4728"/>
                <a:gd name="T5" fmla="*/ 6 h 202"/>
                <a:gd name="T6" fmla="*/ 4687 w 4728"/>
                <a:gd name="T7" fmla="*/ 19 h 202"/>
                <a:gd name="T8" fmla="*/ 4707 w 4728"/>
                <a:gd name="T9" fmla="*/ 41 h 202"/>
                <a:gd name="T10" fmla="*/ 4722 w 4728"/>
                <a:gd name="T11" fmla="*/ 70 h 202"/>
                <a:gd name="T12" fmla="*/ 4728 w 4728"/>
                <a:gd name="T13" fmla="*/ 102 h 202"/>
                <a:gd name="T14" fmla="*/ 4722 w 4728"/>
                <a:gd name="T15" fmla="*/ 132 h 202"/>
                <a:gd name="T16" fmla="*/ 4707 w 4728"/>
                <a:gd name="T17" fmla="*/ 160 h 202"/>
                <a:gd name="T18" fmla="*/ 4687 w 4728"/>
                <a:gd name="T19" fmla="*/ 183 h 202"/>
                <a:gd name="T20" fmla="*/ 4659 w 4728"/>
                <a:gd name="T21" fmla="*/ 196 h 202"/>
                <a:gd name="T22" fmla="*/ 4627 w 4728"/>
                <a:gd name="T23" fmla="*/ 202 h 202"/>
                <a:gd name="T24" fmla="*/ 100 w 4728"/>
                <a:gd name="T25" fmla="*/ 202 h 202"/>
                <a:gd name="T26" fmla="*/ 68 w 4728"/>
                <a:gd name="T27" fmla="*/ 196 h 202"/>
                <a:gd name="T28" fmla="*/ 41 w 4728"/>
                <a:gd name="T29" fmla="*/ 183 h 202"/>
                <a:gd name="T30" fmla="*/ 19 w 4728"/>
                <a:gd name="T31" fmla="*/ 160 h 202"/>
                <a:gd name="T32" fmla="*/ 4 w 4728"/>
                <a:gd name="T33" fmla="*/ 132 h 202"/>
                <a:gd name="T34" fmla="*/ 0 w 4728"/>
                <a:gd name="T35" fmla="*/ 102 h 202"/>
                <a:gd name="T36" fmla="*/ 4 w 4728"/>
                <a:gd name="T37" fmla="*/ 70 h 202"/>
                <a:gd name="T38" fmla="*/ 19 w 4728"/>
                <a:gd name="T39" fmla="*/ 41 h 202"/>
                <a:gd name="T40" fmla="*/ 41 w 4728"/>
                <a:gd name="T41" fmla="*/ 19 h 202"/>
                <a:gd name="T42" fmla="*/ 68 w 4728"/>
                <a:gd name="T43" fmla="*/ 6 h 202"/>
                <a:gd name="T44" fmla="*/ 100 w 4728"/>
                <a:gd name="T45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28" h="202">
                  <a:moveTo>
                    <a:pt x="100" y="0"/>
                  </a:moveTo>
                  <a:lnTo>
                    <a:pt x="4627" y="0"/>
                  </a:lnTo>
                  <a:lnTo>
                    <a:pt x="4659" y="6"/>
                  </a:lnTo>
                  <a:lnTo>
                    <a:pt x="4687" y="19"/>
                  </a:lnTo>
                  <a:lnTo>
                    <a:pt x="4707" y="41"/>
                  </a:lnTo>
                  <a:lnTo>
                    <a:pt x="4722" y="70"/>
                  </a:lnTo>
                  <a:lnTo>
                    <a:pt x="4728" y="102"/>
                  </a:lnTo>
                  <a:lnTo>
                    <a:pt x="4722" y="132"/>
                  </a:lnTo>
                  <a:lnTo>
                    <a:pt x="4707" y="160"/>
                  </a:lnTo>
                  <a:lnTo>
                    <a:pt x="4687" y="183"/>
                  </a:lnTo>
                  <a:lnTo>
                    <a:pt x="4659" y="196"/>
                  </a:lnTo>
                  <a:lnTo>
                    <a:pt x="4627" y="202"/>
                  </a:lnTo>
                  <a:lnTo>
                    <a:pt x="100" y="202"/>
                  </a:lnTo>
                  <a:lnTo>
                    <a:pt x="68" y="196"/>
                  </a:lnTo>
                  <a:lnTo>
                    <a:pt x="41" y="183"/>
                  </a:lnTo>
                  <a:lnTo>
                    <a:pt x="19" y="160"/>
                  </a:lnTo>
                  <a:lnTo>
                    <a:pt x="4" y="132"/>
                  </a:lnTo>
                  <a:lnTo>
                    <a:pt x="0" y="102"/>
                  </a:lnTo>
                  <a:lnTo>
                    <a:pt x="4" y="70"/>
                  </a:lnTo>
                  <a:lnTo>
                    <a:pt x="19" y="41"/>
                  </a:lnTo>
                  <a:lnTo>
                    <a:pt x="41" y="19"/>
                  </a:lnTo>
                  <a:lnTo>
                    <a:pt x="68" y="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14">
              <a:extLst>
                <a:ext uri="{FF2B5EF4-FFF2-40B4-BE49-F238E27FC236}">
                  <a16:creationId xmlns:a16="http://schemas.microsoft.com/office/drawing/2014/main" id="{32CFA814-0F48-4102-B06F-70A3B67E4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4973638"/>
              <a:ext cx="3754438" cy="79375"/>
            </a:xfrm>
            <a:custGeom>
              <a:avLst/>
              <a:gdLst>
                <a:gd name="T0" fmla="*/ 0 w 4728"/>
                <a:gd name="T1" fmla="*/ 0 h 100"/>
                <a:gd name="T2" fmla="*/ 4728 w 4728"/>
                <a:gd name="T3" fmla="*/ 0 h 100"/>
                <a:gd name="T4" fmla="*/ 4722 w 4728"/>
                <a:gd name="T5" fmla="*/ 30 h 100"/>
                <a:gd name="T6" fmla="*/ 4707 w 4728"/>
                <a:gd name="T7" fmla="*/ 58 h 100"/>
                <a:gd name="T8" fmla="*/ 4687 w 4728"/>
                <a:gd name="T9" fmla="*/ 81 h 100"/>
                <a:gd name="T10" fmla="*/ 4659 w 4728"/>
                <a:gd name="T11" fmla="*/ 94 h 100"/>
                <a:gd name="T12" fmla="*/ 4627 w 4728"/>
                <a:gd name="T13" fmla="*/ 100 h 100"/>
                <a:gd name="T14" fmla="*/ 100 w 4728"/>
                <a:gd name="T15" fmla="*/ 100 h 100"/>
                <a:gd name="T16" fmla="*/ 68 w 4728"/>
                <a:gd name="T17" fmla="*/ 94 h 100"/>
                <a:gd name="T18" fmla="*/ 41 w 4728"/>
                <a:gd name="T19" fmla="*/ 81 h 100"/>
                <a:gd name="T20" fmla="*/ 19 w 4728"/>
                <a:gd name="T21" fmla="*/ 58 h 100"/>
                <a:gd name="T22" fmla="*/ 4 w 4728"/>
                <a:gd name="T23" fmla="*/ 30 h 100"/>
                <a:gd name="T24" fmla="*/ 0 w 4728"/>
                <a:gd name="T2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8" h="100">
                  <a:moveTo>
                    <a:pt x="0" y="0"/>
                  </a:moveTo>
                  <a:lnTo>
                    <a:pt x="4728" y="0"/>
                  </a:lnTo>
                  <a:lnTo>
                    <a:pt x="4722" y="30"/>
                  </a:lnTo>
                  <a:lnTo>
                    <a:pt x="4707" y="58"/>
                  </a:lnTo>
                  <a:lnTo>
                    <a:pt x="4687" y="81"/>
                  </a:lnTo>
                  <a:lnTo>
                    <a:pt x="4659" y="94"/>
                  </a:lnTo>
                  <a:lnTo>
                    <a:pt x="4627" y="100"/>
                  </a:lnTo>
                  <a:lnTo>
                    <a:pt x="100" y="100"/>
                  </a:lnTo>
                  <a:lnTo>
                    <a:pt x="68" y="94"/>
                  </a:lnTo>
                  <a:lnTo>
                    <a:pt x="41" y="81"/>
                  </a:lnTo>
                  <a:lnTo>
                    <a:pt x="19" y="58"/>
                  </a:lnTo>
                  <a:lnTo>
                    <a:pt x="4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Rectangle 15">
              <a:extLst>
                <a:ext uri="{FF2B5EF4-FFF2-40B4-BE49-F238E27FC236}">
                  <a16:creationId xmlns:a16="http://schemas.microsoft.com/office/drawing/2014/main" id="{0015491E-A2EE-4A42-AA09-64D84DA8B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5601" y="2320926"/>
              <a:ext cx="3044825" cy="2066925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16">
              <a:extLst>
                <a:ext uri="{FF2B5EF4-FFF2-40B4-BE49-F238E27FC236}">
                  <a16:creationId xmlns:a16="http://schemas.microsoft.com/office/drawing/2014/main" id="{D7F2476E-0202-4B08-9EA9-F4E5571EC3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776" y="2516188"/>
              <a:ext cx="1458913" cy="1462088"/>
            </a:xfrm>
            <a:custGeom>
              <a:avLst/>
              <a:gdLst>
                <a:gd name="T0" fmla="*/ 844 w 1839"/>
                <a:gd name="T1" fmla="*/ 340 h 1843"/>
                <a:gd name="T2" fmla="*/ 701 w 1839"/>
                <a:gd name="T3" fmla="*/ 376 h 1843"/>
                <a:gd name="T4" fmla="*/ 573 w 1839"/>
                <a:gd name="T5" fmla="*/ 448 h 1843"/>
                <a:gd name="T6" fmla="*/ 466 w 1839"/>
                <a:gd name="T7" fmla="*/ 549 h 1843"/>
                <a:gd name="T8" fmla="*/ 385 w 1839"/>
                <a:gd name="T9" fmla="*/ 677 h 1843"/>
                <a:gd name="T10" fmla="*/ 342 w 1839"/>
                <a:gd name="T11" fmla="*/ 822 h 1843"/>
                <a:gd name="T12" fmla="*/ 335 w 1839"/>
                <a:gd name="T13" fmla="*/ 965 h 1843"/>
                <a:gd name="T14" fmla="*/ 361 w 1839"/>
                <a:gd name="T15" fmla="*/ 1103 h 1843"/>
                <a:gd name="T16" fmla="*/ 419 w 1839"/>
                <a:gd name="T17" fmla="*/ 1227 h 1843"/>
                <a:gd name="T18" fmla="*/ 506 w 1839"/>
                <a:gd name="T19" fmla="*/ 1336 h 1843"/>
                <a:gd name="T20" fmla="*/ 617 w 1839"/>
                <a:gd name="T21" fmla="*/ 1423 h 1843"/>
                <a:gd name="T22" fmla="*/ 748 w 1839"/>
                <a:gd name="T23" fmla="*/ 1483 h 1843"/>
                <a:gd name="T24" fmla="*/ 919 w 1839"/>
                <a:gd name="T25" fmla="*/ 1508 h 1843"/>
                <a:gd name="T26" fmla="*/ 1066 w 1839"/>
                <a:gd name="T27" fmla="*/ 1489 h 1843"/>
                <a:gd name="T28" fmla="*/ 1203 w 1839"/>
                <a:gd name="T29" fmla="*/ 1434 h 1843"/>
                <a:gd name="T30" fmla="*/ 1322 w 1839"/>
                <a:gd name="T31" fmla="*/ 1348 h 1843"/>
                <a:gd name="T32" fmla="*/ 1416 w 1839"/>
                <a:gd name="T33" fmla="*/ 1233 h 1843"/>
                <a:gd name="T34" fmla="*/ 1480 w 1839"/>
                <a:gd name="T35" fmla="*/ 1092 h 1843"/>
                <a:gd name="T36" fmla="*/ 1504 w 1839"/>
                <a:gd name="T37" fmla="*/ 949 h 1843"/>
                <a:gd name="T38" fmla="*/ 1495 w 1839"/>
                <a:gd name="T39" fmla="*/ 809 h 1843"/>
                <a:gd name="T40" fmla="*/ 1451 w 1839"/>
                <a:gd name="T41" fmla="*/ 676 h 1843"/>
                <a:gd name="T42" fmla="*/ 1380 w 1839"/>
                <a:gd name="T43" fmla="*/ 559 h 1843"/>
                <a:gd name="T44" fmla="*/ 1280 w 1839"/>
                <a:gd name="T45" fmla="*/ 459 h 1843"/>
                <a:gd name="T46" fmla="*/ 1158 w 1839"/>
                <a:gd name="T47" fmla="*/ 386 h 1843"/>
                <a:gd name="T48" fmla="*/ 1004 w 1839"/>
                <a:gd name="T49" fmla="*/ 340 h 1843"/>
                <a:gd name="T50" fmla="*/ 1047 w 1839"/>
                <a:gd name="T51" fmla="*/ 0 h 1843"/>
                <a:gd name="T52" fmla="*/ 1284 w 1839"/>
                <a:gd name="T53" fmla="*/ 216 h 1843"/>
                <a:gd name="T54" fmla="*/ 1423 w 1839"/>
                <a:gd name="T55" fmla="*/ 308 h 1843"/>
                <a:gd name="T56" fmla="*/ 1540 w 1839"/>
                <a:gd name="T57" fmla="*/ 425 h 1843"/>
                <a:gd name="T58" fmla="*/ 1797 w 1839"/>
                <a:gd name="T59" fmla="*/ 617 h 1843"/>
                <a:gd name="T60" fmla="*/ 1696 w 1839"/>
                <a:gd name="T61" fmla="*/ 760 h 1843"/>
                <a:gd name="T62" fmla="*/ 1713 w 1839"/>
                <a:gd name="T63" fmla="*/ 926 h 1843"/>
                <a:gd name="T64" fmla="*/ 1839 w 1839"/>
                <a:gd name="T65" fmla="*/ 1050 h 1843"/>
                <a:gd name="T66" fmla="*/ 1622 w 1839"/>
                <a:gd name="T67" fmla="*/ 1287 h 1843"/>
                <a:gd name="T68" fmla="*/ 1530 w 1839"/>
                <a:gd name="T69" fmla="*/ 1427 h 1843"/>
                <a:gd name="T70" fmla="*/ 1414 w 1839"/>
                <a:gd name="T71" fmla="*/ 1542 h 1843"/>
                <a:gd name="T72" fmla="*/ 1224 w 1839"/>
                <a:gd name="T73" fmla="*/ 1800 h 1843"/>
                <a:gd name="T74" fmla="*/ 1079 w 1839"/>
                <a:gd name="T75" fmla="*/ 1700 h 1843"/>
                <a:gd name="T76" fmla="*/ 919 w 1839"/>
                <a:gd name="T77" fmla="*/ 1717 h 1843"/>
                <a:gd name="T78" fmla="*/ 791 w 1839"/>
                <a:gd name="T79" fmla="*/ 1843 h 1843"/>
                <a:gd name="T80" fmla="*/ 553 w 1839"/>
                <a:gd name="T81" fmla="*/ 1626 h 1843"/>
                <a:gd name="T82" fmla="*/ 414 w 1839"/>
                <a:gd name="T83" fmla="*/ 1534 h 1843"/>
                <a:gd name="T84" fmla="*/ 299 w 1839"/>
                <a:gd name="T85" fmla="*/ 1417 h 1843"/>
                <a:gd name="T86" fmla="*/ 41 w 1839"/>
                <a:gd name="T87" fmla="*/ 1225 h 1843"/>
                <a:gd name="T88" fmla="*/ 141 w 1839"/>
                <a:gd name="T89" fmla="*/ 1082 h 1843"/>
                <a:gd name="T90" fmla="*/ 126 w 1839"/>
                <a:gd name="T91" fmla="*/ 917 h 1843"/>
                <a:gd name="T92" fmla="*/ 0 w 1839"/>
                <a:gd name="T93" fmla="*/ 794 h 1843"/>
                <a:gd name="T94" fmla="*/ 214 w 1839"/>
                <a:gd name="T95" fmla="*/ 555 h 1843"/>
                <a:gd name="T96" fmla="*/ 306 w 1839"/>
                <a:gd name="T97" fmla="*/ 416 h 1843"/>
                <a:gd name="T98" fmla="*/ 423 w 1839"/>
                <a:gd name="T99" fmla="*/ 301 h 1843"/>
                <a:gd name="T100" fmla="*/ 615 w 1839"/>
                <a:gd name="T101" fmla="*/ 43 h 1843"/>
                <a:gd name="T102" fmla="*/ 758 w 1839"/>
                <a:gd name="T103" fmla="*/ 145 h 1843"/>
                <a:gd name="T104" fmla="*/ 919 w 1839"/>
                <a:gd name="T105" fmla="*/ 128 h 1843"/>
                <a:gd name="T106" fmla="*/ 1047 w 1839"/>
                <a:gd name="T107" fmla="*/ 0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39" h="1843">
                  <a:moveTo>
                    <a:pt x="919" y="335"/>
                  </a:moveTo>
                  <a:lnTo>
                    <a:pt x="844" y="340"/>
                  </a:lnTo>
                  <a:lnTo>
                    <a:pt x="771" y="354"/>
                  </a:lnTo>
                  <a:lnTo>
                    <a:pt x="701" y="376"/>
                  </a:lnTo>
                  <a:lnTo>
                    <a:pt x="635" y="408"/>
                  </a:lnTo>
                  <a:lnTo>
                    <a:pt x="573" y="448"/>
                  </a:lnTo>
                  <a:lnTo>
                    <a:pt x="517" y="495"/>
                  </a:lnTo>
                  <a:lnTo>
                    <a:pt x="466" y="549"/>
                  </a:lnTo>
                  <a:lnTo>
                    <a:pt x="423" y="610"/>
                  </a:lnTo>
                  <a:lnTo>
                    <a:pt x="385" y="677"/>
                  </a:lnTo>
                  <a:lnTo>
                    <a:pt x="359" y="751"/>
                  </a:lnTo>
                  <a:lnTo>
                    <a:pt x="342" y="822"/>
                  </a:lnTo>
                  <a:lnTo>
                    <a:pt x="333" y="894"/>
                  </a:lnTo>
                  <a:lnTo>
                    <a:pt x="335" y="965"/>
                  </a:lnTo>
                  <a:lnTo>
                    <a:pt x="344" y="1035"/>
                  </a:lnTo>
                  <a:lnTo>
                    <a:pt x="361" y="1103"/>
                  </a:lnTo>
                  <a:lnTo>
                    <a:pt x="387" y="1167"/>
                  </a:lnTo>
                  <a:lnTo>
                    <a:pt x="419" y="1227"/>
                  </a:lnTo>
                  <a:lnTo>
                    <a:pt x="459" y="1286"/>
                  </a:lnTo>
                  <a:lnTo>
                    <a:pt x="506" y="1336"/>
                  </a:lnTo>
                  <a:lnTo>
                    <a:pt x="558" y="1383"/>
                  </a:lnTo>
                  <a:lnTo>
                    <a:pt x="617" y="1423"/>
                  </a:lnTo>
                  <a:lnTo>
                    <a:pt x="681" y="1457"/>
                  </a:lnTo>
                  <a:lnTo>
                    <a:pt x="748" y="1483"/>
                  </a:lnTo>
                  <a:lnTo>
                    <a:pt x="835" y="1502"/>
                  </a:lnTo>
                  <a:lnTo>
                    <a:pt x="919" y="1508"/>
                  </a:lnTo>
                  <a:lnTo>
                    <a:pt x="995" y="1504"/>
                  </a:lnTo>
                  <a:lnTo>
                    <a:pt x="1066" y="1489"/>
                  </a:lnTo>
                  <a:lnTo>
                    <a:pt x="1136" y="1466"/>
                  </a:lnTo>
                  <a:lnTo>
                    <a:pt x="1203" y="1434"/>
                  </a:lnTo>
                  <a:lnTo>
                    <a:pt x="1265" y="1395"/>
                  </a:lnTo>
                  <a:lnTo>
                    <a:pt x="1322" y="1348"/>
                  </a:lnTo>
                  <a:lnTo>
                    <a:pt x="1372" y="1293"/>
                  </a:lnTo>
                  <a:lnTo>
                    <a:pt x="1416" y="1233"/>
                  </a:lnTo>
                  <a:lnTo>
                    <a:pt x="1451" y="1165"/>
                  </a:lnTo>
                  <a:lnTo>
                    <a:pt x="1480" y="1092"/>
                  </a:lnTo>
                  <a:lnTo>
                    <a:pt x="1496" y="1020"/>
                  </a:lnTo>
                  <a:lnTo>
                    <a:pt x="1504" y="949"/>
                  </a:lnTo>
                  <a:lnTo>
                    <a:pt x="1504" y="877"/>
                  </a:lnTo>
                  <a:lnTo>
                    <a:pt x="1495" y="809"/>
                  </a:lnTo>
                  <a:lnTo>
                    <a:pt x="1476" y="741"/>
                  </a:lnTo>
                  <a:lnTo>
                    <a:pt x="1451" y="676"/>
                  </a:lnTo>
                  <a:lnTo>
                    <a:pt x="1419" y="615"/>
                  </a:lnTo>
                  <a:lnTo>
                    <a:pt x="1380" y="559"/>
                  </a:lnTo>
                  <a:lnTo>
                    <a:pt x="1333" y="506"/>
                  </a:lnTo>
                  <a:lnTo>
                    <a:pt x="1280" y="459"/>
                  </a:lnTo>
                  <a:lnTo>
                    <a:pt x="1222" y="420"/>
                  </a:lnTo>
                  <a:lnTo>
                    <a:pt x="1158" y="386"/>
                  </a:lnTo>
                  <a:lnTo>
                    <a:pt x="1089" y="361"/>
                  </a:lnTo>
                  <a:lnTo>
                    <a:pt x="1004" y="340"/>
                  </a:lnTo>
                  <a:lnTo>
                    <a:pt x="919" y="335"/>
                  </a:lnTo>
                  <a:close/>
                  <a:moveTo>
                    <a:pt x="1047" y="0"/>
                  </a:moveTo>
                  <a:lnTo>
                    <a:pt x="1324" y="84"/>
                  </a:lnTo>
                  <a:lnTo>
                    <a:pt x="1284" y="216"/>
                  </a:lnTo>
                  <a:lnTo>
                    <a:pt x="1357" y="259"/>
                  </a:lnTo>
                  <a:lnTo>
                    <a:pt x="1423" y="308"/>
                  </a:lnTo>
                  <a:lnTo>
                    <a:pt x="1485" y="365"/>
                  </a:lnTo>
                  <a:lnTo>
                    <a:pt x="1540" y="425"/>
                  </a:lnTo>
                  <a:lnTo>
                    <a:pt x="1660" y="361"/>
                  </a:lnTo>
                  <a:lnTo>
                    <a:pt x="1797" y="617"/>
                  </a:lnTo>
                  <a:lnTo>
                    <a:pt x="1675" y="681"/>
                  </a:lnTo>
                  <a:lnTo>
                    <a:pt x="1696" y="760"/>
                  </a:lnTo>
                  <a:lnTo>
                    <a:pt x="1709" y="843"/>
                  </a:lnTo>
                  <a:lnTo>
                    <a:pt x="1713" y="926"/>
                  </a:lnTo>
                  <a:lnTo>
                    <a:pt x="1707" y="1011"/>
                  </a:lnTo>
                  <a:lnTo>
                    <a:pt x="1839" y="1050"/>
                  </a:lnTo>
                  <a:lnTo>
                    <a:pt x="1754" y="1327"/>
                  </a:lnTo>
                  <a:lnTo>
                    <a:pt x="1622" y="1287"/>
                  </a:lnTo>
                  <a:lnTo>
                    <a:pt x="1581" y="1361"/>
                  </a:lnTo>
                  <a:lnTo>
                    <a:pt x="1530" y="1427"/>
                  </a:lnTo>
                  <a:lnTo>
                    <a:pt x="1476" y="1489"/>
                  </a:lnTo>
                  <a:lnTo>
                    <a:pt x="1414" y="1542"/>
                  </a:lnTo>
                  <a:lnTo>
                    <a:pt x="1480" y="1664"/>
                  </a:lnTo>
                  <a:lnTo>
                    <a:pt x="1224" y="1800"/>
                  </a:lnTo>
                  <a:lnTo>
                    <a:pt x="1158" y="1679"/>
                  </a:lnTo>
                  <a:lnTo>
                    <a:pt x="1079" y="1700"/>
                  </a:lnTo>
                  <a:lnTo>
                    <a:pt x="1000" y="1713"/>
                  </a:lnTo>
                  <a:lnTo>
                    <a:pt x="919" y="1717"/>
                  </a:lnTo>
                  <a:lnTo>
                    <a:pt x="831" y="1711"/>
                  </a:lnTo>
                  <a:lnTo>
                    <a:pt x="791" y="1843"/>
                  </a:lnTo>
                  <a:lnTo>
                    <a:pt x="513" y="1758"/>
                  </a:lnTo>
                  <a:lnTo>
                    <a:pt x="553" y="1626"/>
                  </a:lnTo>
                  <a:lnTo>
                    <a:pt x="481" y="1585"/>
                  </a:lnTo>
                  <a:lnTo>
                    <a:pt x="414" y="1534"/>
                  </a:lnTo>
                  <a:lnTo>
                    <a:pt x="353" y="1479"/>
                  </a:lnTo>
                  <a:lnTo>
                    <a:pt x="299" y="1417"/>
                  </a:lnTo>
                  <a:lnTo>
                    <a:pt x="179" y="1481"/>
                  </a:lnTo>
                  <a:lnTo>
                    <a:pt x="41" y="1225"/>
                  </a:lnTo>
                  <a:lnTo>
                    <a:pt x="164" y="1161"/>
                  </a:lnTo>
                  <a:lnTo>
                    <a:pt x="141" y="1082"/>
                  </a:lnTo>
                  <a:lnTo>
                    <a:pt x="130" y="1001"/>
                  </a:lnTo>
                  <a:lnTo>
                    <a:pt x="126" y="917"/>
                  </a:lnTo>
                  <a:lnTo>
                    <a:pt x="130" y="834"/>
                  </a:lnTo>
                  <a:lnTo>
                    <a:pt x="0" y="794"/>
                  </a:lnTo>
                  <a:lnTo>
                    <a:pt x="83" y="516"/>
                  </a:lnTo>
                  <a:lnTo>
                    <a:pt x="214" y="555"/>
                  </a:lnTo>
                  <a:lnTo>
                    <a:pt x="258" y="484"/>
                  </a:lnTo>
                  <a:lnTo>
                    <a:pt x="306" y="416"/>
                  </a:lnTo>
                  <a:lnTo>
                    <a:pt x="363" y="355"/>
                  </a:lnTo>
                  <a:lnTo>
                    <a:pt x="423" y="301"/>
                  </a:lnTo>
                  <a:lnTo>
                    <a:pt x="359" y="180"/>
                  </a:lnTo>
                  <a:lnTo>
                    <a:pt x="615" y="43"/>
                  </a:lnTo>
                  <a:lnTo>
                    <a:pt x="679" y="163"/>
                  </a:lnTo>
                  <a:lnTo>
                    <a:pt x="758" y="145"/>
                  </a:lnTo>
                  <a:lnTo>
                    <a:pt x="837" y="131"/>
                  </a:lnTo>
                  <a:lnTo>
                    <a:pt x="919" y="128"/>
                  </a:lnTo>
                  <a:lnTo>
                    <a:pt x="1008" y="131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17">
              <a:extLst>
                <a:ext uri="{FF2B5EF4-FFF2-40B4-BE49-F238E27FC236}">
                  <a16:creationId xmlns:a16="http://schemas.microsoft.com/office/drawing/2014/main" id="{3AA78EDA-CD8A-4F02-9CC1-663E5E517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826" y="1566863"/>
              <a:ext cx="2724150" cy="2174875"/>
            </a:xfrm>
            <a:custGeom>
              <a:avLst/>
              <a:gdLst>
                <a:gd name="T0" fmla="*/ 675 w 3433"/>
                <a:gd name="T1" fmla="*/ 2 h 2739"/>
                <a:gd name="T2" fmla="*/ 831 w 3433"/>
                <a:gd name="T3" fmla="*/ 34 h 2739"/>
                <a:gd name="T4" fmla="*/ 978 w 3433"/>
                <a:gd name="T5" fmla="*/ 109 h 2739"/>
                <a:gd name="T6" fmla="*/ 1088 w 3433"/>
                <a:gd name="T7" fmla="*/ 205 h 2739"/>
                <a:gd name="T8" fmla="*/ 1173 w 3433"/>
                <a:gd name="T9" fmla="*/ 322 h 2739"/>
                <a:gd name="T10" fmla="*/ 1226 w 3433"/>
                <a:gd name="T11" fmla="*/ 454 h 2739"/>
                <a:gd name="T12" fmla="*/ 1250 w 3433"/>
                <a:gd name="T13" fmla="*/ 591 h 2739"/>
                <a:gd name="T14" fmla="*/ 1241 w 3433"/>
                <a:gd name="T15" fmla="*/ 733 h 2739"/>
                <a:gd name="T16" fmla="*/ 2551 w 3433"/>
                <a:gd name="T17" fmla="*/ 1542 h 2739"/>
                <a:gd name="T18" fmla="*/ 2702 w 3433"/>
                <a:gd name="T19" fmla="*/ 1497 h 2739"/>
                <a:gd name="T20" fmla="*/ 2858 w 3433"/>
                <a:gd name="T21" fmla="*/ 1489 h 2739"/>
                <a:gd name="T22" fmla="*/ 3012 w 3433"/>
                <a:gd name="T23" fmla="*/ 1521 h 2739"/>
                <a:gd name="T24" fmla="*/ 3158 w 3433"/>
                <a:gd name="T25" fmla="*/ 1595 h 2739"/>
                <a:gd name="T26" fmla="*/ 3269 w 3433"/>
                <a:gd name="T27" fmla="*/ 1691 h 2739"/>
                <a:gd name="T28" fmla="*/ 3354 w 3433"/>
                <a:gd name="T29" fmla="*/ 1808 h 2739"/>
                <a:gd name="T30" fmla="*/ 3407 w 3433"/>
                <a:gd name="T31" fmla="*/ 1936 h 2739"/>
                <a:gd name="T32" fmla="*/ 3431 w 3433"/>
                <a:gd name="T33" fmla="*/ 2073 h 2739"/>
                <a:gd name="T34" fmla="*/ 3140 w 3433"/>
                <a:gd name="T35" fmla="*/ 1945 h 2739"/>
                <a:gd name="T36" fmla="*/ 2814 w 3433"/>
                <a:gd name="T37" fmla="*/ 1921 h 2739"/>
                <a:gd name="T38" fmla="*/ 2645 w 3433"/>
                <a:gd name="T39" fmla="*/ 2003 h 2739"/>
                <a:gd name="T40" fmla="*/ 2617 w 3433"/>
                <a:gd name="T41" fmla="*/ 2378 h 2739"/>
                <a:gd name="T42" fmla="*/ 3064 w 3433"/>
                <a:gd name="T43" fmla="*/ 2683 h 2739"/>
                <a:gd name="T44" fmla="*/ 2916 w 3433"/>
                <a:gd name="T45" fmla="*/ 2730 h 2739"/>
                <a:gd name="T46" fmla="*/ 2758 w 3433"/>
                <a:gd name="T47" fmla="*/ 2738 h 2739"/>
                <a:gd name="T48" fmla="*/ 2602 w 3433"/>
                <a:gd name="T49" fmla="*/ 2706 h 2739"/>
                <a:gd name="T50" fmla="*/ 2455 w 3433"/>
                <a:gd name="T51" fmla="*/ 2630 h 2739"/>
                <a:gd name="T52" fmla="*/ 2344 w 3433"/>
                <a:gd name="T53" fmla="*/ 2534 h 2739"/>
                <a:gd name="T54" fmla="*/ 2260 w 3433"/>
                <a:gd name="T55" fmla="*/ 2418 h 2739"/>
                <a:gd name="T56" fmla="*/ 2207 w 3433"/>
                <a:gd name="T57" fmla="*/ 2286 h 2739"/>
                <a:gd name="T58" fmla="*/ 2183 w 3433"/>
                <a:gd name="T59" fmla="*/ 2148 h 2739"/>
                <a:gd name="T60" fmla="*/ 2192 w 3433"/>
                <a:gd name="T61" fmla="*/ 2005 h 2739"/>
                <a:gd name="T62" fmla="*/ 882 w 3433"/>
                <a:gd name="T63" fmla="*/ 1198 h 2739"/>
                <a:gd name="T64" fmla="*/ 731 w 3433"/>
                <a:gd name="T65" fmla="*/ 1243 h 2739"/>
                <a:gd name="T66" fmla="*/ 575 w 3433"/>
                <a:gd name="T67" fmla="*/ 1250 h 2739"/>
                <a:gd name="T68" fmla="*/ 419 w 3433"/>
                <a:gd name="T69" fmla="*/ 1218 h 2739"/>
                <a:gd name="T70" fmla="*/ 273 w 3433"/>
                <a:gd name="T71" fmla="*/ 1145 h 2739"/>
                <a:gd name="T72" fmla="*/ 162 w 3433"/>
                <a:gd name="T73" fmla="*/ 1047 h 2739"/>
                <a:gd name="T74" fmla="*/ 79 w 3433"/>
                <a:gd name="T75" fmla="*/ 932 h 2739"/>
                <a:gd name="T76" fmla="*/ 26 w 3433"/>
                <a:gd name="T77" fmla="*/ 802 h 2739"/>
                <a:gd name="T78" fmla="*/ 2 w 3433"/>
                <a:gd name="T79" fmla="*/ 665 h 2739"/>
                <a:gd name="T80" fmla="*/ 293 w 3433"/>
                <a:gd name="T81" fmla="*/ 795 h 2739"/>
                <a:gd name="T82" fmla="*/ 618 w 3433"/>
                <a:gd name="T83" fmla="*/ 819 h 2739"/>
                <a:gd name="T84" fmla="*/ 801 w 3433"/>
                <a:gd name="T85" fmla="*/ 548 h 2739"/>
                <a:gd name="T86" fmla="*/ 660 w 3433"/>
                <a:gd name="T87" fmla="*/ 254 h 2739"/>
                <a:gd name="T88" fmla="*/ 442 w 3433"/>
                <a:gd name="T89" fmla="*/ 28 h 2739"/>
                <a:gd name="T90" fmla="*/ 596 w 3433"/>
                <a:gd name="T91" fmla="*/ 0 h 2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33" h="2739">
                  <a:moveTo>
                    <a:pt x="596" y="0"/>
                  </a:moveTo>
                  <a:lnTo>
                    <a:pt x="675" y="2"/>
                  </a:lnTo>
                  <a:lnTo>
                    <a:pt x="752" y="13"/>
                  </a:lnTo>
                  <a:lnTo>
                    <a:pt x="831" y="34"/>
                  </a:lnTo>
                  <a:lnTo>
                    <a:pt x="906" y="66"/>
                  </a:lnTo>
                  <a:lnTo>
                    <a:pt x="978" y="109"/>
                  </a:lnTo>
                  <a:lnTo>
                    <a:pt x="1036" y="155"/>
                  </a:lnTo>
                  <a:lnTo>
                    <a:pt x="1088" y="205"/>
                  </a:lnTo>
                  <a:lnTo>
                    <a:pt x="1134" y="262"/>
                  </a:lnTo>
                  <a:lnTo>
                    <a:pt x="1173" y="322"/>
                  </a:lnTo>
                  <a:lnTo>
                    <a:pt x="1203" y="386"/>
                  </a:lnTo>
                  <a:lnTo>
                    <a:pt x="1226" y="454"/>
                  </a:lnTo>
                  <a:lnTo>
                    <a:pt x="1243" y="522"/>
                  </a:lnTo>
                  <a:lnTo>
                    <a:pt x="1250" y="591"/>
                  </a:lnTo>
                  <a:lnTo>
                    <a:pt x="1250" y="663"/>
                  </a:lnTo>
                  <a:lnTo>
                    <a:pt x="1241" y="733"/>
                  </a:lnTo>
                  <a:lnTo>
                    <a:pt x="2482" y="1578"/>
                  </a:lnTo>
                  <a:lnTo>
                    <a:pt x="2551" y="1542"/>
                  </a:lnTo>
                  <a:lnTo>
                    <a:pt x="2624" y="1514"/>
                  </a:lnTo>
                  <a:lnTo>
                    <a:pt x="2702" y="1497"/>
                  </a:lnTo>
                  <a:lnTo>
                    <a:pt x="2779" y="1487"/>
                  </a:lnTo>
                  <a:lnTo>
                    <a:pt x="2858" y="1489"/>
                  </a:lnTo>
                  <a:lnTo>
                    <a:pt x="2937" y="1501"/>
                  </a:lnTo>
                  <a:lnTo>
                    <a:pt x="3012" y="1521"/>
                  </a:lnTo>
                  <a:lnTo>
                    <a:pt x="3087" y="1553"/>
                  </a:lnTo>
                  <a:lnTo>
                    <a:pt x="3158" y="1595"/>
                  </a:lnTo>
                  <a:lnTo>
                    <a:pt x="3219" y="1640"/>
                  </a:lnTo>
                  <a:lnTo>
                    <a:pt x="3269" y="1691"/>
                  </a:lnTo>
                  <a:lnTo>
                    <a:pt x="3314" y="1747"/>
                  </a:lnTo>
                  <a:lnTo>
                    <a:pt x="3354" y="1808"/>
                  </a:lnTo>
                  <a:lnTo>
                    <a:pt x="3384" y="1870"/>
                  </a:lnTo>
                  <a:lnTo>
                    <a:pt x="3407" y="1936"/>
                  </a:lnTo>
                  <a:lnTo>
                    <a:pt x="3423" y="2005"/>
                  </a:lnTo>
                  <a:lnTo>
                    <a:pt x="3431" y="2073"/>
                  </a:lnTo>
                  <a:lnTo>
                    <a:pt x="3433" y="2145"/>
                  </a:lnTo>
                  <a:lnTo>
                    <a:pt x="3140" y="1945"/>
                  </a:lnTo>
                  <a:lnTo>
                    <a:pt x="2984" y="1840"/>
                  </a:lnTo>
                  <a:lnTo>
                    <a:pt x="2814" y="1921"/>
                  </a:lnTo>
                  <a:lnTo>
                    <a:pt x="2645" y="2003"/>
                  </a:lnTo>
                  <a:lnTo>
                    <a:pt x="2645" y="2003"/>
                  </a:lnTo>
                  <a:lnTo>
                    <a:pt x="2632" y="2190"/>
                  </a:lnTo>
                  <a:lnTo>
                    <a:pt x="2617" y="2378"/>
                  </a:lnTo>
                  <a:lnTo>
                    <a:pt x="2773" y="2485"/>
                  </a:lnTo>
                  <a:lnTo>
                    <a:pt x="3064" y="2683"/>
                  </a:lnTo>
                  <a:lnTo>
                    <a:pt x="2991" y="2711"/>
                  </a:lnTo>
                  <a:lnTo>
                    <a:pt x="2916" y="2730"/>
                  </a:lnTo>
                  <a:lnTo>
                    <a:pt x="2837" y="2739"/>
                  </a:lnTo>
                  <a:lnTo>
                    <a:pt x="2758" y="2738"/>
                  </a:lnTo>
                  <a:lnTo>
                    <a:pt x="2681" y="2726"/>
                  </a:lnTo>
                  <a:lnTo>
                    <a:pt x="2602" y="2706"/>
                  </a:lnTo>
                  <a:lnTo>
                    <a:pt x="2527" y="2674"/>
                  </a:lnTo>
                  <a:lnTo>
                    <a:pt x="2455" y="2630"/>
                  </a:lnTo>
                  <a:lnTo>
                    <a:pt x="2397" y="2585"/>
                  </a:lnTo>
                  <a:lnTo>
                    <a:pt x="2344" y="2534"/>
                  </a:lnTo>
                  <a:lnTo>
                    <a:pt x="2299" y="2478"/>
                  </a:lnTo>
                  <a:lnTo>
                    <a:pt x="2260" y="2418"/>
                  </a:lnTo>
                  <a:lnTo>
                    <a:pt x="2230" y="2354"/>
                  </a:lnTo>
                  <a:lnTo>
                    <a:pt x="2207" y="2286"/>
                  </a:lnTo>
                  <a:lnTo>
                    <a:pt x="2190" y="2218"/>
                  </a:lnTo>
                  <a:lnTo>
                    <a:pt x="2183" y="2148"/>
                  </a:lnTo>
                  <a:lnTo>
                    <a:pt x="2183" y="2077"/>
                  </a:lnTo>
                  <a:lnTo>
                    <a:pt x="2192" y="2005"/>
                  </a:lnTo>
                  <a:lnTo>
                    <a:pt x="951" y="1162"/>
                  </a:lnTo>
                  <a:lnTo>
                    <a:pt x="882" y="1198"/>
                  </a:lnTo>
                  <a:lnTo>
                    <a:pt x="808" y="1226"/>
                  </a:lnTo>
                  <a:lnTo>
                    <a:pt x="731" y="1243"/>
                  </a:lnTo>
                  <a:lnTo>
                    <a:pt x="654" y="1252"/>
                  </a:lnTo>
                  <a:lnTo>
                    <a:pt x="575" y="1250"/>
                  </a:lnTo>
                  <a:lnTo>
                    <a:pt x="496" y="1239"/>
                  </a:lnTo>
                  <a:lnTo>
                    <a:pt x="419" y="1218"/>
                  </a:lnTo>
                  <a:lnTo>
                    <a:pt x="346" y="1186"/>
                  </a:lnTo>
                  <a:lnTo>
                    <a:pt x="273" y="1145"/>
                  </a:lnTo>
                  <a:lnTo>
                    <a:pt x="214" y="1098"/>
                  </a:lnTo>
                  <a:lnTo>
                    <a:pt x="162" y="1047"/>
                  </a:lnTo>
                  <a:lnTo>
                    <a:pt x="118" y="992"/>
                  </a:lnTo>
                  <a:lnTo>
                    <a:pt x="79" y="932"/>
                  </a:lnTo>
                  <a:lnTo>
                    <a:pt x="49" y="870"/>
                  </a:lnTo>
                  <a:lnTo>
                    <a:pt x="26" y="802"/>
                  </a:lnTo>
                  <a:lnTo>
                    <a:pt x="9" y="734"/>
                  </a:lnTo>
                  <a:lnTo>
                    <a:pt x="2" y="665"/>
                  </a:lnTo>
                  <a:lnTo>
                    <a:pt x="0" y="595"/>
                  </a:lnTo>
                  <a:lnTo>
                    <a:pt x="293" y="795"/>
                  </a:lnTo>
                  <a:lnTo>
                    <a:pt x="449" y="900"/>
                  </a:lnTo>
                  <a:lnTo>
                    <a:pt x="618" y="819"/>
                  </a:lnTo>
                  <a:lnTo>
                    <a:pt x="788" y="736"/>
                  </a:lnTo>
                  <a:lnTo>
                    <a:pt x="801" y="548"/>
                  </a:lnTo>
                  <a:lnTo>
                    <a:pt x="816" y="362"/>
                  </a:lnTo>
                  <a:lnTo>
                    <a:pt x="660" y="254"/>
                  </a:lnTo>
                  <a:lnTo>
                    <a:pt x="367" y="55"/>
                  </a:lnTo>
                  <a:lnTo>
                    <a:pt x="442" y="28"/>
                  </a:lnTo>
                  <a:lnTo>
                    <a:pt x="517" y="10"/>
                  </a:lnTo>
                  <a:lnTo>
                    <a:pt x="596" y="0"/>
                  </a:lnTo>
                  <a:close/>
                </a:path>
              </a:pathLst>
            </a:custGeom>
            <a:solidFill>
              <a:srgbClr val="59595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18">
              <a:extLst>
                <a:ext uri="{FF2B5EF4-FFF2-40B4-BE49-F238E27FC236}">
                  <a16:creationId xmlns:a16="http://schemas.microsoft.com/office/drawing/2014/main" id="{D2FDF72A-3790-414B-9986-9A4EC9B55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3" y="3159126"/>
              <a:ext cx="1077913" cy="1228725"/>
            </a:xfrm>
            <a:custGeom>
              <a:avLst/>
              <a:gdLst>
                <a:gd name="T0" fmla="*/ 920 w 1358"/>
                <a:gd name="T1" fmla="*/ 0 h 1550"/>
                <a:gd name="T2" fmla="*/ 993 w 1358"/>
                <a:gd name="T3" fmla="*/ 172 h 1550"/>
                <a:gd name="T4" fmla="*/ 1083 w 1358"/>
                <a:gd name="T5" fmla="*/ 155 h 1550"/>
                <a:gd name="T6" fmla="*/ 1173 w 1358"/>
                <a:gd name="T7" fmla="*/ 145 h 1550"/>
                <a:gd name="T8" fmla="*/ 1266 w 1358"/>
                <a:gd name="T9" fmla="*/ 145 h 1550"/>
                <a:gd name="T10" fmla="*/ 1358 w 1358"/>
                <a:gd name="T11" fmla="*/ 153 h 1550"/>
                <a:gd name="T12" fmla="*/ 1358 w 1358"/>
                <a:gd name="T13" fmla="*/ 437 h 1550"/>
                <a:gd name="T14" fmla="*/ 1275 w 1358"/>
                <a:gd name="T15" fmla="*/ 428 h 1550"/>
                <a:gd name="T16" fmla="*/ 1192 w 1358"/>
                <a:gd name="T17" fmla="*/ 428 h 1550"/>
                <a:gd name="T18" fmla="*/ 1111 w 1358"/>
                <a:gd name="T19" fmla="*/ 435 h 1550"/>
                <a:gd name="T20" fmla="*/ 1031 w 1358"/>
                <a:gd name="T21" fmla="*/ 452 h 1550"/>
                <a:gd name="T22" fmla="*/ 953 w 1358"/>
                <a:gd name="T23" fmla="*/ 477 h 1550"/>
                <a:gd name="T24" fmla="*/ 878 w 1358"/>
                <a:gd name="T25" fmla="*/ 509 h 1550"/>
                <a:gd name="T26" fmla="*/ 809 w 1358"/>
                <a:gd name="T27" fmla="*/ 548 h 1550"/>
                <a:gd name="T28" fmla="*/ 741 w 1358"/>
                <a:gd name="T29" fmla="*/ 595 h 1550"/>
                <a:gd name="T30" fmla="*/ 679 w 1358"/>
                <a:gd name="T31" fmla="*/ 650 h 1550"/>
                <a:gd name="T32" fmla="*/ 623 w 1358"/>
                <a:gd name="T33" fmla="*/ 710 h 1550"/>
                <a:gd name="T34" fmla="*/ 572 w 1358"/>
                <a:gd name="T35" fmla="*/ 776 h 1550"/>
                <a:gd name="T36" fmla="*/ 529 w 1358"/>
                <a:gd name="T37" fmla="*/ 849 h 1550"/>
                <a:gd name="T38" fmla="*/ 491 w 1358"/>
                <a:gd name="T39" fmla="*/ 928 h 1550"/>
                <a:gd name="T40" fmla="*/ 463 w 1358"/>
                <a:gd name="T41" fmla="*/ 1019 h 1550"/>
                <a:gd name="T42" fmla="*/ 444 w 1358"/>
                <a:gd name="T43" fmla="*/ 1109 h 1550"/>
                <a:gd name="T44" fmla="*/ 435 w 1358"/>
                <a:gd name="T45" fmla="*/ 1200 h 1550"/>
                <a:gd name="T46" fmla="*/ 438 w 1358"/>
                <a:gd name="T47" fmla="*/ 1290 h 1550"/>
                <a:gd name="T48" fmla="*/ 451 w 1358"/>
                <a:gd name="T49" fmla="*/ 1380 h 1550"/>
                <a:gd name="T50" fmla="*/ 472 w 1358"/>
                <a:gd name="T51" fmla="*/ 1465 h 1550"/>
                <a:gd name="T52" fmla="*/ 504 w 1358"/>
                <a:gd name="T53" fmla="*/ 1550 h 1550"/>
                <a:gd name="T54" fmla="*/ 15 w 1358"/>
                <a:gd name="T55" fmla="*/ 1550 h 1550"/>
                <a:gd name="T56" fmla="*/ 8 w 1358"/>
                <a:gd name="T57" fmla="*/ 1535 h 1550"/>
                <a:gd name="T58" fmla="*/ 181 w 1358"/>
                <a:gd name="T59" fmla="*/ 1461 h 1550"/>
                <a:gd name="T60" fmla="*/ 160 w 1358"/>
                <a:gd name="T61" fmla="*/ 1352 h 1550"/>
                <a:gd name="T62" fmla="*/ 153 w 1358"/>
                <a:gd name="T63" fmla="*/ 1239 h 1550"/>
                <a:gd name="T64" fmla="*/ 158 w 1358"/>
                <a:gd name="T65" fmla="*/ 1126 h 1550"/>
                <a:gd name="T66" fmla="*/ 173 w 1358"/>
                <a:gd name="T67" fmla="*/ 1013 h 1550"/>
                <a:gd name="T68" fmla="*/ 0 w 1358"/>
                <a:gd name="T69" fmla="*/ 943 h 1550"/>
                <a:gd name="T70" fmla="*/ 147 w 1358"/>
                <a:gd name="T71" fmla="*/ 578 h 1550"/>
                <a:gd name="T72" fmla="*/ 320 w 1358"/>
                <a:gd name="T73" fmla="*/ 648 h 1550"/>
                <a:gd name="T74" fmla="*/ 373 w 1358"/>
                <a:gd name="T75" fmla="*/ 573 h 1550"/>
                <a:gd name="T76" fmla="*/ 429 w 1358"/>
                <a:gd name="T77" fmla="*/ 501 h 1550"/>
                <a:gd name="T78" fmla="*/ 493 w 1358"/>
                <a:gd name="T79" fmla="*/ 437 h 1550"/>
                <a:gd name="T80" fmla="*/ 561 w 1358"/>
                <a:gd name="T81" fmla="*/ 379 h 1550"/>
                <a:gd name="T82" fmla="*/ 632 w 1358"/>
                <a:gd name="T83" fmla="*/ 326 h 1550"/>
                <a:gd name="T84" fmla="*/ 559 w 1358"/>
                <a:gd name="T85" fmla="*/ 155 h 1550"/>
                <a:gd name="T86" fmla="*/ 920 w 1358"/>
                <a:gd name="T87" fmla="*/ 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58" h="1550">
                  <a:moveTo>
                    <a:pt x="920" y="0"/>
                  </a:moveTo>
                  <a:lnTo>
                    <a:pt x="993" y="172"/>
                  </a:lnTo>
                  <a:lnTo>
                    <a:pt x="1083" y="155"/>
                  </a:lnTo>
                  <a:lnTo>
                    <a:pt x="1173" y="145"/>
                  </a:lnTo>
                  <a:lnTo>
                    <a:pt x="1266" y="145"/>
                  </a:lnTo>
                  <a:lnTo>
                    <a:pt x="1358" y="153"/>
                  </a:lnTo>
                  <a:lnTo>
                    <a:pt x="1358" y="437"/>
                  </a:lnTo>
                  <a:lnTo>
                    <a:pt x="1275" y="428"/>
                  </a:lnTo>
                  <a:lnTo>
                    <a:pt x="1192" y="428"/>
                  </a:lnTo>
                  <a:lnTo>
                    <a:pt x="1111" y="435"/>
                  </a:lnTo>
                  <a:lnTo>
                    <a:pt x="1031" y="452"/>
                  </a:lnTo>
                  <a:lnTo>
                    <a:pt x="953" y="477"/>
                  </a:lnTo>
                  <a:lnTo>
                    <a:pt x="878" y="509"/>
                  </a:lnTo>
                  <a:lnTo>
                    <a:pt x="809" y="548"/>
                  </a:lnTo>
                  <a:lnTo>
                    <a:pt x="741" y="595"/>
                  </a:lnTo>
                  <a:lnTo>
                    <a:pt x="679" y="650"/>
                  </a:lnTo>
                  <a:lnTo>
                    <a:pt x="623" y="710"/>
                  </a:lnTo>
                  <a:lnTo>
                    <a:pt x="572" y="776"/>
                  </a:lnTo>
                  <a:lnTo>
                    <a:pt x="529" y="849"/>
                  </a:lnTo>
                  <a:lnTo>
                    <a:pt x="491" y="928"/>
                  </a:lnTo>
                  <a:lnTo>
                    <a:pt x="463" y="1019"/>
                  </a:lnTo>
                  <a:lnTo>
                    <a:pt x="444" y="1109"/>
                  </a:lnTo>
                  <a:lnTo>
                    <a:pt x="435" y="1200"/>
                  </a:lnTo>
                  <a:lnTo>
                    <a:pt x="438" y="1290"/>
                  </a:lnTo>
                  <a:lnTo>
                    <a:pt x="451" y="1380"/>
                  </a:lnTo>
                  <a:lnTo>
                    <a:pt x="472" y="1465"/>
                  </a:lnTo>
                  <a:lnTo>
                    <a:pt x="504" y="1550"/>
                  </a:lnTo>
                  <a:lnTo>
                    <a:pt x="15" y="1550"/>
                  </a:lnTo>
                  <a:lnTo>
                    <a:pt x="8" y="1535"/>
                  </a:lnTo>
                  <a:lnTo>
                    <a:pt x="181" y="1461"/>
                  </a:lnTo>
                  <a:lnTo>
                    <a:pt x="160" y="1352"/>
                  </a:lnTo>
                  <a:lnTo>
                    <a:pt x="153" y="1239"/>
                  </a:lnTo>
                  <a:lnTo>
                    <a:pt x="158" y="1126"/>
                  </a:lnTo>
                  <a:lnTo>
                    <a:pt x="173" y="1013"/>
                  </a:lnTo>
                  <a:lnTo>
                    <a:pt x="0" y="943"/>
                  </a:lnTo>
                  <a:lnTo>
                    <a:pt x="147" y="578"/>
                  </a:lnTo>
                  <a:lnTo>
                    <a:pt x="320" y="648"/>
                  </a:lnTo>
                  <a:lnTo>
                    <a:pt x="373" y="573"/>
                  </a:lnTo>
                  <a:lnTo>
                    <a:pt x="429" y="501"/>
                  </a:lnTo>
                  <a:lnTo>
                    <a:pt x="493" y="437"/>
                  </a:lnTo>
                  <a:lnTo>
                    <a:pt x="561" y="379"/>
                  </a:lnTo>
                  <a:lnTo>
                    <a:pt x="632" y="326"/>
                  </a:lnTo>
                  <a:lnTo>
                    <a:pt x="559" y="155"/>
                  </a:lnTo>
                  <a:lnTo>
                    <a:pt x="920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19">
              <a:extLst>
                <a:ext uri="{FF2B5EF4-FFF2-40B4-BE49-F238E27FC236}">
                  <a16:creationId xmlns:a16="http://schemas.microsoft.com/office/drawing/2014/main" id="{71C142C9-E7FD-413A-9D1E-6EB7C8FA2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1" y="3440113"/>
              <a:ext cx="1123950" cy="947738"/>
            </a:xfrm>
            <a:custGeom>
              <a:avLst/>
              <a:gdLst>
                <a:gd name="T0" fmla="*/ 625 w 1416"/>
                <a:gd name="T1" fmla="*/ 0 h 1196"/>
                <a:gd name="T2" fmla="*/ 901 w 1416"/>
                <a:gd name="T3" fmla="*/ 85 h 1196"/>
                <a:gd name="T4" fmla="*/ 861 w 1416"/>
                <a:gd name="T5" fmla="*/ 217 h 1196"/>
                <a:gd name="T6" fmla="*/ 935 w 1416"/>
                <a:gd name="T7" fmla="*/ 258 h 1196"/>
                <a:gd name="T8" fmla="*/ 1001 w 1416"/>
                <a:gd name="T9" fmla="*/ 309 h 1196"/>
                <a:gd name="T10" fmla="*/ 1063 w 1416"/>
                <a:gd name="T11" fmla="*/ 364 h 1196"/>
                <a:gd name="T12" fmla="*/ 1117 w 1416"/>
                <a:gd name="T13" fmla="*/ 426 h 1196"/>
                <a:gd name="T14" fmla="*/ 1237 w 1416"/>
                <a:gd name="T15" fmla="*/ 360 h 1196"/>
                <a:gd name="T16" fmla="*/ 1375 w 1416"/>
                <a:gd name="T17" fmla="*/ 616 h 1196"/>
                <a:gd name="T18" fmla="*/ 1253 w 1416"/>
                <a:gd name="T19" fmla="*/ 682 h 1196"/>
                <a:gd name="T20" fmla="*/ 1273 w 1416"/>
                <a:gd name="T21" fmla="*/ 761 h 1196"/>
                <a:gd name="T22" fmla="*/ 1286 w 1416"/>
                <a:gd name="T23" fmla="*/ 842 h 1196"/>
                <a:gd name="T24" fmla="*/ 1290 w 1416"/>
                <a:gd name="T25" fmla="*/ 925 h 1196"/>
                <a:gd name="T26" fmla="*/ 1284 w 1416"/>
                <a:gd name="T27" fmla="*/ 1009 h 1196"/>
                <a:gd name="T28" fmla="*/ 1416 w 1416"/>
                <a:gd name="T29" fmla="*/ 1049 h 1196"/>
                <a:gd name="T30" fmla="*/ 1373 w 1416"/>
                <a:gd name="T31" fmla="*/ 1196 h 1196"/>
                <a:gd name="T32" fmla="*/ 1014 w 1416"/>
                <a:gd name="T33" fmla="*/ 1196 h 1196"/>
                <a:gd name="T34" fmla="*/ 1038 w 1416"/>
                <a:gd name="T35" fmla="*/ 1145 h 1196"/>
                <a:gd name="T36" fmla="*/ 1057 w 1416"/>
                <a:gd name="T37" fmla="*/ 1092 h 1196"/>
                <a:gd name="T38" fmla="*/ 1074 w 1416"/>
                <a:gd name="T39" fmla="*/ 1021 h 1196"/>
                <a:gd name="T40" fmla="*/ 1081 w 1416"/>
                <a:gd name="T41" fmla="*/ 949 h 1196"/>
                <a:gd name="T42" fmla="*/ 1081 w 1416"/>
                <a:gd name="T43" fmla="*/ 878 h 1196"/>
                <a:gd name="T44" fmla="*/ 1072 w 1416"/>
                <a:gd name="T45" fmla="*/ 808 h 1196"/>
                <a:gd name="T46" fmla="*/ 1053 w 1416"/>
                <a:gd name="T47" fmla="*/ 740 h 1196"/>
                <a:gd name="T48" fmla="*/ 1029 w 1416"/>
                <a:gd name="T49" fmla="*/ 676 h 1196"/>
                <a:gd name="T50" fmla="*/ 997 w 1416"/>
                <a:gd name="T51" fmla="*/ 614 h 1196"/>
                <a:gd name="T52" fmla="*/ 957 w 1416"/>
                <a:gd name="T53" fmla="*/ 557 h 1196"/>
                <a:gd name="T54" fmla="*/ 910 w 1416"/>
                <a:gd name="T55" fmla="*/ 505 h 1196"/>
                <a:gd name="T56" fmla="*/ 858 w 1416"/>
                <a:gd name="T57" fmla="*/ 460 h 1196"/>
                <a:gd name="T58" fmla="*/ 799 w 1416"/>
                <a:gd name="T59" fmla="*/ 418 h 1196"/>
                <a:gd name="T60" fmla="*/ 736 w 1416"/>
                <a:gd name="T61" fmla="*/ 386 h 1196"/>
                <a:gd name="T62" fmla="*/ 666 w 1416"/>
                <a:gd name="T63" fmla="*/ 360 h 1196"/>
                <a:gd name="T64" fmla="*/ 589 w 1416"/>
                <a:gd name="T65" fmla="*/ 341 h 1196"/>
                <a:gd name="T66" fmla="*/ 512 w 1416"/>
                <a:gd name="T67" fmla="*/ 333 h 1196"/>
                <a:gd name="T68" fmla="*/ 435 w 1416"/>
                <a:gd name="T69" fmla="*/ 337 h 1196"/>
                <a:gd name="T70" fmla="*/ 360 w 1416"/>
                <a:gd name="T71" fmla="*/ 350 h 1196"/>
                <a:gd name="T72" fmla="*/ 288 w 1416"/>
                <a:gd name="T73" fmla="*/ 373 h 1196"/>
                <a:gd name="T74" fmla="*/ 219 w 1416"/>
                <a:gd name="T75" fmla="*/ 405 h 1196"/>
                <a:gd name="T76" fmla="*/ 156 w 1416"/>
                <a:gd name="T77" fmla="*/ 445 h 1196"/>
                <a:gd name="T78" fmla="*/ 96 w 1416"/>
                <a:gd name="T79" fmla="*/ 492 h 1196"/>
                <a:gd name="T80" fmla="*/ 46 w 1416"/>
                <a:gd name="T81" fmla="*/ 546 h 1196"/>
                <a:gd name="T82" fmla="*/ 0 w 1416"/>
                <a:gd name="T83" fmla="*/ 608 h 1196"/>
                <a:gd name="T84" fmla="*/ 0 w 1416"/>
                <a:gd name="T85" fmla="*/ 301 h 1196"/>
                <a:gd name="T86" fmla="*/ 0 w 1416"/>
                <a:gd name="T87" fmla="*/ 300 h 1196"/>
                <a:gd name="T88" fmla="*/ 0 w 1416"/>
                <a:gd name="T89" fmla="*/ 298 h 1196"/>
                <a:gd name="T90" fmla="*/ 0 w 1416"/>
                <a:gd name="T91" fmla="*/ 145 h 1196"/>
                <a:gd name="T92" fmla="*/ 192 w 1416"/>
                <a:gd name="T93" fmla="*/ 42 h 1196"/>
                <a:gd name="T94" fmla="*/ 256 w 1416"/>
                <a:gd name="T95" fmla="*/ 164 h 1196"/>
                <a:gd name="T96" fmla="*/ 337 w 1416"/>
                <a:gd name="T97" fmla="*/ 143 h 1196"/>
                <a:gd name="T98" fmla="*/ 418 w 1416"/>
                <a:gd name="T99" fmla="*/ 130 h 1196"/>
                <a:gd name="T100" fmla="*/ 501 w 1416"/>
                <a:gd name="T101" fmla="*/ 126 h 1196"/>
                <a:gd name="T102" fmla="*/ 585 w 1416"/>
                <a:gd name="T103" fmla="*/ 132 h 1196"/>
                <a:gd name="T104" fmla="*/ 625 w 1416"/>
                <a:gd name="T105" fmla="*/ 0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16" h="1196">
                  <a:moveTo>
                    <a:pt x="625" y="0"/>
                  </a:moveTo>
                  <a:lnTo>
                    <a:pt x="901" y="85"/>
                  </a:lnTo>
                  <a:lnTo>
                    <a:pt x="861" y="217"/>
                  </a:lnTo>
                  <a:lnTo>
                    <a:pt x="935" y="258"/>
                  </a:lnTo>
                  <a:lnTo>
                    <a:pt x="1001" y="309"/>
                  </a:lnTo>
                  <a:lnTo>
                    <a:pt x="1063" y="364"/>
                  </a:lnTo>
                  <a:lnTo>
                    <a:pt x="1117" y="426"/>
                  </a:lnTo>
                  <a:lnTo>
                    <a:pt x="1237" y="360"/>
                  </a:lnTo>
                  <a:lnTo>
                    <a:pt x="1375" y="616"/>
                  </a:lnTo>
                  <a:lnTo>
                    <a:pt x="1253" y="682"/>
                  </a:lnTo>
                  <a:lnTo>
                    <a:pt x="1273" y="761"/>
                  </a:lnTo>
                  <a:lnTo>
                    <a:pt x="1286" y="842"/>
                  </a:lnTo>
                  <a:lnTo>
                    <a:pt x="1290" y="925"/>
                  </a:lnTo>
                  <a:lnTo>
                    <a:pt x="1284" y="1009"/>
                  </a:lnTo>
                  <a:lnTo>
                    <a:pt x="1416" y="1049"/>
                  </a:lnTo>
                  <a:lnTo>
                    <a:pt x="1373" y="1196"/>
                  </a:lnTo>
                  <a:lnTo>
                    <a:pt x="1014" y="1196"/>
                  </a:lnTo>
                  <a:lnTo>
                    <a:pt x="1038" y="1145"/>
                  </a:lnTo>
                  <a:lnTo>
                    <a:pt x="1057" y="1092"/>
                  </a:lnTo>
                  <a:lnTo>
                    <a:pt x="1074" y="1021"/>
                  </a:lnTo>
                  <a:lnTo>
                    <a:pt x="1081" y="949"/>
                  </a:lnTo>
                  <a:lnTo>
                    <a:pt x="1081" y="878"/>
                  </a:lnTo>
                  <a:lnTo>
                    <a:pt x="1072" y="808"/>
                  </a:lnTo>
                  <a:lnTo>
                    <a:pt x="1053" y="740"/>
                  </a:lnTo>
                  <a:lnTo>
                    <a:pt x="1029" y="676"/>
                  </a:lnTo>
                  <a:lnTo>
                    <a:pt x="997" y="614"/>
                  </a:lnTo>
                  <a:lnTo>
                    <a:pt x="957" y="557"/>
                  </a:lnTo>
                  <a:lnTo>
                    <a:pt x="910" y="505"/>
                  </a:lnTo>
                  <a:lnTo>
                    <a:pt x="858" y="460"/>
                  </a:lnTo>
                  <a:lnTo>
                    <a:pt x="799" y="418"/>
                  </a:lnTo>
                  <a:lnTo>
                    <a:pt x="736" y="386"/>
                  </a:lnTo>
                  <a:lnTo>
                    <a:pt x="666" y="360"/>
                  </a:lnTo>
                  <a:lnTo>
                    <a:pt x="589" y="341"/>
                  </a:lnTo>
                  <a:lnTo>
                    <a:pt x="512" y="333"/>
                  </a:lnTo>
                  <a:lnTo>
                    <a:pt x="435" y="337"/>
                  </a:lnTo>
                  <a:lnTo>
                    <a:pt x="360" y="350"/>
                  </a:lnTo>
                  <a:lnTo>
                    <a:pt x="288" y="373"/>
                  </a:lnTo>
                  <a:lnTo>
                    <a:pt x="219" y="405"/>
                  </a:lnTo>
                  <a:lnTo>
                    <a:pt x="156" y="445"/>
                  </a:lnTo>
                  <a:lnTo>
                    <a:pt x="96" y="492"/>
                  </a:lnTo>
                  <a:lnTo>
                    <a:pt x="46" y="546"/>
                  </a:lnTo>
                  <a:lnTo>
                    <a:pt x="0" y="608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0" y="298"/>
                  </a:lnTo>
                  <a:lnTo>
                    <a:pt x="0" y="145"/>
                  </a:lnTo>
                  <a:lnTo>
                    <a:pt x="192" y="42"/>
                  </a:lnTo>
                  <a:lnTo>
                    <a:pt x="256" y="164"/>
                  </a:lnTo>
                  <a:lnTo>
                    <a:pt x="337" y="143"/>
                  </a:lnTo>
                  <a:lnTo>
                    <a:pt x="418" y="130"/>
                  </a:lnTo>
                  <a:lnTo>
                    <a:pt x="501" y="126"/>
                  </a:lnTo>
                  <a:lnTo>
                    <a:pt x="585" y="132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20">
              <a:extLst>
                <a:ext uri="{FF2B5EF4-FFF2-40B4-BE49-F238E27FC236}">
                  <a16:creationId xmlns:a16="http://schemas.microsoft.com/office/drawing/2014/main" id="{D65D4D59-6B69-4465-A370-5BB69C473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0888" y="3157538"/>
              <a:ext cx="1155700" cy="1157288"/>
            </a:xfrm>
            <a:custGeom>
              <a:avLst/>
              <a:gdLst>
                <a:gd name="T0" fmla="*/ 665 w 1455"/>
                <a:gd name="T1" fmla="*/ 273 h 1459"/>
                <a:gd name="T2" fmla="*/ 543 w 1455"/>
                <a:gd name="T3" fmla="*/ 309 h 1459"/>
                <a:gd name="T4" fmla="*/ 434 w 1455"/>
                <a:gd name="T5" fmla="*/ 375 h 1459"/>
                <a:gd name="T6" fmla="*/ 345 w 1455"/>
                <a:gd name="T7" fmla="*/ 475 h 1459"/>
                <a:gd name="T8" fmla="*/ 287 w 1455"/>
                <a:gd name="T9" fmla="*/ 595 h 1459"/>
                <a:gd name="T10" fmla="*/ 268 w 1455"/>
                <a:gd name="T11" fmla="*/ 723 h 1459"/>
                <a:gd name="T12" fmla="*/ 283 w 1455"/>
                <a:gd name="T13" fmla="*/ 851 h 1459"/>
                <a:gd name="T14" fmla="*/ 334 w 1455"/>
                <a:gd name="T15" fmla="*/ 970 h 1459"/>
                <a:gd name="T16" fmla="*/ 419 w 1455"/>
                <a:gd name="T17" fmla="*/ 1072 h 1459"/>
                <a:gd name="T18" fmla="*/ 533 w 1455"/>
                <a:gd name="T19" fmla="*/ 1147 h 1459"/>
                <a:gd name="T20" fmla="*/ 661 w 1455"/>
                <a:gd name="T21" fmla="*/ 1185 h 1459"/>
                <a:gd name="T22" fmla="*/ 791 w 1455"/>
                <a:gd name="T23" fmla="*/ 1186 h 1459"/>
                <a:gd name="T24" fmla="*/ 913 w 1455"/>
                <a:gd name="T25" fmla="*/ 1151 h 1459"/>
                <a:gd name="T26" fmla="*/ 1020 w 1455"/>
                <a:gd name="T27" fmla="*/ 1085 h 1459"/>
                <a:gd name="T28" fmla="*/ 1111 w 1455"/>
                <a:gd name="T29" fmla="*/ 985 h 1459"/>
                <a:gd name="T30" fmla="*/ 1167 w 1455"/>
                <a:gd name="T31" fmla="*/ 865 h 1459"/>
                <a:gd name="T32" fmla="*/ 1188 w 1455"/>
                <a:gd name="T33" fmla="*/ 736 h 1459"/>
                <a:gd name="T34" fmla="*/ 1171 w 1455"/>
                <a:gd name="T35" fmla="*/ 608 h 1459"/>
                <a:gd name="T36" fmla="*/ 1120 w 1455"/>
                <a:gd name="T37" fmla="*/ 490 h 1459"/>
                <a:gd name="T38" fmla="*/ 1037 w 1455"/>
                <a:gd name="T39" fmla="*/ 388 h 1459"/>
                <a:gd name="T40" fmla="*/ 923 w 1455"/>
                <a:gd name="T41" fmla="*/ 313 h 1459"/>
                <a:gd name="T42" fmla="*/ 793 w 1455"/>
                <a:gd name="T43" fmla="*/ 273 h 1459"/>
                <a:gd name="T44" fmla="*/ 699 w 1455"/>
                <a:gd name="T45" fmla="*/ 0 h 1459"/>
                <a:gd name="T46" fmla="*/ 727 w 1455"/>
                <a:gd name="T47" fmla="*/ 106 h 1459"/>
                <a:gd name="T48" fmla="*/ 893 w 1455"/>
                <a:gd name="T49" fmla="*/ 128 h 1459"/>
                <a:gd name="T50" fmla="*/ 1034 w 1455"/>
                <a:gd name="T51" fmla="*/ 68 h 1459"/>
                <a:gd name="T52" fmla="*/ 1161 w 1455"/>
                <a:gd name="T53" fmla="*/ 283 h 1459"/>
                <a:gd name="T54" fmla="*/ 1246 w 1455"/>
                <a:gd name="T55" fmla="*/ 384 h 1459"/>
                <a:gd name="T56" fmla="*/ 1306 w 1455"/>
                <a:gd name="T57" fmla="*/ 499 h 1459"/>
                <a:gd name="T58" fmla="*/ 1455 w 1455"/>
                <a:gd name="T59" fmla="*/ 701 h 1459"/>
                <a:gd name="T60" fmla="*/ 1347 w 1455"/>
                <a:gd name="T61" fmla="*/ 785 h 1459"/>
                <a:gd name="T62" fmla="*/ 1323 w 1455"/>
                <a:gd name="T63" fmla="*/ 913 h 1459"/>
                <a:gd name="T64" fmla="*/ 1389 w 1455"/>
                <a:gd name="T65" fmla="*/ 1036 h 1459"/>
                <a:gd name="T66" fmla="*/ 1173 w 1455"/>
                <a:gd name="T67" fmla="*/ 1166 h 1459"/>
                <a:gd name="T68" fmla="*/ 1073 w 1455"/>
                <a:gd name="T69" fmla="*/ 1249 h 1459"/>
                <a:gd name="T70" fmla="*/ 958 w 1455"/>
                <a:gd name="T71" fmla="*/ 1309 h 1459"/>
                <a:gd name="T72" fmla="*/ 757 w 1455"/>
                <a:gd name="T73" fmla="*/ 1459 h 1459"/>
                <a:gd name="T74" fmla="*/ 727 w 1455"/>
                <a:gd name="T75" fmla="*/ 1354 h 1459"/>
                <a:gd name="T76" fmla="*/ 562 w 1455"/>
                <a:gd name="T77" fmla="*/ 1331 h 1459"/>
                <a:gd name="T78" fmla="*/ 423 w 1455"/>
                <a:gd name="T79" fmla="*/ 1392 h 1459"/>
                <a:gd name="T80" fmla="*/ 293 w 1455"/>
                <a:gd name="T81" fmla="*/ 1177 h 1459"/>
                <a:gd name="T82" fmla="*/ 210 w 1455"/>
                <a:gd name="T83" fmla="*/ 1075 h 1459"/>
                <a:gd name="T84" fmla="*/ 150 w 1455"/>
                <a:gd name="T85" fmla="*/ 961 h 1459"/>
                <a:gd name="T86" fmla="*/ 0 w 1455"/>
                <a:gd name="T87" fmla="*/ 759 h 1459"/>
                <a:gd name="T88" fmla="*/ 107 w 1455"/>
                <a:gd name="T89" fmla="*/ 674 h 1459"/>
                <a:gd name="T90" fmla="*/ 133 w 1455"/>
                <a:gd name="T91" fmla="*/ 546 h 1459"/>
                <a:gd name="T92" fmla="*/ 65 w 1455"/>
                <a:gd name="T93" fmla="*/ 424 h 1459"/>
                <a:gd name="T94" fmla="*/ 282 w 1455"/>
                <a:gd name="T95" fmla="*/ 294 h 1459"/>
                <a:gd name="T96" fmla="*/ 383 w 1455"/>
                <a:gd name="T97" fmla="*/ 211 h 1459"/>
                <a:gd name="T98" fmla="*/ 496 w 1455"/>
                <a:gd name="T99" fmla="*/ 151 h 1459"/>
                <a:gd name="T100" fmla="*/ 699 w 1455"/>
                <a:gd name="T101" fmla="*/ 0 h 1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55" h="1459">
                  <a:moveTo>
                    <a:pt x="727" y="270"/>
                  </a:moveTo>
                  <a:lnTo>
                    <a:pt x="665" y="273"/>
                  </a:lnTo>
                  <a:lnTo>
                    <a:pt x="603" y="287"/>
                  </a:lnTo>
                  <a:lnTo>
                    <a:pt x="543" y="309"/>
                  </a:lnTo>
                  <a:lnTo>
                    <a:pt x="486" y="337"/>
                  </a:lnTo>
                  <a:lnTo>
                    <a:pt x="434" y="375"/>
                  </a:lnTo>
                  <a:lnTo>
                    <a:pt x="387" y="420"/>
                  </a:lnTo>
                  <a:lnTo>
                    <a:pt x="345" y="475"/>
                  </a:lnTo>
                  <a:lnTo>
                    <a:pt x="312" y="533"/>
                  </a:lnTo>
                  <a:lnTo>
                    <a:pt x="287" y="595"/>
                  </a:lnTo>
                  <a:lnTo>
                    <a:pt x="274" y="659"/>
                  </a:lnTo>
                  <a:lnTo>
                    <a:pt x="268" y="723"/>
                  </a:lnTo>
                  <a:lnTo>
                    <a:pt x="272" y="787"/>
                  </a:lnTo>
                  <a:lnTo>
                    <a:pt x="283" y="851"/>
                  </a:lnTo>
                  <a:lnTo>
                    <a:pt x="306" y="912"/>
                  </a:lnTo>
                  <a:lnTo>
                    <a:pt x="334" y="970"/>
                  </a:lnTo>
                  <a:lnTo>
                    <a:pt x="372" y="1023"/>
                  </a:lnTo>
                  <a:lnTo>
                    <a:pt x="419" y="1072"/>
                  </a:lnTo>
                  <a:lnTo>
                    <a:pt x="471" y="1113"/>
                  </a:lnTo>
                  <a:lnTo>
                    <a:pt x="533" y="1147"/>
                  </a:lnTo>
                  <a:lnTo>
                    <a:pt x="595" y="1171"/>
                  </a:lnTo>
                  <a:lnTo>
                    <a:pt x="661" y="1185"/>
                  </a:lnTo>
                  <a:lnTo>
                    <a:pt x="727" y="1190"/>
                  </a:lnTo>
                  <a:lnTo>
                    <a:pt x="791" y="1186"/>
                  </a:lnTo>
                  <a:lnTo>
                    <a:pt x="853" y="1173"/>
                  </a:lnTo>
                  <a:lnTo>
                    <a:pt x="913" y="1151"/>
                  </a:lnTo>
                  <a:lnTo>
                    <a:pt x="970" y="1122"/>
                  </a:lnTo>
                  <a:lnTo>
                    <a:pt x="1020" y="1085"/>
                  </a:lnTo>
                  <a:lnTo>
                    <a:pt x="1069" y="1038"/>
                  </a:lnTo>
                  <a:lnTo>
                    <a:pt x="1111" y="985"/>
                  </a:lnTo>
                  <a:lnTo>
                    <a:pt x="1143" y="927"/>
                  </a:lnTo>
                  <a:lnTo>
                    <a:pt x="1167" y="865"/>
                  </a:lnTo>
                  <a:lnTo>
                    <a:pt x="1182" y="801"/>
                  </a:lnTo>
                  <a:lnTo>
                    <a:pt x="1188" y="736"/>
                  </a:lnTo>
                  <a:lnTo>
                    <a:pt x="1184" y="672"/>
                  </a:lnTo>
                  <a:lnTo>
                    <a:pt x="1171" y="608"/>
                  </a:lnTo>
                  <a:lnTo>
                    <a:pt x="1150" y="548"/>
                  </a:lnTo>
                  <a:lnTo>
                    <a:pt x="1120" y="490"/>
                  </a:lnTo>
                  <a:lnTo>
                    <a:pt x="1082" y="437"/>
                  </a:lnTo>
                  <a:lnTo>
                    <a:pt x="1037" y="388"/>
                  </a:lnTo>
                  <a:lnTo>
                    <a:pt x="983" y="347"/>
                  </a:lnTo>
                  <a:lnTo>
                    <a:pt x="923" y="313"/>
                  </a:lnTo>
                  <a:lnTo>
                    <a:pt x="859" y="288"/>
                  </a:lnTo>
                  <a:lnTo>
                    <a:pt x="793" y="273"/>
                  </a:lnTo>
                  <a:lnTo>
                    <a:pt x="727" y="270"/>
                  </a:lnTo>
                  <a:close/>
                  <a:moveTo>
                    <a:pt x="699" y="0"/>
                  </a:moveTo>
                  <a:lnTo>
                    <a:pt x="720" y="106"/>
                  </a:lnTo>
                  <a:lnTo>
                    <a:pt x="727" y="106"/>
                  </a:lnTo>
                  <a:lnTo>
                    <a:pt x="810" y="111"/>
                  </a:lnTo>
                  <a:lnTo>
                    <a:pt x="893" y="128"/>
                  </a:lnTo>
                  <a:lnTo>
                    <a:pt x="973" y="157"/>
                  </a:lnTo>
                  <a:lnTo>
                    <a:pt x="1034" y="68"/>
                  </a:lnTo>
                  <a:lnTo>
                    <a:pt x="1222" y="194"/>
                  </a:lnTo>
                  <a:lnTo>
                    <a:pt x="1161" y="283"/>
                  </a:lnTo>
                  <a:lnTo>
                    <a:pt x="1206" y="332"/>
                  </a:lnTo>
                  <a:lnTo>
                    <a:pt x="1246" y="384"/>
                  </a:lnTo>
                  <a:lnTo>
                    <a:pt x="1278" y="441"/>
                  </a:lnTo>
                  <a:lnTo>
                    <a:pt x="1306" y="499"/>
                  </a:lnTo>
                  <a:lnTo>
                    <a:pt x="1411" y="477"/>
                  </a:lnTo>
                  <a:lnTo>
                    <a:pt x="1455" y="701"/>
                  </a:lnTo>
                  <a:lnTo>
                    <a:pt x="1349" y="721"/>
                  </a:lnTo>
                  <a:lnTo>
                    <a:pt x="1347" y="785"/>
                  </a:lnTo>
                  <a:lnTo>
                    <a:pt x="1338" y="849"/>
                  </a:lnTo>
                  <a:lnTo>
                    <a:pt x="1323" y="913"/>
                  </a:lnTo>
                  <a:lnTo>
                    <a:pt x="1299" y="976"/>
                  </a:lnTo>
                  <a:lnTo>
                    <a:pt x="1389" y="1036"/>
                  </a:lnTo>
                  <a:lnTo>
                    <a:pt x="1263" y="1224"/>
                  </a:lnTo>
                  <a:lnTo>
                    <a:pt x="1173" y="1166"/>
                  </a:lnTo>
                  <a:lnTo>
                    <a:pt x="1126" y="1209"/>
                  </a:lnTo>
                  <a:lnTo>
                    <a:pt x="1073" y="1249"/>
                  </a:lnTo>
                  <a:lnTo>
                    <a:pt x="1017" y="1282"/>
                  </a:lnTo>
                  <a:lnTo>
                    <a:pt x="958" y="1309"/>
                  </a:lnTo>
                  <a:lnTo>
                    <a:pt x="979" y="1414"/>
                  </a:lnTo>
                  <a:lnTo>
                    <a:pt x="757" y="1459"/>
                  </a:lnTo>
                  <a:lnTo>
                    <a:pt x="735" y="1354"/>
                  </a:lnTo>
                  <a:lnTo>
                    <a:pt x="727" y="1354"/>
                  </a:lnTo>
                  <a:lnTo>
                    <a:pt x="644" y="1348"/>
                  </a:lnTo>
                  <a:lnTo>
                    <a:pt x="562" y="1331"/>
                  </a:lnTo>
                  <a:lnTo>
                    <a:pt x="483" y="1303"/>
                  </a:lnTo>
                  <a:lnTo>
                    <a:pt x="423" y="1392"/>
                  </a:lnTo>
                  <a:lnTo>
                    <a:pt x="233" y="1266"/>
                  </a:lnTo>
                  <a:lnTo>
                    <a:pt x="293" y="1177"/>
                  </a:lnTo>
                  <a:lnTo>
                    <a:pt x="248" y="1128"/>
                  </a:lnTo>
                  <a:lnTo>
                    <a:pt x="210" y="1075"/>
                  </a:lnTo>
                  <a:lnTo>
                    <a:pt x="176" y="1019"/>
                  </a:lnTo>
                  <a:lnTo>
                    <a:pt x="150" y="961"/>
                  </a:lnTo>
                  <a:lnTo>
                    <a:pt x="45" y="983"/>
                  </a:lnTo>
                  <a:lnTo>
                    <a:pt x="0" y="759"/>
                  </a:lnTo>
                  <a:lnTo>
                    <a:pt x="105" y="738"/>
                  </a:lnTo>
                  <a:lnTo>
                    <a:pt x="107" y="674"/>
                  </a:lnTo>
                  <a:lnTo>
                    <a:pt x="116" y="610"/>
                  </a:lnTo>
                  <a:lnTo>
                    <a:pt x="133" y="546"/>
                  </a:lnTo>
                  <a:lnTo>
                    <a:pt x="156" y="484"/>
                  </a:lnTo>
                  <a:lnTo>
                    <a:pt x="65" y="424"/>
                  </a:lnTo>
                  <a:lnTo>
                    <a:pt x="191" y="236"/>
                  </a:lnTo>
                  <a:lnTo>
                    <a:pt x="282" y="294"/>
                  </a:lnTo>
                  <a:lnTo>
                    <a:pt x="330" y="251"/>
                  </a:lnTo>
                  <a:lnTo>
                    <a:pt x="383" y="211"/>
                  </a:lnTo>
                  <a:lnTo>
                    <a:pt x="438" y="177"/>
                  </a:lnTo>
                  <a:lnTo>
                    <a:pt x="496" y="151"/>
                  </a:lnTo>
                  <a:lnTo>
                    <a:pt x="475" y="46"/>
                  </a:lnTo>
                  <a:lnTo>
                    <a:pt x="699" y="0"/>
                  </a:lnTo>
                  <a:close/>
                </a:path>
              </a:pathLst>
            </a:custGeom>
            <a:solidFill>
              <a:srgbClr val="A7CCD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17" name="Rectangle 316">
            <a:extLst>
              <a:ext uri="{FF2B5EF4-FFF2-40B4-BE49-F238E27FC236}">
                <a16:creationId xmlns:a16="http://schemas.microsoft.com/office/drawing/2014/main" id="{71729463-D52A-4ADE-B6CC-AADBD842A27B}"/>
              </a:ext>
            </a:extLst>
          </p:cNvPr>
          <p:cNvSpPr/>
          <p:nvPr/>
        </p:nvSpPr>
        <p:spPr>
          <a:xfrm>
            <a:off x="1252020" y="1416845"/>
            <a:ext cx="1368000" cy="7619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AIN</a:t>
            </a:r>
          </a:p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OINTS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7E4E7BB1-CCA9-4532-AEE8-D8E57BD58347}"/>
              </a:ext>
            </a:extLst>
          </p:cNvPr>
          <p:cNvSpPr/>
          <p:nvPr/>
        </p:nvSpPr>
        <p:spPr>
          <a:xfrm>
            <a:off x="1252020" y="2531532"/>
            <a:ext cx="1368000" cy="8985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HYSICAL MARKET BEHAVIOUR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21F5CC6D-63A5-4D62-95F4-519A38112D7C}"/>
              </a:ext>
            </a:extLst>
          </p:cNvPr>
          <p:cNvSpPr/>
          <p:nvPr/>
        </p:nvSpPr>
        <p:spPr>
          <a:xfrm>
            <a:off x="1252020" y="3859907"/>
            <a:ext cx="1368000" cy="8985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NEED-GAP IN OFFLINE MARKET</a:t>
            </a: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643D131F-87B1-4844-9675-65C808C7F639}"/>
              </a:ext>
            </a:extLst>
          </p:cNvPr>
          <p:cNvSpPr/>
          <p:nvPr/>
        </p:nvSpPr>
        <p:spPr>
          <a:xfrm>
            <a:off x="1252020" y="5412159"/>
            <a:ext cx="1368000" cy="73329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SUFIN SOLUTION</a:t>
            </a:r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8EB9C13A-7817-4093-BBA0-72ECE499C745}"/>
              </a:ext>
            </a:extLst>
          </p:cNvPr>
          <p:cNvSpPr/>
          <p:nvPr/>
        </p:nvSpPr>
        <p:spPr>
          <a:xfrm>
            <a:off x="4066403" y="639086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1</a:t>
            </a:r>
          </a:p>
        </p:txBody>
      </p: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1D25F73B-BEBE-4B53-8BC1-7AB51B5AC178}"/>
              </a:ext>
            </a:extLst>
          </p:cNvPr>
          <p:cNvCxnSpPr>
            <a:cxnSpLocks/>
          </p:cNvCxnSpPr>
          <p:nvPr/>
        </p:nvCxnSpPr>
        <p:spPr>
          <a:xfrm rot="5400000">
            <a:off x="-159868" y="3685480"/>
            <a:ext cx="604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tangle 327">
            <a:extLst>
              <a:ext uri="{FF2B5EF4-FFF2-40B4-BE49-F238E27FC236}">
                <a16:creationId xmlns:a16="http://schemas.microsoft.com/office/drawing/2014/main" id="{DD3C8B9F-4CE3-40AA-9053-2DA8B8BD7171}"/>
              </a:ext>
            </a:extLst>
          </p:cNvPr>
          <p:cNvSpPr/>
          <p:nvPr/>
        </p:nvSpPr>
        <p:spPr>
          <a:xfrm>
            <a:off x="3094403" y="2443101"/>
            <a:ext cx="252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ealing with limited customers in known network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CB2D0EF-AC8E-49B6-A6AE-F52BF6F99CFB}"/>
              </a:ext>
            </a:extLst>
          </p:cNvPr>
          <p:cNvSpPr/>
          <p:nvPr/>
        </p:nvSpPr>
        <p:spPr>
          <a:xfrm>
            <a:off x="3094403" y="1260116"/>
            <a:ext cx="252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Market Access for Sellers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AA9D2761-8216-470A-BD93-FD0A3B4378F0}"/>
              </a:ext>
            </a:extLst>
          </p:cNvPr>
          <p:cNvSpPr/>
          <p:nvPr/>
        </p:nvSpPr>
        <p:spPr>
          <a:xfrm>
            <a:off x="3094403" y="3644864"/>
            <a:ext cx="2520000" cy="1296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Lack of visi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Access to channel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Payment Risks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162E27EF-E9DB-4F2D-9C02-8609143E851E}"/>
              </a:ext>
            </a:extLst>
          </p:cNvPr>
          <p:cNvSpPr/>
          <p:nvPr/>
        </p:nvSpPr>
        <p:spPr>
          <a:xfrm>
            <a:off x="3094403" y="5030072"/>
            <a:ext cx="2520000" cy="15105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igital Channel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Pan-India visi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Trusted &amp; verified buyers</a:t>
            </a:r>
          </a:p>
        </p:txBody>
      </p:sp>
      <p:sp>
        <p:nvSpPr>
          <p:cNvPr id="333" name="Arrow: Chevron 332">
            <a:extLst>
              <a:ext uri="{FF2B5EF4-FFF2-40B4-BE49-F238E27FC236}">
                <a16:creationId xmlns:a16="http://schemas.microsoft.com/office/drawing/2014/main" id="{112DEA64-0A1F-464C-940F-6E7D5FAF4AC6}"/>
              </a:ext>
            </a:extLst>
          </p:cNvPr>
          <p:cNvSpPr/>
          <p:nvPr/>
        </p:nvSpPr>
        <p:spPr>
          <a:xfrm>
            <a:off x="2697180" y="2800813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4" name="Arrow: Chevron 333">
            <a:extLst>
              <a:ext uri="{FF2B5EF4-FFF2-40B4-BE49-F238E27FC236}">
                <a16:creationId xmlns:a16="http://schemas.microsoft.com/office/drawing/2014/main" id="{31D0D35B-B2EB-42EC-A4EA-EC784651E756}"/>
              </a:ext>
            </a:extLst>
          </p:cNvPr>
          <p:cNvSpPr/>
          <p:nvPr/>
        </p:nvSpPr>
        <p:spPr>
          <a:xfrm>
            <a:off x="2694836" y="1617828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5" name="Arrow: Chevron 334">
            <a:extLst>
              <a:ext uri="{FF2B5EF4-FFF2-40B4-BE49-F238E27FC236}">
                <a16:creationId xmlns:a16="http://schemas.microsoft.com/office/drawing/2014/main" id="{DB70BECF-979F-4A40-A507-256A58B1CA88}"/>
              </a:ext>
            </a:extLst>
          </p:cNvPr>
          <p:cNvSpPr/>
          <p:nvPr/>
        </p:nvSpPr>
        <p:spPr>
          <a:xfrm>
            <a:off x="2692488" y="4129188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6" name="Arrow: Chevron 335">
            <a:extLst>
              <a:ext uri="{FF2B5EF4-FFF2-40B4-BE49-F238E27FC236}">
                <a16:creationId xmlns:a16="http://schemas.microsoft.com/office/drawing/2014/main" id="{783964AC-F44D-4EF6-A7A7-5429EB972819}"/>
              </a:ext>
            </a:extLst>
          </p:cNvPr>
          <p:cNvSpPr/>
          <p:nvPr/>
        </p:nvSpPr>
        <p:spPr>
          <a:xfrm>
            <a:off x="2690143" y="5598805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9CDC2CA4-718E-4B19-BD38-39FA1FF3E130}"/>
              </a:ext>
            </a:extLst>
          </p:cNvPr>
          <p:cNvSpPr/>
          <p:nvPr/>
        </p:nvSpPr>
        <p:spPr>
          <a:xfrm>
            <a:off x="7140927" y="639086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2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D7AF51A9-DA6A-4E44-8F3E-3C100F97F0AC}"/>
              </a:ext>
            </a:extLst>
          </p:cNvPr>
          <p:cNvSpPr/>
          <p:nvPr/>
        </p:nvSpPr>
        <p:spPr>
          <a:xfrm>
            <a:off x="5808927" y="2443101"/>
            <a:ext cx="324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ealing with known Sellers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34E7B816-7C52-4A7E-9209-2F50B20BB174}"/>
              </a:ext>
            </a:extLst>
          </p:cNvPr>
          <p:cNvSpPr/>
          <p:nvPr/>
        </p:nvSpPr>
        <p:spPr>
          <a:xfrm>
            <a:off x="5808927" y="1260116"/>
            <a:ext cx="324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Price &amp; Product Discovery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C6D714DF-FC94-4D14-9751-734467C5F0CA}"/>
              </a:ext>
            </a:extLst>
          </p:cNvPr>
          <p:cNvSpPr/>
          <p:nvPr/>
        </p:nvSpPr>
        <p:spPr>
          <a:xfrm>
            <a:off x="5808927" y="3644864"/>
            <a:ext cx="3240000" cy="1296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iversifying vendor-ba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Price &amp; product discovery thru digital means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6686858D-A908-4A66-A900-E97F9A441A38}"/>
              </a:ext>
            </a:extLst>
          </p:cNvPr>
          <p:cNvSpPr/>
          <p:nvPr/>
        </p:nvSpPr>
        <p:spPr>
          <a:xfrm>
            <a:off x="5808927" y="5030072"/>
            <a:ext cx="3240000" cy="15105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RFQ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Competitive pric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etailed specifications</a:t>
            </a:r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86DFB784-47C5-4EDF-8FCA-116CE17BCA6B}"/>
              </a:ext>
            </a:extLst>
          </p:cNvPr>
          <p:cNvSpPr/>
          <p:nvPr/>
        </p:nvSpPr>
        <p:spPr>
          <a:xfrm>
            <a:off x="10406469" y="639086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3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E30887E6-B178-409B-8EF9-2E5F63FC93B1}"/>
              </a:ext>
            </a:extLst>
          </p:cNvPr>
          <p:cNvSpPr/>
          <p:nvPr/>
        </p:nvSpPr>
        <p:spPr>
          <a:xfrm>
            <a:off x="9254469" y="2443101"/>
            <a:ext cx="288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ealing with known Sellers network</a:t>
            </a: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440798CB-161D-4141-A233-A2BD91230B8E}"/>
              </a:ext>
            </a:extLst>
          </p:cNvPr>
          <p:cNvSpPr/>
          <p:nvPr/>
        </p:nvSpPr>
        <p:spPr>
          <a:xfrm>
            <a:off x="9268894" y="1260116"/>
            <a:ext cx="288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Quality &amp; Reliability of Sellers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47C7C340-013C-4714-96E2-888A769D3B06}"/>
              </a:ext>
            </a:extLst>
          </p:cNvPr>
          <p:cNvSpPr/>
          <p:nvPr/>
        </p:nvSpPr>
        <p:spPr>
          <a:xfrm>
            <a:off x="9254469" y="3644864"/>
            <a:ext cx="2880000" cy="1296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Limited Seller base due to lack of Trust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11A8769C-EC94-458A-9039-FA20071AB429}"/>
              </a:ext>
            </a:extLst>
          </p:cNvPr>
          <p:cNvSpPr/>
          <p:nvPr/>
        </p:nvSpPr>
        <p:spPr>
          <a:xfrm>
            <a:off x="9254469" y="5030072"/>
            <a:ext cx="2880000" cy="15105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Verified &amp; trusted Seals to Buyers to ensure confidence</a:t>
            </a:r>
          </a:p>
        </p:txBody>
      </p:sp>
      <p:sp>
        <p:nvSpPr>
          <p:cNvPr id="156" name="Slide Number Placeholder 2">
            <a:extLst>
              <a:ext uri="{FF2B5EF4-FFF2-40B4-BE49-F238E27FC236}">
                <a16:creationId xmlns:a16="http://schemas.microsoft.com/office/drawing/2014/main" id="{2306953E-66B9-4243-AD63-9FDBC3289B33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3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960407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" name="Group 193">
            <a:extLst>
              <a:ext uri="{FF2B5EF4-FFF2-40B4-BE49-F238E27FC236}">
                <a16:creationId xmlns:a16="http://schemas.microsoft.com/office/drawing/2014/main" id="{F931D3D7-6572-43AD-A403-64464CDE9A7F}"/>
              </a:ext>
            </a:extLst>
          </p:cNvPr>
          <p:cNvGrpSpPr/>
          <p:nvPr/>
        </p:nvGrpSpPr>
        <p:grpSpPr>
          <a:xfrm>
            <a:off x="67202" y="1327968"/>
            <a:ext cx="1039723" cy="889372"/>
            <a:chOff x="5441949" y="1524000"/>
            <a:chExt cx="6062663" cy="4232275"/>
          </a:xfrm>
        </p:grpSpPr>
        <p:sp>
          <p:nvSpPr>
            <p:cNvPr id="195" name="Freeform 7">
              <a:extLst>
                <a:ext uri="{FF2B5EF4-FFF2-40B4-BE49-F238E27FC236}">
                  <a16:creationId xmlns:a16="http://schemas.microsoft.com/office/drawing/2014/main" id="{AF674091-4E91-4E54-98FE-0BDEEDE8DE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2349" y="3092450"/>
              <a:ext cx="2162175" cy="2663825"/>
            </a:xfrm>
            <a:custGeom>
              <a:avLst/>
              <a:gdLst>
                <a:gd name="T0" fmla="*/ 1265 w 1362"/>
                <a:gd name="T1" fmla="*/ 1602 h 1678"/>
                <a:gd name="T2" fmla="*/ 1288 w 1362"/>
                <a:gd name="T3" fmla="*/ 1591 h 1678"/>
                <a:gd name="T4" fmla="*/ 1299 w 1362"/>
                <a:gd name="T5" fmla="*/ 1586 h 1678"/>
                <a:gd name="T6" fmla="*/ 1306 w 1362"/>
                <a:gd name="T7" fmla="*/ 1583 h 1678"/>
                <a:gd name="T8" fmla="*/ 1315 w 1362"/>
                <a:gd name="T9" fmla="*/ 1578 h 1678"/>
                <a:gd name="T10" fmla="*/ 1362 w 1362"/>
                <a:gd name="T11" fmla="*/ 1552 h 1678"/>
                <a:gd name="T12" fmla="*/ 902 w 1362"/>
                <a:gd name="T13" fmla="*/ 778 h 1678"/>
                <a:gd name="T14" fmla="*/ 1233 w 1362"/>
                <a:gd name="T15" fmla="*/ 1615 h 1678"/>
                <a:gd name="T16" fmla="*/ 1095 w 1362"/>
                <a:gd name="T17" fmla="*/ 1658 h 1678"/>
                <a:gd name="T18" fmla="*/ 951 w 1362"/>
                <a:gd name="T19" fmla="*/ 1677 h 1678"/>
                <a:gd name="T20" fmla="*/ 804 w 1362"/>
                <a:gd name="T21" fmla="*/ 1674 h 1678"/>
                <a:gd name="T22" fmla="*/ 656 w 1362"/>
                <a:gd name="T23" fmla="*/ 1645 h 1678"/>
                <a:gd name="T24" fmla="*/ 518 w 1362"/>
                <a:gd name="T25" fmla="*/ 1592 h 1678"/>
                <a:gd name="T26" fmla="*/ 398 w 1362"/>
                <a:gd name="T27" fmla="*/ 1525 h 1678"/>
                <a:gd name="T28" fmla="*/ 292 w 1362"/>
                <a:gd name="T29" fmla="*/ 1442 h 1678"/>
                <a:gd name="T30" fmla="*/ 201 w 1362"/>
                <a:gd name="T31" fmla="*/ 1344 h 1678"/>
                <a:gd name="T32" fmla="*/ 126 w 1362"/>
                <a:gd name="T33" fmla="*/ 1235 h 1678"/>
                <a:gd name="T34" fmla="*/ 68 w 1362"/>
                <a:gd name="T35" fmla="*/ 1118 h 1678"/>
                <a:gd name="T36" fmla="*/ 26 w 1362"/>
                <a:gd name="T37" fmla="*/ 992 h 1678"/>
                <a:gd name="T38" fmla="*/ 5 w 1362"/>
                <a:gd name="T39" fmla="*/ 862 h 1678"/>
                <a:gd name="T40" fmla="*/ 2 w 1362"/>
                <a:gd name="T41" fmla="*/ 727 h 1678"/>
                <a:gd name="T42" fmla="*/ 20 w 1362"/>
                <a:gd name="T43" fmla="*/ 593 h 1678"/>
                <a:gd name="T44" fmla="*/ 59 w 1362"/>
                <a:gd name="T45" fmla="*/ 459 h 1678"/>
                <a:gd name="T46" fmla="*/ 118 w 1362"/>
                <a:gd name="T47" fmla="*/ 332 h 1678"/>
                <a:gd name="T48" fmla="*/ 195 w 1362"/>
                <a:gd name="T49" fmla="*/ 217 h 1678"/>
                <a:gd name="T50" fmla="*/ 286 w 1362"/>
                <a:gd name="T51" fmla="*/ 119 h 1678"/>
                <a:gd name="T52" fmla="*/ 374 w 1362"/>
                <a:gd name="T53" fmla="*/ 47 h 1678"/>
                <a:gd name="T54" fmla="*/ 374 w 1362"/>
                <a:gd name="T55" fmla="*/ 47 h 1678"/>
                <a:gd name="T56" fmla="*/ 384 w 1362"/>
                <a:gd name="T57" fmla="*/ 40 h 1678"/>
                <a:gd name="T58" fmla="*/ 384 w 1362"/>
                <a:gd name="T59" fmla="*/ 40 h 1678"/>
                <a:gd name="T60" fmla="*/ 396 w 1362"/>
                <a:gd name="T61" fmla="*/ 31 h 1678"/>
                <a:gd name="T62" fmla="*/ 396 w 1362"/>
                <a:gd name="T63" fmla="*/ 31 h 1678"/>
                <a:gd name="T64" fmla="*/ 446 w 1362"/>
                <a:gd name="T65" fmla="*/ 0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62" h="1678">
                  <a:moveTo>
                    <a:pt x="1288" y="1591"/>
                  </a:moveTo>
                  <a:lnTo>
                    <a:pt x="1265" y="1602"/>
                  </a:lnTo>
                  <a:lnTo>
                    <a:pt x="1265" y="1601"/>
                  </a:lnTo>
                  <a:lnTo>
                    <a:pt x="1288" y="1591"/>
                  </a:lnTo>
                  <a:close/>
                  <a:moveTo>
                    <a:pt x="1306" y="1583"/>
                  </a:moveTo>
                  <a:lnTo>
                    <a:pt x="1299" y="1586"/>
                  </a:lnTo>
                  <a:lnTo>
                    <a:pt x="1288" y="1591"/>
                  </a:lnTo>
                  <a:lnTo>
                    <a:pt x="1306" y="1583"/>
                  </a:lnTo>
                  <a:close/>
                  <a:moveTo>
                    <a:pt x="1362" y="1552"/>
                  </a:moveTo>
                  <a:lnTo>
                    <a:pt x="1315" y="1578"/>
                  </a:lnTo>
                  <a:lnTo>
                    <a:pt x="1306" y="1583"/>
                  </a:lnTo>
                  <a:lnTo>
                    <a:pt x="1362" y="1552"/>
                  </a:lnTo>
                  <a:close/>
                  <a:moveTo>
                    <a:pt x="374" y="47"/>
                  </a:moveTo>
                  <a:lnTo>
                    <a:pt x="902" y="778"/>
                  </a:lnTo>
                  <a:lnTo>
                    <a:pt x="1265" y="1601"/>
                  </a:lnTo>
                  <a:lnTo>
                    <a:pt x="1233" y="1615"/>
                  </a:lnTo>
                  <a:lnTo>
                    <a:pt x="1165" y="1639"/>
                  </a:lnTo>
                  <a:lnTo>
                    <a:pt x="1095" y="1658"/>
                  </a:lnTo>
                  <a:lnTo>
                    <a:pt x="1024" y="1670"/>
                  </a:lnTo>
                  <a:lnTo>
                    <a:pt x="951" y="1677"/>
                  </a:lnTo>
                  <a:lnTo>
                    <a:pt x="878" y="1678"/>
                  </a:lnTo>
                  <a:lnTo>
                    <a:pt x="804" y="1674"/>
                  </a:lnTo>
                  <a:lnTo>
                    <a:pt x="730" y="1662"/>
                  </a:lnTo>
                  <a:lnTo>
                    <a:pt x="656" y="1645"/>
                  </a:lnTo>
                  <a:lnTo>
                    <a:pt x="583" y="1620"/>
                  </a:lnTo>
                  <a:lnTo>
                    <a:pt x="518" y="1592"/>
                  </a:lnTo>
                  <a:lnTo>
                    <a:pt x="456" y="1561"/>
                  </a:lnTo>
                  <a:lnTo>
                    <a:pt x="398" y="1525"/>
                  </a:lnTo>
                  <a:lnTo>
                    <a:pt x="344" y="1485"/>
                  </a:lnTo>
                  <a:lnTo>
                    <a:pt x="292" y="1442"/>
                  </a:lnTo>
                  <a:lnTo>
                    <a:pt x="244" y="1395"/>
                  </a:lnTo>
                  <a:lnTo>
                    <a:pt x="201" y="1344"/>
                  </a:lnTo>
                  <a:lnTo>
                    <a:pt x="162" y="1291"/>
                  </a:lnTo>
                  <a:lnTo>
                    <a:pt x="126" y="1235"/>
                  </a:lnTo>
                  <a:lnTo>
                    <a:pt x="95" y="1177"/>
                  </a:lnTo>
                  <a:lnTo>
                    <a:pt x="68" y="1118"/>
                  </a:lnTo>
                  <a:lnTo>
                    <a:pt x="44" y="1056"/>
                  </a:lnTo>
                  <a:lnTo>
                    <a:pt x="26" y="992"/>
                  </a:lnTo>
                  <a:lnTo>
                    <a:pt x="13" y="927"/>
                  </a:lnTo>
                  <a:lnTo>
                    <a:pt x="5" y="862"/>
                  </a:lnTo>
                  <a:lnTo>
                    <a:pt x="0" y="795"/>
                  </a:lnTo>
                  <a:lnTo>
                    <a:pt x="2" y="727"/>
                  </a:lnTo>
                  <a:lnTo>
                    <a:pt x="8" y="660"/>
                  </a:lnTo>
                  <a:lnTo>
                    <a:pt x="20" y="593"/>
                  </a:lnTo>
                  <a:lnTo>
                    <a:pt x="37" y="525"/>
                  </a:lnTo>
                  <a:lnTo>
                    <a:pt x="59" y="459"/>
                  </a:lnTo>
                  <a:lnTo>
                    <a:pt x="86" y="394"/>
                  </a:lnTo>
                  <a:lnTo>
                    <a:pt x="118" y="332"/>
                  </a:lnTo>
                  <a:lnTo>
                    <a:pt x="154" y="273"/>
                  </a:lnTo>
                  <a:lnTo>
                    <a:pt x="195" y="217"/>
                  </a:lnTo>
                  <a:lnTo>
                    <a:pt x="239" y="166"/>
                  </a:lnTo>
                  <a:lnTo>
                    <a:pt x="286" y="119"/>
                  </a:lnTo>
                  <a:lnTo>
                    <a:pt x="336" y="75"/>
                  </a:lnTo>
                  <a:lnTo>
                    <a:pt x="374" y="47"/>
                  </a:lnTo>
                  <a:close/>
                  <a:moveTo>
                    <a:pt x="384" y="40"/>
                  </a:moveTo>
                  <a:lnTo>
                    <a:pt x="374" y="47"/>
                  </a:lnTo>
                  <a:lnTo>
                    <a:pt x="374" y="47"/>
                  </a:lnTo>
                  <a:lnTo>
                    <a:pt x="384" y="40"/>
                  </a:lnTo>
                  <a:close/>
                  <a:moveTo>
                    <a:pt x="396" y="31"/>
                  </a:moveTo>
                  <a:lnTo>
                    <a:pt x="384" y="40"/>
                  </a:lnTo>
                  <a:lnTo>
                    <a:pt x="390" y="35"/>
                  </a:lnTo>
                  <a:lnTo>
                    <a:pt x="396" y="31"/>
                  </a:lnTo>
                  <a:close/>
                  <a:moveTo>
                    <a:pt x="446" y="0"/>
                  </a:moveTo>
                  <a:lnTo>
                    <a:pt x="396" y="31"/>
                  </a:lnTo>
                  <a:lnTo>
                    <a:pt x="409" y="23"/>
                  </a:lnTo>
                  <a:lnTo>
                    <a:pt x="446" y="0"/>
                  </a:lnTo>
                  <a:close/>
                </a:path>
              </a:pathLst>
            </a:custGeom>
            <a:solidFill>
              <a:srgbClr val="000000">
                <a:alpha val="14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8">
              <a:extLst>
                <a:ext uri="{FF2B5EF4-FFF2-40B4-BE49-F238E27FC236}">
                  <a16:creationId xmlns:a16="http://schemas.microsoft.com/office/drawing/2014/main" id="{2B8B2E65-2677-4B0B-A7A0-E1EE9C0AF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4327525"/>
              <a:ext cx="1339850" cy="504825"/>
            </a:xfrm>
            <a:custGeom>
              <a:avLst/>
              <a:gdLst>
                <a:gd name="T0" fmla="*/ 0 w 844"/>
                <a:gd name="T1" fmla="*/ 0 h 318"/>
                <a:gd name="T2" fmla="*/ 842 w 844"/>
                <a:gd name="T3" fmla="*/ 318 h 318"/>
                <a:gd name="T4" fmla="*/ 844 w 844"/>
                <a:gd name="T5" fmla="*/ 314 h 318"/>
                <a:gd name="T6" fmla="*/ 842 w 844"/>
                <a:gd name="T7" fmla="*/ 318 h 318"/>
                <a:gd name="T8" fmla="*/ 0 w 844"/>
                <a:gd name="T9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4" h="318">
                  <a:moveTo>
                    <a:pt x="0" y="0"/>
                  </a:moveTo>
                  <a:lnTo>
                    <a:pt x="842" y="318"/>
                  </a:lnTo>
                  <a:lnTo>
                    <a:pt x="844" y="314"/>
                  </a:lnTo>
                  <a:lnTo>
                    <a:pt x="842" y="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9">
              <a:extLst>
                <a:ext uri="{FF2B5EF4-FFF2-40B4-BE49-F238E27FC236}">
                  <a16:creationId xmlns:a16="http://schemas.microsoft.com/office/drawing/2014/main" id="{5E51E858-376A-40F9-A7EA-D512A3229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4" y="2903537"/>
              <a:ext cx="838200" cy="1423987"/>
            </a:xfrm>
            <a:custGeom>
              <a:avLst/>
              <a:gdLst>
                <a:gd name="T0" fmla="*/ 427 w 528"/>
                <a:gd name="T1" fmla="*/ 0 h 897"/>
                <a:gd name="T2" fmla="*/ 528 w 528"/>
                <a:gd name="T3" fmla="*/ 897 h 897"/>
                <a:gd name="T4" fmla="*/ 0 w 528"/>
                <a:gd name="T5" fmla="*/ 166 h 897"/>
                <a:gd name="T6" fmla="*/ 35 w 528"/>
                <a:gd name="T7" fmla="*/ 142 h 897"/>
                <a:gd name="T8" fmla="*/ 72 w 528"/>
                <a:gd name="T9" fmla="*/ 119 h 897"/>
                <a:gd name="T10" fmla="*/ 72 w 528"/>
                <a:gd name="T11" fmla="*/ 118 h 897"/>
                <a:gd name="T12" fmla="*/ 110 w 528"/>
                <a:gd name="T13" fmla="*/ 98 h 897"/>
                <a:gd name="T14" fmla="*/ 148 w 528"/>
                <a:gd name="T15" fmla="*/ 78 h 897"/>
                <a:gd name="T16" fmla="*/ 150 w 528"/>
                <a:gd name="T17" fmla="*/ 77 h 897"/>
                <a:gd name="T18" fmla="*/ 202 w 528"/>
                <a:gd name="T19" fmla="*/ 56 h 897"/>
                <a:gd name="T20" fmla="*/ 204 w 528"/>
                <a:gd name="T21" fmla="*/ 55 h 897"/>
                <a:gd name="T22" fmla="*/ 227 w 528"/>
                <a:gd name="T23" fmla="*/ 46 h 897"/>
                <a:gd name="T24" fmla="*/ 232 w 528"/>
                <a:gd name="T25" fmla="*/ 45 h 897"/>
                <a:gd name="T26" fmla="*/ 283 w 528"/>
                <a:gd name="T27" fmla="*/ 28 h 897"/>
                <a:gd name="T28" fmla="*/ 288 w 528"/>
                <a:gd name="T29" fmla="*/ 27 h 897"/>
                <a:gd name="T30" fmla="*/ 310 w 528"/>
                <a:gd name="T31" fmla="*/ 22 h 897"/>
                <a:gd name="T32" fmla="*/ 315 w 528"/>
                <a:gd name="T33" fmla="*/ 21 h 897"/>
                <a:gd name="T34" fmla="*/ 367 w 528"/>
                <a:gd name="T35" fmla="*/ 9 h 897"/>
                <a:gd name="T36" fmla="*/ 373 w 528"/>
                <a:gd name="T37" fmla="*/ 8 h 897"/>
                <a:gd name="T38" fmla="*/ 395 w 528"/>
                <a:gd name="T39" fmla="*/ 5 h 897"/>
                <a:gd name="T40" fmla="*/ 400 w 528"/>
                <a:gd name="T41" fmla="*/ 4 h 897"/>
                <a:gd name="T42" fmla="*/ 427 w 528"/>
                <a:gd name="T43" fmla="*/ 0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28" h="897">
                  <a:moveTo>
                    <a:pt x="427" y="0"/>
                  </a:moveTo>
                  <a:lnTo>
                    <a:pt x="528" y="897"/>
                  </a:lnTo>
                  <a:lnTo>
                    <a:pt x="0" y="166"/>
                  </a:lnTo>
                  <a:lnTo>
                    <a:pt x="35" y="142"/>
                  </a:lnTo>
                  <a:lnTo>
                    <a:pt x="72" y="119"/>
                  </a:lnTo>
                  <a:lnTo>
                    <a:pt x="72" y="118"/>
                  </a:lnTo>
                  <a:lnTo>
                    <a:pt x="110" y="98"/>
                  </a:lnTo>
                  <a:lnTo>
                    <a:pt x="148" y="78"/>
                  </a:lnTo>
                  <a:lnTo>
                    <a:pt x="150" y="77"/>
                  </a:lnTo>
                  <a:lnTo>
                    <a:pt x="202" y="56"/>
                  </a:lnTo>
                  <a:lnTo>
                    <a:pt x="204" y="55"/>
                  </a:lnTo>
                  <a:lnTo>
                    <a:pt x="227" y="46"/>
                  </a:lnTo>
                  <a:lnTo>
                    <a:pt x="232" y="45"/>
                  </a:lnTo>
                  <a:lnTo>
                    <a:pt x="283" y="28"/>
                  </a:lnTo>
                  <a:lnTo>
                    <a:pt x="288" y="27"/>
                  </a:lnTo>
                  <a:lnTo>
                    <a:pt x="310" y="22"/>
                  </a:lnTo>
                  <a:lnTo>
                    <a:pt x="315" y="21"/>
                  </a:lnTo>
                  <a:lnTo>
                    <a:pt x="367" y="9"/>
                  </a:lnTo>
                  <a:lnTo>
                    <a:pt x="373" y="8"/>
                  </a:lnTo>
                  <a:lnTo>
                    <a:pt x="395" y="5"/>
                  </a:lnTo>
                  <a:lnTo>
                    <a:pt x="400" y="4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000000">
                <a:alpha val="3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Rectangle 11">
              <a:extLst>
                <a:ext uri="{FF2B5EF4-FFF2-40B4-BE49-F238E27FC236}">
                  <a16:creationId xmlns:a16="http://schemas.microsoft.com/office/drawing/2014/main" id="{2A2F3FAF-3413-4D2E-B6A4-1E730F30D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7937" y="3898900"/>
              <a:ext cx="1588" cy="1587"/>
            </a:xfrm>
            <a:prstGeom prst="rect">
              <a:avLst/>
            </a:prstGeom>
            <a:solidFill>
              <a:srgbClr val="000000">
                <a:alpha val="32000"/>
              </a:srgb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2">
              <a:extLst>
                <a:ext uri="{FF2B5EF4-FFF2-40B4-BE49-F238E27FC236}">
                  <a16:creationId xmlns:a16="http://schemas.microsoft.com/office/drawing/2014/main" id="{7AEEF1E3-CE84-430E-A36B-DFE5DFF82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3937" y="2895600"/>
              <a:ext cx="1524000" cy="1431925"/>
            </a:xfrm>
            <a:custGeom>
              <a:avLst/>
              <a:gdLst>
                <a:gd name="T0" fmla="*/ 127 w 960"/>
                <a:gd name="T1" fmla="*/ 0 h 902"/>
                <a:gd name="T2" fmla="*/ 155 w 960"/>
                <a:gd name="T3" fmla="*/ 1 h 902"/>
                <a:gd name="T4" fmla="*/ 180 w 960"/>
                <a:gd name="T5" fmla="*/ 3 h 902"/>
                <a:gd name="T6" fmla="*/ 204 w 960"/>
                <a:gd name="T7" fmla="*/ 5 h 902"/>
                <a:gd name="T8" fmla="*/ 229 w 960"/>
                <a:gd name="T9" fmla="*/ 9 h 902"/>
                <a:gd name="T10" fmla="*/ 255 w 960"/>
                <a:gd name="T11" fmla="*/ 13 h 902"/>
                <a:gd name="T12" fmla="*/ 288 w 960"/>
                <a:gd name="T13" fmla="*/ 19 h 902"/>
                <a:gd name="T14" fmla="*/ 311 w 960"/>
                <a:gd name="T15" fmla="*/ 25 h 902"/>
                <a:gd name="T16" fmla="*/ 336 w 960"/>
                <a:gd name="T17" fmla="*/ 31 h 902"/>
                <a:gd name="T18" fmla="*/ 360 w 960"/>
                <a:gd name="T19" fmla="*/ 39 h 902"/>
                <a:gd name="T20" fmla="*/ 385 w 960"/>
                <a:gd name="T21" fmla="*/ 46 h 902"/>
                <a:gd name="T22" fmla="*/ 413 w 960"/>
                <a:gd name="T23" fmla="*/ 56 h 902"/>
                <a:gd name="T24" fmla="*/ 427 w 960"/>
                <a:gd name="T25" fmla="*/ 61 h 902"/>
                <a:gd name="T26" fmla="*/ 452 w 960"/>
                <a:gd name="T27" fmla="*/ 72 h 902"/>
                <a:gd name="T28" fmla="*/ 476 w 960"/>
                <a:gd name="T29" fmla="*/ 81 h 902"/>
                <a:gd name="T30" fmla="*/ 498 w 960"/>
                <a:gd name="T31" fmla="*/ 92 h 902"/>
                <a:gd name="T32" fmla="*/ 521 w 960"/>
                <a:gd name="T33" fmla="*/ 104 h 902"/>
                <a:gd name="T34" fmla="*/ 542 w 960"/>
                <a:gd name="T35" fmla="*/ 116 h 902"/>
                <a:gd name="T36" fmla="*/ 564 w 960"/>
                <a:gd name="T37" fmla="*/ 127 h 902"/>
                <a:gd name="T38" fmla="*/ 591 w 960"/>
                <a:gd name="T39" fmla="*/ 146 h 902"/>
                <a:gd name="T40" fmla="*/ 613 w 960"/>
                <a:gd name="T41" fmla="*/ 159 h 902"/>
                <a:gd name="T42" fmla="*/ 632 w 960"/>
                <a:gd name="T43" fmla="*/ 173 h 902"/>
                <a:gd name="T44" fmla="*/ 651 w 960"/>
                <a:gd name="T45" fmla="*/ 188 h 902"/>
                <a:gd name="T46" fmla="*/ 671 w 960"/>
                <a:gd name="T47" fmla="*/ 203 h 902"/>
                <a:gd name="T48" fmla="*/ 689 w 960"/>
                <a:gd name="T49" fmla="*/ 218 h 902"/>
                <a:gd name="T50" fmla="*/ 711 w 960"/>
                <a:gd name="T51" fmla="*/ 239 h 902"/>
                <a:gd name="T52" fmla="*/ 730 w 960"/>
                <a:gd name="T53" fmla="*/ 257 h 902"/>
                <a:gd name="T54" fmla="*/ 747 w 960"/>
                <a:gd name="T55" fmla="*/ 274 h 902"/>
                <a:gd name="T56" fmla="*/ 765 w 960"/>
                <a:gd name="T57" fmla="*/ 291 h 902"/>
                <a:gd name="T58" fmla="*/ 780 w 960"/>
                <a:gd name="T59" fmla="*/ 309 h 902"/>
                <a:gd name="T60" fmla="*/ 796 w 960"/>
                <a:gd name="T61" fmla="*/ 327 h 902"/>
                <a:gd name="T62" fmla="*/ 811 w 960"/>
                <a:gd name="T63" fmla="*/ 345 h 902"/>
                <a:gd name="T64" fmla="*/ 829 w 960"/>
                <a:gd name="T65" fmla="*/ 370 h 902"/>
                <a:gd name="T66" fmla="*/ 844 w 960"/>
                <a:gd name="T67" fmla="*/ 390 h 902"/>
                <a:gd name="T68" fmla="*/ 857 w 960"/>
                <a:gd name="T69" fmla="*/ 411 h 902"/>
                <a:gd name="T70" fmla="*/ 869 w 960"/>
                <a:gd name="T71" fmla="*/ 431 h 902"/>
                <a:gd name="T72" fmla="*/ 881 w 960"/>
                <a:gd name="T73" fmla="*/ 451 h 902"/>
                <a:gd name="T74" fmla="*/ 893 w 960"/>
                <a:gd name="T75" fmla="*/ 472 h 902"/>
                <a:gd name="T76" fmla="*/ 907 w 960"/>
                <a:gd name="T77" fmla="*/ 499 h 902"/>
                <a:gd name="T78" fmla="*/ 917 w 960"/>
                <a:gd name="T79" fmla="*/ 522 h 902"/>
                <a:gd name="T80" fmla="*/ 928 w 960"/>
                <a:gd name="T81" fmla="*/ 544 h 902"/>
                <a:gd name="T82" fmla="*/ 937 w 960"/>
                <a:gd name="T83" fmla="*/ 566 h 902"/>
                <a:gd name="T84" fmla="*/ 945 w 960"/>
                <a:gd name="T85" fmla="*/ 588 h 902"/>
                <a:gd name="T86" fmla="*/ 954 w 960"/>
                <a:gd name="T87" fmla="*/ 610 h 902"/>
                <a:gd name="T88" fmla="*/ 960 w 960"/>
                <a:gd name="T89" fmla="*/ 632 h 902"/>
                <a:gd name="T90" fmla="*/ 0 w 960"/>
                <a:gd name="T91" fmla="*/ 5 h 902"/>
                <a:gd name="T92" fmla="*/ 29 w 960"/>
                <a:gd name="T93" fmla="*/ 2 h 902"/>
                <a:gd name="T94" fmla="*/ 57 w 960"/>
                <a:gd name="T95" fmla="*/ 1 h 902"/>
                <a:gd name="T96" fmla="*/ 81 w 960"/>
                <a:gd name="T97" fmla="*/ 0 h 902"/>
                <a:gd name="T98" fmla="*/ 107 w 960"/>
                <a:gd name="T99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0" h="902">
                  <a:moveTo>
                    <a:pt x="107" y="0"/>
                  </a:moveTo>
                  <a:lnTo>
                    <a:pt x="127" y="0"/>
                  </a:lnTo>
                  <a:lnTo>
                    <a:pt x="132" y="0"/>
                  </a:lnTo>
                  <a:lnTo>
                    <a:pt x="155" y="1"/>
                  </a:lnTo>
                  <a:lnTo>
                    <a:pt x="163" y="2"/>
                  </a:lnTo>
                  <a:lnTo>
                    <a:pt x="180" y="3"/>
                  </a:lnTo>
                  <a:lnTo>
                    <a:pt x="189" y="4"/>
                  </a:lnTo>
                  <a:lnTo>
                    <a:pt x="204" y="5"/>
                  </a:lnTo>
                  <a:lnTo>
                    <a:pt x="215" y="6"/>
                  </a:lnTo>
                  <a:lnTo>
                    <a:pt x="229" y="9"/>
                  </a:lnTo>
                  <a:lnTo>
                    <a:pt x="240" y="11"/>
                  </a:lnTo>
                  <a:lnTo>
                    <a:pt x="255" y="13"/>
                  </a:lnTo>
                  <a:lnTo>
                    <a:pt x="264" y="15"/>
                  </a:lnTo>
                  <a:lnTo>
                    <a:pt x="288" y="19"/>
                  </a:lnTo>
                  <a:lnTo>
                    <a:pt x="296" y="21"/>
                  </a:lnTo>
                  <a:lnTo>
                    <a:pt x="311" y="25"/>
                  </a:lnTo>
                  <a:lnTo>
                    <a:pt x="322" y="28"/>
                  </a:lnTo>
                  <a:lnTo>
                    <a:pt x="336" y="31"/>
                  </a:lnTo>
                  <a:lnTo>
                    <a:pt x="348" y="34"/>
                  </a:lnTo>
                  <a:lnTo>
                    <a:pt x="360" y="39"/>
                  </a:lnTo>
                  <a:lnTo>
                    <a:pt x="371" y="42"/>
                  </a:lnTo>
                  <a:lnTo>
                    <a:pt x="385" y="46"/>
                  </a:lnTo>
                  <a:lnTo>
                    <a:pt x="396" y="49"/>
                  </a:lnTo>
                  <a:lnTo>
                    <a:pt x="413" y="56"/>
                  </a:lnTo>
                  <a:lnTo>
                    <a:pt x="419" y="58"/>
                  </a:lnTo>
                  <a:lnTo>
                    <a:pt x="427" y="61"/>
                  </a:lnTo>
                  <a:lnTo>
                    <a:pt x="442" y="67"/>
                  </a:lnTo>
                  <a:lnTo>
                    <a:pt x="452" y="72"/>
                  </a:lnTo>
                  <a:lnTo>
                    <a:pt x="465" y="77"/>
                  </a:lnTo>
                  <a:lnTo>
                    <a:pt x="476" y="81"/>
                  </a:lnTo>
                  <a:lnTo>
                    <a:pt x="488" y="88"/>
                  </a:lnTo>
                  <a:lnTo>
                    <a:pt x="498" y="92"/>
                  </a:lnTo>
                  <a:lnTo>
                    <a:pt x="510" y="98"/>
                  </a:lnTo>
                  <a:lnTo>
                    <a:pt x="521" y="104"/>
                  </a:lnTo>
                  <a:lnTo>
                    <a:pt x="533" y="110"/>
                  </a:lnTo>
                  <a:lnTo>
                    <a:pt x="542" y="116"/>
                  </a:lnTo>
                  <a:lnTo>
                    <a:pt x="555" y="123"/>
                  </a:lnTo>
                  <a:lnTo>
                    <a:pt x="564" y="127"/>
                  </a:lnTo>
                  <a:lnTo>
                    <a:pt x="583" y="140"/>
                  </a:lnTo>
                  <a:lnTo>
                    <a:pt x="591" y="146"/>
                  </a:lnTo>
                  <a:lnTo>
                    <a:pt x="603" y="153"/>
                  </a:lnTo>
                  <a:lnTo>
                    <a:pt x="613" y="159"/>
                  </a:lnTo>
                  <a:lnTo>
                    <a:pt x="623" y="167"/>
                  </a:lnTo>
                  <a:lnTo>
                    <a:pt x="632" y="173"/>
                  </a:lnTo>
                  <a:lnTo>
                    <a:pt x="644" y="182"/>
                  </a:lnTo>
                  <a:lnTo>
                    <a:pt x="651" y="188"/>
                  </a:lnTo>
                  <a:lnTo>
                    <a:pt x="663" y="197"/>
                  </a:lnTo>
                  <a:lnTo>
                    <a:pt x="671" y="203"/>
                  </a:lnTo>
                  <a:lnTo>
                    <a:pt x="682" y="213"/>
                  </a:lnTo>
                  <a:lnTo>
                    <a:pt x="689" y="218"/>
                  </a:lnTo>
                  <a:lnTo>
                    <a:pt x="707" y="234"/>
                  </a:lnTo>
                  <a:lnTo>
                    <a:pt x="711" y="239"/>
                  </a:lnTo>
                  <a:lnTo>
                    <a:pt x="724" y="250"/>
                  </a:lnTo>
                  <a:lnTo>
                    <a:pt x="730" y="257"/>
                  </a:lnTo>
                  <a:lnTo>
                    <a:pt x="741" y="266"/>
                  </a:lnTo>
                  <a:lnTo>
                    <a:pt x="747" y="274"/>
                  </a:lnTo>
                  <a:lnTo>
                    <a:pt x="757" y="285"/>
                  </a:lnTo>
                  <a:lnTo>
                    <a:pt x="765" y="291"/>
                  </a:lnTo>
                  <a:lnTo>
                    <a:pt x="774" y="302"/>
                  </a:lnTo>
                  <a:lnTo>
                    <a:pt x="780" y="309"/>
                  </a:lnTo>
                  <a:lnTo>
                    <a:pt x="790" y="321"/>
                  </a:lnTo>
                  <a:lnTo>
                    <a:pt x="796" y="327"/>
                  </a:lnTo>
                  <a:lnTo>
                    <a:pt x="811" y="345"/>
                  </a:lnTo>
                  <a:lnTo>
                    <a:pt x="811" y="345"/>
                  </a:lnTo>
                  <a:lnTo>
                    <a:pt x="824" y="365"/>
                  </a:lnTo>
                  <a:lnTo>
                    <a:pt x="829" y="370"/>
                  </a:lnTo>
                  <a:lnTo>
                    <a:pt x="838" y="383"/>
                  </a:lnTo>
                  <a:lnTo>
                    <a:pt x="844" y="390"/>
                  </a:lnTo>
                  <a:lnTo>
                    <a:pt x="851" y="403"/>
                  </a:lnTo>
                  <a:lnTo>
                    <a:pt x="857" y="411"/>
                  </a:lnTo>
                  <a:lnTo>
                    <a:pt x="864" y="424"/>
                  </a:lnTo>
                  <a:lnTo>
                    <a:pt x="869" y="431"/>
                  </a:lnTo>
                  <a:lnTo>
                    <a:pt x="877" y="444"/>
                  </a:lnTo>
                  <a:lnTo>
                    <a:pt x="881" y="451"/>
                  </a:lnTo>
                  <a:lnTo>
                    <a:pt x="891" y="467"/>
                  </a:lnTo>
                  <a:lnTo>
                    <a:pt x="893" y="472"/>
                  </a:lnTo>
                  <a:lnTo>
                    <a:pt x="904" y="492"/>
                  </a:lnTo>
                  <a:lnTo>
                    <a:pt x="907" y="499"/>
                  </a:lnTo>
                  <a:lnTo>
                    <a:pt x="914" y="513"/>
                  </a:lnTo>
                  <a:lnTo>
                    <a:pt x="917" y="522"/>
                  </a:lnTo>
                  <a:lnTo>
                    <a:pt x="924" y="535"/>
                  </a:lnTo>
                  <a:lnTo>
                    <a:pt x="928" y="544"/>
                  </a:lnTo>
                  <a:lnTo>
                    <a:pt x="934" y="556"/>
                  </a:lnTo>
                  <a:lnTo>
                    <a:pt x="937" y="566"/>
                  </a:lnTo>
                  <a:lnTo>
                    <a:pt x="942" y="579"/>
                  </a:lnTo>
                  <a:lnTo>
                    <a:pt x="945" y="588"/>
                  </a:lnTo>
                  <a:lnTo>
                    <a:pt x="951" y="601"/>
                  </a:lnTo>
                  <a:lnTo>
                    <a:pt x="954" y="610"/>
                  </a:lnTo>
                  <a:lnTo>
                    <a:pt x="960" y="632"/>
                  </a:lnTo>
                  <a:lnTo>
                    <a:pt x="960" y="632"/>
                  </a:lnTo>
                  <a:lnTo>
                    <a:pt x="101" y="902"/>
                  </a:lnTo>
                  <a:lnTo>
                    <a:pt x="0" y="5"/>
                  </a:lnTo>
                  <a:lnTo>
                    <a:pt x="25" y="3"/>
                  </a:lnTo>
                  <a:lnTo>
                    <a:pt x="29" y="2"/>
                  </a:lnTo>
                  <a:lnTo>
                    <a:pt x="49" y="1"/>
                  </a:lnTo>
                  <a:lnTo>
                    <a:pt x="57" y="1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100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13">
              <a:extLst>
                <a:ext uri="{FF2B5EF4-FFF2-40B4-BE49-F238E27FC236}">
                  <a16:creationId xmlns:a16="http://schemas.microsoft.com/office/drawing/2014/main" id="{870C1F68-1327-4137-86CC-6FB24DC99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7937" y="3898900"/>
              <a:ext cx="11113" cy="30162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7 w 7"/>
                <a:gd name="T5" fmla="*/ 19 h 19"/>
                <a:gd name="T6" fmla="*/ 0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14">
              <a:extLst>
                <a:ext uri="{FF2B5EF4-FFF2-40B4-BE49-F238E27FC236}">
                  <a16:creationId xmlns:a16="http://schemas.microsoft.com/office/drawing/2014/main" id="{07569E8F-81BC-4C75-953A-BB4AB49B6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3898900"/>
              <a:ext cx="1430338" cy="933450"/>
            </a:xfrm>
            <a:custGeom>
              <a:avLst/>
              <a:gdLst>
                <a:gd name="T0" fmla="*/ 859 w 901"/>
                <a:gd name="T1" fmla="*/ 0 h 588"/>
                <a:gd name="T2" fmla="*/ 866 w 901"/>
                <a:gd name="T3" fmla="*/ 19 h 588"/>
                <a:gd name="T4" fmla="*/ 866 w 901"/>
                <a:gd name="T5" fmla="*/ 21 h 588"/>
                <a:gd name="T6" fmla="*/ 871 w 901"/>
                <a:gd name="T7" fmla="*/ 40 h 588"/>
                <a:gd name="T8" fmla="*/ 872 w 901"/>
                <a:gd name="T9" fmla="*/ 44 h 588"/>
                <a:gd name="T10" fmla="*/ 876 w 901"/>
                <a:gd name="T11" fmla="*/ 60 h 588"/>
                <a:gd name="T12" fmla="*/ 877 w 901"/>
                <a:gd name="T13" fmla="*/ 64 h 588"/>
                <a:gd name="T14" fmla="*/ 881 w 901"/>
                <a:gd name="T15" fmla="*/ 80 h 588"/>
                <a:gd name="T16" fmla="*/ 882 w 901"/>
                <a:gd name="T17" fmla="*/ 85 h 588"/>
                <a:gd name="T18" fmla="*/ 885 w 901"/>
                <a:gd name="T19" fmla="*/ 103 h 588"/>
                <a:gd name="T20" fmla="*/ 886 w 901"/>
                <a:gd name="T21" fmla="*/ 105 h 588"/>
                <a:gd name="T22" fmla="*/ 892 w 901"/>
                <a:gd name="T23" fmla="*/ 147 h 588"/>
                <a:gd name="T24" fmla="*/ 893 w 901"/>
                <a:gd name="T25" fmla="*/ 151 h 588"/>
                <a:gd name="T26" fmla="*/ 895 w 901"/>
                <a:gd name="T27" fmla="*/ 167 h 588"/>
                <a:gd name="T28" fmla="*/ 896 w 901"/>
                <a:gd name="T29" fmla="*/ 172 h 588"/>
                <a:gd name="T30" fmla="*/ 897 w 901"/>
                <a:gd name="T31" fmla="*/ 187 h 588"/>
                <a:gd name="T32" fmla="*/ 898 w 901"/>
                <a:gd name="T33" fmla="*/ 194 h 588"/>
                <a:gd name="T34" fmla="*/ 899 w 901"/>
                <a:gd name="T35" fmla="*/ 210 h 588"/>
                <a:gd name="T36" fmla="*/ 899 w 901"/>
                <a:gd name="T37" fmla="*/ 214 h 588"/>
                <a:gd name="T38" fmla="*/ 901 w 901"/>
                <a:gd name="T39" fmla="*/ 256 h 588"/>
                <a:gd name="T40" fmla="*/ 901 w 901"/>
                <a:gd name="T41" fmla="*/ 261 h 588"/>
                <a:gd name="T42" fmla="*/ 901 w 901"/>
                <a:gd name="T43" fmla="*/ 276 h 588"/>
                <a:gd name="T44" fmla="*/ 901 w 901"/>
                <a:gd name="T45" fmla="*/ 282 h 588"/>
                <a:gd name="T46" fmla="*/ 901 w 901"/>
                <a:gd name="T47" fmla="*/ 297 h 588"/>
                <a:gd name="T48" fmla="*/ 900 w 901"/>
                <a:gd name="T49" fmla="*/ 304 h 588"/>
                <a:gd name="T50" fmla="*/ 900 w 901"/>
                <a:gd name="T51" fmla="*/ 318 h 588"/>
                <a:gd name="T52" fmla="*/ 899 w 901"/>
                <a:gd name="T53" fmla="*/ 325 h 588"/>
                <a:gd name="T54" fmla="*/ 898 w 901"/>
                <a:gd name="T55" fmla="*/ 342 h 588"/>
                <a:gd name="T56" fmla="*/ 898 w 901"/>
                <a:gd name="T57" fmla="*/ 345 h 588"/>
                <a:gd name="T58" fmla="*/ 896 w 901"/>
                <a:gd name="T59" fmla="*/ 366 h 588"/>
                <a:gd name="T60" fmla="*/ 895 w 901"/>
                <a:gd name="T61" fmla="*/ 372 h 588"/>
                <a:gd name="T62" fmla="*/ 893 w 901"/>
                <a:gd name="T63" fmla="*/ 387 h 588"/>
                <a:gd name="T64" fmla="*/ 892 w 901"/>
                <a:gd name="T65" fmla="*/ 395 h 588"/>
                <a:gd name="T66" fmla="*/ 890 w 901"/>
                <a:gd name="T67" fmla="*/ 407 h 588"/>
                <a:gd name="T68" fmla="*/ 889 w 901"/>
                <a:gd name="T69" fmla="*/ 416 h 588"/>
                <a:gd name="T70" fmla="*/ 887 w 901"/>
                <a:gd name="T71" fmla="*/ 428 h 588"/>
                <a:gd name="T72" fmla="*/ 885 w 901"/>
                <a:gd name="T73" fmla="*/ 436 h 588"/>
                <a:gd name="T74" fmla="*/ 883 w 901"/>
                <a:gd name="T75" fmla="*/ 450 h 588"/>
                <a:gd name="T76" fmla="*/ 881 w 901"/>
                <a:gd name="T77" fmla="*/ 457 h 588"/>
                <a:gd name="T78" fmla="*/ 876 w 901"/>
                <a:gd name="T79" fmla="*/ 477 h 588"/>
                <a:gd name="T80" fmla="*/ 875 w 901"/>
                <a:gd name="T81" fmla="*/ 483 h 588"/>
                <a:gd name="T82" fmla="*/ 871 w 901"/>
                <a:gd name="T83" fmla="*/ 497 h 588"/>
                <a:gd name="T84" fmla="*/ 869 w 901"/>
                <a:gd name="T85" fmla="*/ 506 h 588"/>
                <a:gd name="T86" fmla="*/ 866 w 901"/>
                <a:gd name="T87" fmla="*/ 518 h 588"/>
                <a:gd name="T88" fmla="*/ 864 w 901"/>
                <a:gd name="T89" fmla="*/ 527 h 588"/>
                <a:gd name="T90" fmla="*/ 859 w 901"/>
                <a:gd name="T91" fmla="*/ 539 h 588"/>
                <a:gd name="T92" fmla="*/ 857 w 901"/>
                <a:gd name="T93" fmla="*/ 548 h 588"/>
                <a:gd name="T94" fmla="*/ 853 w 901"/>
                <a:gd name="T95" fmla="*/ 559 h 588"/>
                <a:gd name="T96" fmla="*/ 850 w 901"/>
                <a:gd name="T97" fmla="*/ 568 h 588"/>
                <a:gd name="T98" fmla="*/ 844 w 901"/>
                <a:gd name="T99" fmla="*/ 584 h 588"/>
                <a:gd name="T100" fmla="*/ 842 w 901"/>
                <a:gd name="T101" fmla="*/ 588 h 588"/>
                <a:gd name="T102" fmla="*/ 0 w 901"/>
                <a:gd name="T103" fmla="*/ 270 h 588"/>
                <a:gd name="T104" fmla="*/ 859 w 901"/>
                <a:gd name="T105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1" h="588">
                  <a:moveTo>
                    <a:pt x="859" y="0"/>
                  </a:moveTo>
                  <a:lnTo>
                    <a:pt x="866" y="19"/>
                  </a:lnTo>
                  <a:lnTo>
                    <a:pt x="866" y="21"/>
                  </a:lnTo>
                  <a:lnTo>
                    <a:pt x="871" y="40"/>
                  </a:lnTo>
                  <a:lnTo>
                    <a:pt x="872" y="44"/>
                  </a:lnTo>
                  <a:lnTo>
                    <a:pt x="876" y="60"/>
                  </a:lnTo>
                  <a:lnTo>
                    <a:pt x="877" y="64"/>
                  </a:lnTo>
                  <a:lnTo>
                    <a:pt x="881" y="80"/>
                  </a:lnTo>
                  <a:lnTo>
                    <a:pt x="882" y="85"/>
                  </a:lnTo>
                  <a:lnTo>
                    <a:pt x="885" y="103"/>
                  </a:lnTo>
                  <a:lnTo>
                    <a:pt x="886" y="105"/>
                  </a:lnTo>
                  <a:lnTo>
                    <a:pt x="892" y="147"/>
                  </a:lnTo>
                  <a:lnTo>
                    <a:pt x="893" y="151"/>
                  </a:lnTo>
                  <a:lnTo>
                    <a:pt x="895" y="167"/>
                  </a:lnTo>
                  <a:lnTo>
                    <a:pt x="896" y="172"/>
                  </a:lnTo>
                  <a:lnTo>
                    <a:pt x="897" y="187"/>
                  </a:lnTo>
                  <a:lnTo>
                    <a:pt x="898" y="194"/>
                  </a:lnTo>
                  <a:lnTo>
                    <a:pt x="899" y="210"/>
                  </a:lnTo>
                  <a:lnTo>
                    <a:pt x="899" y="214"/>
                  </a:lnTo>
                  <a:lnTo>
                    <a:pt x="901" y="256"/>
                  </a:lnTo>
                  <a:lnTo>
                    <a:pt x="901" y="261"/>
                  </a:lnTo>
                  <a:lnTo>
                    <a:pt x="901" y="276"/>
                  </a:lnTo>
                  <a:lnTo>
                    <a:pt x="901" y="282"/>
                  </a:lnTo>
                  <a:lnTo>
                    <a:pt x="901" y="297"/>
                  </a:lnTo>
                  <a:lnTo>
                    <a:pt x="900" y="304"/>
                  </a:lnTo>
                  <a:lnTo>
                    <a:pt x="900" y="318"/>
                  </a:lnTo>
                  <a:lnTo>
                    <a:pt x="899" y="325"/>
                  </a:lnTo>
                  <a:lnTo>
                    <a:pt x="898" y="342"/>
                  </a:lnTo>
                  <a:lnTo>
                    <a:pt x="898" y="345"/>
                  </a:lnTo>
                  <a:lnTo>
                    <a:pt x="896" y="366"/>
                  </a:lnTo>
                  <a:lnTo>
                    <a:pt x="895" y="372"/>
                  </a:lnTo>
                  <a:lnTo>
                    <a:pt x="893" y="387"/>
                  </a:lnTo>
                  <a:lnTo>
                    <a:pt x="892" y="395"/>
                  </a:lnTo>
                  <a:lnTo>
                    <a:pt x="890" y="407"/>
                  </a:lnTo>
                  <a:lnTo>
                    <a:pt x="889" y="416"/>
                  </a:lnTo>
                  <a:lnTo>
                    <a:pt x="887" y="428"/>
                  </a:lnTo>
                  <a:lnTo>
                    <a:pt x="885" y="436"/>
                  </a:lnTo>
                  <a:lnTo>
                    <a:pt x="883" y="450"/>
                  </a:lnTo>
                  <a:lnTo>
                    <a:pt x="881" y="457"/>
                  </a:lnTo>
                  <a:lnTo>
                    <a:pt x="876" y="477"/>
                  </a:lnTo>
                  <a:lnTo>
                    <a:pt x="875" y="483"/>
                  </a:lnTo>
                  <a:lnTo>
                    <a:pt x="871" y="497"/>
                  </a:lnTo>
                  <a:lnTo>
                    <a:pt x="869" y="506"/>
                  </a:lnTo>
                  <a:lnTo>
                    <a:pt x="866" y="518"/>
                  </a:lnTo>
                  <a:lnTo>
                    <a:pt x="864" y="527"/>
                  </a:lnTo>
                  <a:lnTo>
                    <a:pt x="859" y="539"/>
                  </a:lnTo>
                  <a:lnTo>
                    <a:pt x="857" y="548"/>
                  </a:lnTo>
                  <a:lnTo>
                    <a:pt x="853" y="559"/>
                  </a:lnTo>
                  <a:lnTo>
                    <a:pt x="850" y="568"/>
                  </a:lnTo>
                  <a:lnTo>
                    <a:pt x="844" y="584"/>
                  </a:lnTo>
                  <a:lnTo>
                    <a:pt x="842" y="588"/>
                  </a:lnTo>
                  <a:lnTo>
                    <a:pt x="0" y="27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000000">
                <a:alpha val="41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15">
              <a:extLst>
                <a:ext uri="{FF2B5EF4-FFF2-40B4-BE49-F238E27FC236}">
                  <a16:creationId xmlns:a16="http://schemas.microsoft.com/office/drawing/2014/main" id="{7F640DA0-D006-4DD2-999D-12E8A0776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74274" y="4327525"/>
              <a:ext cx="1336675" cy="1308100"/>
            </a:xfrm>
            <a:custGeom>
              <a:avLst/>
              <a:gdLst>
                <a:gd name="T0" fmla="*/ 0 w 842"/>
                <a:gd name="T1" fmla="*/ 0 h 824"/>
                <a:gd name="T2" fmla="*/ 842 w 842"/>
                <a:gd name="T3" fmla="*/ 318 h 824"/>
                <a:gd name="T4" fmla="*/ 834 w 842"/>
                <a:gd name="T5" fmla="*/ 340 h 824"/>
                <a:gd name="T6" fmla="*/ 830 w 842"/>
                <a:gd name="T7" fmla="*/ 348 h 824"/>
                <a:gd name="T8" fmla="*/ 825 w 842"/>
                <a:gd name="T9" fmla="*/ 361 h 824"/>
                <a:gd name="T10" fmla="*/ 821 w 842"/>
                <a:gd name="T11" fmla="*/ 371 h 824"/>
                <a:gd name="T12" fmla="*/ 815 w 842"/>
                <a:gd name="T13" fmla="*/ 382 h 824"/>
                <a:gd name="T14" fmla="*/ 810 w 842"/>
                <a:gd name="T15" fmla="*/ 392 h 824"/>
                <a:gd name="T16" fmla="*/ 806 w 842"/>
                <a:gd name="T17" fmla="*/ 403 h 824"/>
                <a:gd name="T18" fmla="*/ 800 w 842"/>
                <a:gd name="T19" fmla="*/ 412 h 824"/>
                <a:gd name="T20" fmla="*/ 795 w 842"/>
                <a:gd name="T21" fmla="*/ 423 h 824"/>
                <a:gd name="T22" fmla="*/ 790 w 842"/>
                <a:gd name="T23" fmla="*/ 433 h 824"/>
                <a:gd name="T24" fmla="*/ 783 w 842"/>
                <a:gd name="T25" fmla="*/ 443 h 824"/>
                <a:gd name="T26" fmla="*/ 779 w 842"/>
                <a:gd name="T27" fmla="*/ 452 h 824"/>
                <a:gd name="T28" fmla="*/ 773 w 842"/>
                <a:gd name="T29" fmla="*/ 463 h 824"/>
                <a:gd name="T30" fmla="*/ 767 w 842"/>
                <a:gd name="T31" fmla="*/ 471 h 824"/>
                <a:gd name="T32" fmla="*/ 761 w 842"/>
                <a:gd name="T33" fmla="*/ 482 h 824"/>
                <a:gd name="T34" fmla="*/ 756 w 842"/>
                <a:gd name="T35" fmla="*/ 489 h 824"/>
                <a:gd name="T36" fmla="*/ 748 w 842"/>
                <a:gd name="T37" fmla="*/ 501 h 824"/>
                <a:gd name="T38" fmla="*/ 744 w 842"/>
                <a:gd name="T39" fmla="*/ 509 h 824"/>
                <a:gd name="T40" fmla="*/ 735 w 842"/>
                <a:gd name="T41" fmla="*/ 519 h 824"/>
                <a:gd name="T42" fmla="*/ 731 w 842"/>
                <a:gd name="T43" fmla="*/ 526 h 824"/>
                <a:gd name="T44" fmla="*/ 722 w 842"/>
                <a:gd name="T45" fmla="*/ 537 h 824"/>
                <a:gd name="T46" fmla="*/ 718 w 842"/>
                <a:gd name="T47" fmla="*/ 544 h 824"/>
                <a:gd name="T48" fmla="*/ 708 w 842"/>
                <a:gd name="T49" fmla="*/ 556 h 824"/>
                <a:gd name="T50" fmla="*/ 704 w 842"/>
                <a:gd name="T51" fmla="*/ 561 h 824"/>
                <a:gd name="T52" fmla="*/ 695 w 842"/>
                <a:gd name="T53" fmla="*/ 573 h 824"/>
                <a:gd name="T54" fmla="*/ 690 w 842"/>
                <a:gd name="T55" fmla="*/ 578 h 824"/>
                <a:gd name="T56" fmla="*/ 681 w 842"/>
                <a:gd name="T57" fmla="*/ 590 h 824"/>
                <a:gd name="T58" fmla="*/ 676 w 842"/>
                <a:gd name="T59" fmla="*/ 594 h 824"/>
                <a:gd name="T60" fmla="*/ 666 w 842"/>
                <a:gd name="T61" fmla="*/ 607 h 824"/>
                <a:gd name="T62" fmla="*/ 661 w 842"/>
                <a:gd name="T63" fmla="*/ 610 h 824"/>
                <a:gd name="T64" fmla="*/ 650 w 842"/>
                <a:gd name="T65" fmla="*/ 623 h 824"/>
                <a:gd name="T66" fmla="*/ 646 w 842"/>
                <a:gd name="T67" fmla="*/ 626 h 824"/>
                <a:gd name="T68" fmla="*/ 635 w 842"/>
                <a:gd name="T69" fmla="*/ 639 h 824"/>
                <a:gd name="T70" fmla="*/ 632 w 842"/>
                <a:gd name="T71" fmla="*/ 642 h 824"/>
                <a:gd name="T72" fmla="*/ 619 w 842"/>
                <a:gd name="T73" fmla="*/ 654 h 824"/>
                <a:gd name="T74" fmla="*/ 617 w 842"/>
                <a:gd name="T75" fmla="*/ 657 h 824"/>
                <a:gd name="T76" fmla="*/ 603 w 842"/>
                <a:gd name="T77" fmla="*/ 669 h 824"/>
                <a:gd name="T78" fmla="*/ 601 w 842"/>
                <a:gd name="T79" fmla="*/ 671 h 824"/>
                <a:gd name="T80" fmla="*/ 586 w 842"/>
                <a:gd name="T81" fmla="*/ 684 h 824"/>
                <a:gd name="T82" fmla="*/ 583 w 842"/>
                <a:gd name="T83" fmla="*/ 686 h 824"/>
                <a:gd name="T84" fmla="*/ 568 w 842"/>
                <a:gd name="T85" fmla="*/ 698 h 824"/>
                <a:gd name="T86" fmla="*/ 567 w 842"/>
                <a:gd name="T87" fmla="*/ 699 h 824"/>
                <a:gd name="T88" fmla="*/ 551 w 842"/>
                <a:gd name="T89" fmla="*/ 712 h 824"/>
                <a:gd name="T90" fmla="*/ 550 w 842"/>
                <a:gd name="T91" fmla="*/ 713 h 824"/>
                <a:gd name="T92" fmla="*/ 534 w 842"/>
                <a:gd name="T93" fmla="*/ 725 h 824"/>
                <a:gd name="T94" fmla="*/ 533 w 842"/>
                <a:gd name="T95" fmla="*/ 726 h 824"/>
                <a:gd name="T96" fmla="*/ 516 w 842"/>
                <a:gd name="T97" fmla="*/ 737 h 824"/>
                <a:gd name="T98" fmla="*/ 515 w 842"/>
                <a:gd name="T99" fmla="*/ 738 h 824"/>
                <a:gd name="T100" fmla="*/ 498 w 842"/>
                <a:gd name="T101" fmla="*/ 750 h 824"/>
                <a:gd name="T102" fmla="*/ 497 w 842"/>
                <a:gd name="T103" fmla="*/ 750 h 824"/>
                <a:gd name="T104" fmla="*/ 480 w 842"/>
                <a:gd name="T105" fmla="*/ 762 h 824"/>
                <a:gd name="T106" fmla="*/ 479 w 842"/>
                <a:gd name="T107" fmla="*/ 762 h 824"/>
                <a:gd name="T108" fmla="*/ 460 w 842"/>
                <a:gd name="T109" fmla="*/ 774 h 824"/>
                <a:gd name="T110" fmla="*/ 460 w 842"/>
                <a:gd name="T111" fmla="*/ 774 h 824"/>
                <a:gd name="T112" fmla="*/ 413 w 842"/>
                <a:gd name="T113" fmla="*/ 800 h 824"/>
                <a:gd name="T114" fmla="*/ 363 w 842"/>
                <a:gd name="T115" fmla="*/ 824 h 824"/>
                <a:gd name="T116" fmla="*/ 0 w 842"/>
                <a:gd name="T117" fmla="*/ 0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2" h="824">
                  <a:moveTo>
                    <a:pt x="0" y="0"/>
                  </a:moveTo>
                  <a:lnTo>
                    <a:pt x="842" y="318"/>
                  </a:lnTo>
                  <a:lnTo>
                    <a:pt x="834" y="340"/>
                  </a:lnTo>
                  <a:lnTo>
                    <a:pt x="830" y="348"/>
                  </a:lnTo>
                  <a:lnTo>
                    <a:pt x="825" y="361"/>
                  </a:lnTo>
                  <a:lnTo>
                    <a:pt x="821" y="371"/>
                  </a:lnTo>
                  <a:lnTo>
                    <a:pt x="815" y="382"/>
                  </a:lnTo>
                  <a:lnTo>
                    <a:pt x="810" y="392"/>
                  </a:lnTo>
                  <a:lnTo>
                    <a:pt x="806" y="403"/>
                  </a:lnTo>
                  <a:lnTo>
                    <a:pt x="800" y="412"/>
                  </a:lnTo>
                  <a:lnTo>
                    <a:pt x="795" y="423"/>
                  </a:lnTo>
                  <a:lnTo>
                    <a:pt x="790" y="433"/>
                  </a:lnTo>
                  <a:lnTo>
                    <a:pt x="783" y="443"/>
                  </a:lnTo>
                  <a:lnTo>
                    <a:pt x="779" y="452"/>
                  </a:lnTo>
                  <a:lnTo>
                    <a:pt x="773" y="463"/>
                  </a:lnTo>
                  <a:lnTo>
                    <a:pt x="767" y="471"/>
                  </a:lnTo>
                  <a:lnTo>
                    <a:pt x="761" y="482"/>
                  </a:lnTo>
                  <a:lnTo>
                    <a:pt x="756" y="489"/>
                  </a:lnTo>
                  <a:lnTo>
                    <a:pt x="748" y="501"/>
                  </a:lnTo>
                  <a:lnTo>
                    <a:pt x="744" y="509"/>
                  </a:lnTo>
                  <a:lnTo>
                    <a:pt x="735" y="519"/>
                  </a:lnTo>
                  <a:lnTo>
                    <a:pt x="731" y="526"/>
                  </a:lnTo>
                  <a:lnTo>
                    <a:pt x="722" y="537"/>
                  </a:lnTo>
                  <a:lnTo>
                    <a:pt x="718" y="544"/>
                  </a:lnTo>
                  <a:lnTo>
                    <a:pt x="708" y="556"/>
                  </a:lnTo>
                  <a:lnTo>
                    <a:pt x="704" y="561"/>
                  </a:lnTo>
                  <a:lnTo>
                    <a:pt x="695" y="573"/>
                  </a:lnTo>
                  <a:lnTo>
                    <a:pt x="690" y="578"/>
                  </a:lnTo>
                  <a:lnTo>
                    <a:pt x="681" y="590"/>
                  </a:lnTo>
                  <a:lnTo>
                    <a:pt x="676" y="594"/>
                  </a:lnTo>
                  <a:lnTo>
                    <a:pt x="666" y="607"/>
                  </a:lnTo>
                  <a:lnTo>
                    <a:pt x="661" y="610"/>
                  </a:lnTo>
                  <a:lnTo>
                    <a:pt x="650" y="623"/>
                  </a:lnTo>
                  <a:lnTo>
                    <a:pt x="646" y="626"/>
                  </a:lnTo>
                  <a:lnTo>
                    <a:pt x="635" y="639"/>
                  </a:lnTo>
                  <a:lnTo>
                    <a:pt x="632" y="642"/>
                  </a:lnTo>
                  <a:lnTo>
                    <a:pt x="619" y="654"/>
                  </a:lnTo>
                  <a:lnTo>
                    <a:pt x="617" y="657"/>
                  </a:lnTo>
                  <a:lnTo>
                    <a:pt x="603" y="669"/>
                  </a:lnTo>
                  <a:lnTo>
                    <a:pt x="601" y="671"/>
                  </a:lnTo>
                  <a:lnTo>
                    <a:pt x="586" y="684"/>
                  </a:lnTo>
                  <a:lnTo>
                    <a:pt x="583" y="686"/>
                  </a:lnTo>
                  <a:lnTo>
                    <a:pt x="568" y="698"/>
                  </a:lnTo>
                  <a:lnTo>
                    <a:pt x="567" y="699"/>
                  </a:lnTo>
                  <a:lnTo>
                    <a:pt x="551" y="712"/>
                  </a:lnTo>
                  <a:lnTo>
                    <a:pt x="550" y="713"/>
                  </a:lnTo>
                  <a:lnTo>
                    <a:pt x="534" y="725"/>
                  </a:lnTo>
                  <a:lnTo>
                    <a:pt x="533" y="726"/>
                  </a:lnTo>
                  <a:lnTo>
                    <a:pt x="516" y="737"/>
                  </a:lnTo>
                  <a:lnTo>
                    <a:pt x="515" y="738"/>
                  </a:lnTo>
                  <a:lnTo>
                    <a:pt x="498" y="750"/>
                  </a:lnTo>
                  <a:lnTo>
                    <a:pt x="497" y="750"/>
                  </a:lnTo>
                  <a:lnTo>
                    <a:pt x="480" y="762"/>
                  </a:lnTo>
                  <a:lnTo>
                    <a:pt x="479" y="762"/>
                  </a:lnTo>
                  <a:lnTo>
                    <a:pt x="460" y="774"/>
                  </a:lnTo>
                  <a:lnTo>
                    <a:pt x="460" y="774"/>
                  </a:lnTo>
                  <a:lnTo>
                    <a:pt x="413" y="800"/>
                  </a:lnTo>
                  <a:lnTo>
                    <a:pt x="363" y="8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32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1DA273BD-2BE6-4887-A0ED-7D18262607C7}"/>
                </a:ext>
              </a:extLst>
            </p:cNvPr>
            <p:cNvGrpSpPr/>
            <p:nvPr/>
          </p:nvGrpSpPr>
          <p:grpSpPr>
            <a:xfrm>
              <a:off x="5441949" y="1524000"/>
              <a:ext cx="3182938" cy="2933700"/>
              <a:chOff x="4951412" y="1143000"/>
              <a:chExt cx="3182938" cy="2933700"/>
            </a:xfrm>
            <a:solidFill>
              <a:srgbClr val="000000">
                <a:alpha val="17000"/>
              </a:srgbClr>
            </a:solidFill>
          </p:grpSpPr>
          <p:sp>
            <p:nvSpPr>
              <p:cNvPr id="256" name="Rectangle 16">
                <a:extLst>
                  <a:ext uri="{FF2B5EF4-FFF2-40B4-BE49-F238E27FC236}">
                    <a16:creationId xmlns:a16="http://schemas.microsoft.com/office/drawing/2014/main" id="{FF99C17F-E0FB-4674-9626-8010606B3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1412" y="3568700"/>
                <a:ext cx="3182938" cy="5080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Rectangle 17">
                <a:extLst>
                  <a:ext uri="{FF2B5EF4-FFF2-40B4-BE49-F238E27FC236}">
                    <a16:creationId xmlns:a16="http://schemas.microsoft.com/office/drawing/2014/main" id="{B7824C99-DB49-4C66-931F-5083FECBC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1412" y="1143000"/>
                <a:ext cx="565150" cy="232886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Rectangle 18">
                <a:extLst>
                  <a:ext uri="{FF2B5EF4-FFF2-40B4-BE49-F238E27FC236}">
                    <a16:creationId xmlns:a16="http://schemas.microsoft.com/office/drawing/2014/main" id="{67A21C68-D363-4FDA-BED7-90DBC2AC7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5462" y="2020888"/>
                <a:ext cx="566738" cy="145097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Rectangle 19">
                <a:extLst>
                  <a:ext uri="{FF2B5EF4-FFF2-40B4-BE49-F238E27FC236}">
                    <a16:creationId xmlns:a16="http://schemas.microsoft.com/office/drawing/2014/main" id="{0078246E-B20D-496A-9D77-B65ECF2CAD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9512" y="2513013"/>
                <a:ext cx="565150" cy="9588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Rectangle 20">
                <a:extLst>
                  <a:ext uri="{FF2B5EF4-FFF2-40B4-BE49-F238E27FC236}">
                    <a16:creationId xmlns:a16="http://schemas.microsoft.com/office/drawing/2014/main" id="{78AA2952-2EDD-4BC1-A1D2-944E228C0E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3562" y="2063750"/>
                <a:ext cx="566738" cy="140811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Rectangle 21">
                <a:extLst>
                  <a:ext uri="{FF2B5EF4-FFF2-40B4-BE49-F238E27FC236}">
                    <a16:creationId xmlns:a16="http://schemas.microsoft.com/office/drawing/2014/main" id="{8FCBFD1D-D34F-4DD9-AC3A-A33ACDAA46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9200" y="2463800"/>
                <a:ext cx="565150" cy="100806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606C2C09-A76D-4505-BC56-DE7A3164DAE9}"/>
                </a:ext>
              </a:extLst>
            </p:cNvPr>
            <p:cNvGrpSpPr/>
            <p:nvPr/>
          </p:nvGrpSpPr>
          <p:grpSpPr>
            <a:xfrm>
              <a:off x="7423149" y="2133600"/>
              <a:ext cx="2117725" cy="3279774"/>
              <a:chOff x="6613525" y="1998663"/>
              <a:chExt cx="2117725" cy="3279774"/>
            </a:xfrm>
          </p:grpSpPr>
          <p:sp>
            <p:nvSpPr>
              <p:cNvPr id="214" name="Rectangle 22">
                <a:extLst>
                  <a:ext uri="{FF2B5EF4-FFF2-40B4-BE49-F238E27FC236}">
                    <a16:creationId xmlns:a16="http://schemas.microsoft.com/office/drawing/2014/main" id="{227079BC-C7BA-4AFF-A1CD-EB7046615C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13525" y="1998663"/>
                <a:ext cx="2117725" cy="1939925"/>
              </a:xfrm>
              <a:prstGeom prst="rect">
                <a:avLst/>
              </a:prstGeom>
              <a:solidFill>
                <a:srgbClr val="A7CCDF">
                  <a:lumMod val="75000"/>
                </a:srgb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8BFC3791-672E-4ED5-9FD1-01955570DA00}"/>
                  </a:ext>
                </a:extLst>
              </p:cNvPr>
              <p:cNvGrpSpPr/>
              <p:nvPr/>
            </p:nvGrpSpPr>
            <p:grpSpPr>
              <a:xfrm>
                <a:off x="6807200" y="2208213"/>
                <a:ext cx="1728788" cy="414337"/>
                <a:chOff x="6807200" y="2208213"/>
                <a:chExt cx="1728788" cy="414337"/>
              </a:xfrm>
            </p:grpSpPr>
            <p:sp>
              <p:nvSpPr>
                <p:cNvPr id="251" name="Rectangle 23">
                  <a:extLst>
                    <a:ext uri="{FF2B5EF4-FFF2-40B4-BE49-F238E27FC236}">
                      <a16:creationId xmlns:a16="http://schemas.microsoft.com/office/drawing/2014/main" id="{C1730E0E-D6A4-443A-AA73-2EADCC6030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8037" y="2208213"/>
                  <a:ext cx="1028700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2" name="Rectangle 24">
                  <a:extLst>
                    <a:ext uri="{FF2B5EF4-FFF2-40B4-BE49-F238E27FC236}">
                      <a16:creationId xmlns:a16="http://schemas.microsoft.com/office/drawing/2014/main" id="{95608A21-073A-4BE6-95F7-FCDA0E63C9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324100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3" name="Rectangle 25">
                  <a:extLst>
                    <a:ext uri="{FF2B5EF4-FFF2-40B4-BE49-F238E27FC236}">
                      <a16:creationId xmlns:a16="http://schemas.microsoft.com/office/drawing/2014/main" id="{CD3A49F6-84DB-4FBC-9C0C-8E6EC663DC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408238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4" name="Rectangle 26">
                  <a:extLst>
                    <a:ext uri="{FF2B5EF4-FFF2-40B4-BE49-F238E27FC236}">
                      <a16:creationId xmlns:a16="http://schemas.microsoft.com/office/drawing/2014/main" id="{38A515BE-EF5E-48CF-B316-8A8DA5F6C1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490788"/>
                  <a:ext cx="1728788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5" name="Rectangle 27">
                  <a:extLst>
                    <a:ext uri="{FF2B5EF4-FFF2-40B4-BE49-F238E27FC236}">
                      <a16:creationId xmlns:a16="http://schemas.microsoft.com/office/drawing/2014/main" id="{C3A250EF-F5CF-4D3D-967E-888596E638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200" y="2574925"/>
                  <a:ext cx="811213" cy="47625"/>
                </a:xfrm>
                <a:prstGeom prst="rect">
                  <a:avLst/>
                </a:prstGeom>
                <a:solidFill>
                  <a:srgbClr val="0779B7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216" name="Freeform 28">
                <a:extLst>
                  <a:ext uri="{FF2B5EF4-FFF2-40B4-BE49-F238E27FC236}">
                    <a16:creationId xmlns:a16="http://schemas.microsoft.com/office/drawing/2014/main" id="{3CE52A00-15A7-43D2-9BA8-C58E781C5E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3525" y="2686050"/>
                <a:ext cx="2117725" cy="2592387"/>
              </a:xfrm>
              <a:custGeom>
                <a:avLst/>
                <a:gdLst>
                  <a:gd name="T0" fmla="*/ 113 w 1334"/>
                  <a:gd name="T1" fmla="*/ 0 h 1633"/>
                  <a:gd name="T2" fmla="*/ 1219 w 1334"/>
                  <a:gd name="T3" fmla="*/ 0 h 1633"/>
                  <a:gd name="T4" fmla="*/ 1245 w 1334"/>
                  <a:gd name="T5" fmla="*/ 3 h 1633"/>
                  <a:gd name="T6" fmla="*/ 1270 w 1334"/>
                  <a:gd name="T7" fmla="*/ 12 h 1633"/>
                  <a:gd name="T8" fmla="*/ 1291 w 1334"/>
                  <a:gd name="T9" fmla="*/ 25 h 1633"/>
                  <a:gd name="T10" fmla="*/ 1308 w 1334"/>
                  <a:gd name="T11" fmla="*/ 43 h 1633"/>
                  <a:gd name="T12" fmla="*/ 1322 w 1334"/>
                  <a:gd name="T13" fmla="*/ 64 h 1633"/>
                  <a:gd name="T14" fmla="*/ 1331 w 1334"/>
                  <a:gd name="T15" fmla="*/ 88 h 1633"/>
                  <a:gd name="T16" fmla="*/ 1334 w 1334"/>
                  <a:gd name="T17" fmla="*/ 114 h 1633"/>
                  <a:gd name="T18" fmla="*/ 1334 w 1334"/>
                  <a:gd name="T19" fmla="*/ 1519 h 1633"/>
                  <a:gd name="T20" fmla="*/ 1331 w 1334"/>
                  <a:gd name="T21" fmla="*/ 1544 h 1633"/>
                  <a:gd name="T22" fmla="*/ 1322 w 1334"/>
                  <a:gd name="T23" fmla="*/ 1569 h 1633"/>
                  <a:gd name="T24" fmla="*/ 1308 w 1334"/>
                  <a:gd name="T25" fmla="*/ 1590 h 1633"/>
                  <a:gd name="T26" fmla="*/ 1291 w 1334"/>
                  <a:gd name="T27" fmla="*/ 1607 h 1633"/>
                  <a:gd name="T28" fmla="*/ 1270 w 1334"/>
                  <a:gd name="T29" fmla="*/ 1621 h 1633"/>
                  <a:gd name="T30" fmla="*/ 1245 w 1334"/>
                  <a:gd name="T31" fmla="*/ 1630 h 1633"/>
                  <a:gd name="T32" fmla="*/ 1219 w 1334"/>
                  <a:gd name="T33" fmla="*/ 1633 h 1633"/>
                  <a:gd name="T34" fmla="*/ 113 w 1334"/>
                  <a:gd name="T35" fmla="*/ 1633 h 1633"/>
                  <a:gd name="T36" fmla="*/ 87 w 1334"/>
                  <a:gd name="T37" fmla="*/ 1630 h 1633"/>
                  <a:gd name="T38" fmla="*/ 64 w 1334"/>
                  <a:gd name="T39" fmla="*/ 1621 h 1633"/>
                  <a:gd name="T40" fmla="*/ 42 w 1334"/>
                  <a:gd name="T41" fmla="*/ 1607 h 1633"/>
                  <a:gd name="T42" fmla="*/ 24 w 1334"/>
                  <a:gd name="T43" fmla="*/ 1590 h 1633"/>
                  <a:gd name="T44" fmla="*/ 11 w 1334"/>
                  <a:gd name="T45" fmla="*/ 1569 h 1633"/>
                  <a:gd name="T46" fmla="*/ 3 w 1334"/>
                  <a:gd name="T47" fmla="*/ 1544 h 1633"/>
                  <a:gd name="T48" fmla="*/ 0 w 1334"/>
                  <a:gd name="T49" fmla="*/ 1519 h 1633"/>
                  <a:gd name="T50" fmla="*/ 0 w 1334"/>
                  <a:gd name="T51" fmla="*/ 114 h 1633"/>
                  <a:gd name="T52" fmla="*/ 3 w 1334"/>
                  <a:gd name="T53" fmla="*/ 88 h 1633"/>
                  <a:gd name="T54" fmla="*/ 11 w 1334"/>
                  <a:gd name="T55" fmla="*/ 64 h 1633"/>
                  <a:gd name="T56" fmla="*/ 24 w 1334"/>
                  <a:gd name="T57" fmla="*/ 43 h 1633"/>
                  <a:gd name="T58" fmla="*/ 42 w 1334"/>
                  <a:gd name="T59" fmla="*/ 25 h 1633"/>
                  <a:gd name="T60" fmla="*/ 64 w 1334"/>
                  <a:gd name="T61" fmla="*/ 12 h 1633"/>
                  <a:gd name="T62" fmla="*/ 87 w 1334"/>
                  <a:gd name="T63" fmla="*/ 3 h 1633"/>
                  <a:gd name="T64" fmla="*/ 113 w 1334"/>
                  <a:gd name="T65" fmla="*/ 0 h 1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4" h="1633">
                    <a:moveTo>
                      <a:pt x="113" y="0"/>
                    </a:moveTo>
                    <a:lnTo>
                      <a:pt x="1219" y="0"/>
                    </a:lnTo>
                    <a:lnTo>
                      <a:pt x="1245" y="3"/>
                    </a:lnTo>
                    <a:lnTo>
                      <a:pt x="1270" y="12"/>
                    </a:lnTo>
                    <a:lnTo>
                      <a:pt x="1291" y="25"/>
                    </a:lnTo>
                    <a:lnTo>
                      <a:pt x="1308" y="43"/>
                    </a:lnTo>
                    <a:lnTo>
                      <a:pt x="1322" y="64"/>
                    </a:lnTo>
                    <a:lnTo>
                      <a:pt x="1331" y="88"/>
                    </a:lnTo>
                    <a:lnTo>
                      <a:pt x="1334" y="114"/>
                    </a:lnTo>
                    <a:lnTo>
                      <a:pt x="1334" y="1519"/>
                    </a:lnTo>
                    <a:lnTo>
                      <a:pt x="1331" y="1544"/>
                    </a:lnTo>
                    <a:lnTo>
                      <a:pt x="1322" y="1569"/>
                    </a:lnTo>
                    <a:lnTo>
                      <a:pt x="1308" y="1590"/>
                    </a:lnTo>
                    <a:lnTo>
                      <a:pt x="1291" y="1607"/>
                    </a:lnTo>
                    <a:lnTo>
                      <a:pt x="1270" y="1621"/>
                    </a:lnTo>
                    <a:lnTo>
                      <a:pt x="1245" y="1630"/>
                    </a:lnTo>
                    <a:lnTo>
                      <a:pt x="1219" y="1633"/>
                    </a:lnTo>
                    <a:lnTo>
                      <a:pt x="113" y="1633"/>
                    </a:lnTo>
                    <a:lnTo>
                      <a:pt x="87" y="1630"/>
                    </a:lnTo>
                    <a:lnTo>
                      <a:pt x="64" y="1621"/>
                    </a:lnTo>
                    <a:lnTo>
                      <a:pt x="42" y="1607"/>
                    </a:lnTo>
                    <a:lnTo>
                      <a:pt x="24" y="1590"/>
                    </a:lnTo>
                    <a:lnTo>
                      <a:pt x="11" y="1569"/>
                    </a:lnTo>
                    <a:lnTo>
                      <a:pt x="3" y="1544"/>
                    </a:lnTo>
                    <a:lnTo>
                      <a:pt x="0" y="1519"/>
                    </a:lnTo>
                    <a:lnTo>
                      <a:pt x="0" y="114"/>
                    </a:lnTo>
                    <a:lnTo>
                      <a:pt x="3" y="88"/>
                    </a:lnTo>
                    <a:lnTo>
                      <a:pt x="11" y="64"/>
                    </a:lnTo>
                    <a:lnTo>
                      <a:pt x="24" y="43"/>
                    </a:lnTo>
                    <a:lnTo>
                      <a:pt x="42" y="25"/>
                    </a:lnTo>
                    <a:lnTo>
                      <a:pt x="64" y="12"/>
                    </a:lnTo>
                    <a:lnTo>
                      <a:pt x="87" y="3"/>
                    </a:lnTo>
                    <a:lnTo>
                      <a:pt x="113" y="0"/>
                    </a:lnTo>
                    <a:close/>
                  </a:path>
                </a:pathLst>
              </a:custGeom>
              <a:solidFill>
                <a:srgbClr val="6BC2E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Freeform 29">
                <a:extLst>
                  <a:ext uri="{FF2B5EF4-FFF2-40B4-BE49-F238E27FC236}">
                    <a16:creationId xmlns:a16="http://schemas.microsoft.com/office/drawing/2014/main" id="{006FF8C9-DDAF-49D2-8C79-52149E029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2828925"/>
                <a:ext cx="1865313" cy="438150"/>
              </a:xfrm>
              <a:custGeom>
                <a:avLst/>
                <a:gdLst>
                  <a:gd name="T0" fmla="*/ 57 w 1175"/>
                  <a:gd name="T1" fmla="*/ 0 h 276"/>
                  <a:gd name="T2" fmla="*/ 1118 w 1175"/>
                  <a:gd name="T3" fmla="*/ 0 h 276"/>
                  <a:gd name="T4" fmla="*/ 1135 w 1175"/>
                  <a:gd name="T5" fmla="*/ 2 h 276"/>
                  <a:gd name="T6" fmla="*/ 1151 w 1175"/>
                  <a:gd name="T7" fmla="*/ 11 h 276"/>
                  <a:gd name="T8" fmla="*/ 1164 w 1175"/>
                  <a:gd name="T9" fmla="*/ 24 h 276"/>
                  <a:gd name="T10" fmla="*/ 1173 w 1175"/>
                  <a:gd name="T11" fmla="*/ 40 h 276"/>
                  <a:gd name="T12" fmla="*/ 1175 w 1175"/>
                  <a:gd name="T13" fmla="*/ 57 h 276"/>
                  <a:gd name="T14" fmla="*/ 1175 w 1175"/>
                  <a:gd name="T15" fmla="*/ 219 h 276"/>
                  <a:gd name="T16" fmla="*/ 1173 w 1175"/>
                  <a:gd name="T17" fmla="*/ 236 h 276"/>
                  <a:gd name="T18" fmla="*/ 1164 w 1175"/>
                  <a:gd name="T19" fmla="*/ 252 h 276"/>
                  <a:gd name="T20" fmla="*/ 1151 w 1175"/>
                  <a:gd name="T21" fmla="*/ 265 h 276"/>
                  <a:gd name="T22" fmla="*/ 1135 w 1175"/>
                  <a:gd name="T23" fmla="*/ 274 h 276"/>
                  <a:gd name="T24" fmla="*/ 1118 w 1175"/>
                  <a:gd name="T25" fmla="*/ 276 h 276"/>
                  <a:gd name="T26" fmla="*/ 57 w 1175"/>
                  <a:gd name="T27" fmla="*/ 276 h 276"/>
                  <a:gd name="T28" fmla="*/ 39 w 1175"/>
                  <a:gd name="T29" fmla="*/ 274 h 276"/>
                  <a:gd name="T30" fmla="*/ 23 w 1175"/>
                  <a:gd name="T31" fmla="*/ 265 h 276"/>
                  <a:gd name="T32" fmla="*/ 12 w 1175"/>
                  <a:gd name="T33" fmla="*/ 252 h 276"/>
                  <a:gd name="T34" fmla="*/ 3 w 1175"/>
                  <a:gd name="T35" fmla="*/ 236 h 276"/>
                  <a:gd name="T36" fmla="*/ 0 w 1175"/>
                  <a:gd name="T37" fmla="*/ 219 h 276"/>
                  <a:gd name="T38" fmla="*/ 0 w 1175"/>
                  <a:gd name="T39" fmla="*/ 57 h 276"/>
                  <a:gd name="T40" fmla="*/ 3 w 1175"/>
                  <a:gd name="T41" fmla="*/ 40 h 276"/>
                  <a:gd name="T42" fmla="*/ 12 w 1175"/>
                  <a:gd name="T43" fmla="*/ 24 h 276"/>
                  <a:gd name="T44" fmla="*/ 23 w 1175"/>
                  <a:gd name="T45" fmla="*/ 11 h 276"/>
                  <a:gd name="T46" fmla="*/ 39 w 1175"/>
                  <a:gd name="T47" fmla="*/ 2 h 276"/>
                  <a:gd name="T48" fmla="*/ 57 w 1175"/>
                  <a:gd name="T4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75" h="276">
                    <a:moveTo>
                      <a:pt x="57" y="0"/>
                    </a:moveTo>
                    <a:lnTo>
                      <a:pt x="1118" y="0"/>
                    </a:lnTo>
                    <a:lnTo>
                      <a:pt x="1135" y="2"/>
                    </a:lnTo>
                    <a:lnTo>
                      <a:pt x="1151" y="11"/>
                    </a:lnTo>
                    <a:lnTo>
                      <a:pt x="1164" y="24"/>
                    </a:lnTo>
                    <a:lnTo>
                      <a:pt x="1173" y="40"/>
                    </a:lnTo>
                    <a:lnTo>
                      <a:pt x="1175" y="57"/>
                    </a:lnTo>
                    <a:lnTo>
                      <a:pt x="1175" y="219"/>
                    </a:lnTo>
                    <a:lnTo>
                      <a:pt x="1173" y="236"/>
                    </a:lnTo>
                    <a:lnTo>
                      <a:pt x="1164" y="252"/>
                    </a:lnTo>
                    <a:lnTo>
                      <a:pt x="1151" y="265"/>
                    </a:lnTo>
                    <a:lnTo>
                      <a:pt x="1135" y="274"/>
                    </a:lnTo>
                    <a:lnTo>
                      <a:pt x="1118" y="276"/>
                    </a:lnTo>
                    <a:lnTo>
                      <a:pt x="57" y="276"/>
                    </a:lnTo>
                    <a:lnTo>
                      <a:pt x="39" y="274"/>
                    </a:lnTo>
                    <a:lnTo>
                      <a:pt x="23" y="265"/>
                    </a:lnTo>
                    <a:lnTo>
                      <a:pt x="12" y="252"/>
                    </a:lnTo>
                    <a:lnTo>
                      <a:pt x="3" y="236"/>
                    </a:lnTo>
                    <a:lnTo>
                      <a:pt x="0" y="219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2" y="24"/>
                    </a:lnTo>
                    <a:lnTo>
                      <a:pt x="23" y="11"/>
                    </a:lnTo>
                    <a:lnTo>
                      <a:pt x="39" y="2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Freeform 30">
                <a:extLst>
                  <a:ext uri="{FF2B5EF4-FFF2-40B4-BE49-F238E27FC236}">
                    <a16:creationId xmlns:a16="http://schemas.microsoft.com/office/drawing/2014/main" id="{6AECDF46-1A1A-4C0E-A959-E7B2CC6DC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3335338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4 w 255"/>
                  <a:gd name="T7" fmla="*/ 10 h 261"/>
                  <a:gd name="T8" fmla="*/ 245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8 h 261"/>
                  <a:gd name="T16" fmla="*/ 252 w 255"/>
                  <a:gd name="T17" fmla="*/ 224 h 261"/>
                  <a:gd name="T18" fmla="*/ 245 w 255"/>
                  <a:gd name="T19" fmla="*/ 239 h 261"/>
                  <a:gd name="T20" fmla="*/ 234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2 w 255"/>
                  <a:gd name="T31" fmla="*/ 251 h 261"/>
                  <a:gd name="T32" fmla="*/ 10 w 255"/>
                  <a:gd name="T33" fmla="*/ 239 h 261"/>
                  <a:gd name="T34" fmla="*/ 3 w 255"/>
                  <a:gd name="T35" fmla="*/ 224 h 261"/>
                  <a:gd name="T36" fmla="*/ 0 w 255"/>
                  <a:gd name="T37" fmla="*/ 208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2 w 255"/>
                  <a:gd name="T45" fmla="*/ 10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5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4"/>
                    </a:lnTo>
                    <a:lnTo>
                      <a:pt x="245" y="239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Freeform 31">
                <a:extLst>
                  <a:ext uri="{FF2B5EF4-FFF2-40B4-BE49-F238E27FC236}">
                    <a16:creationId xmlns:a16="http://schemas.microsoft.com/office/drawing/2014/main" id="{A153658F-F800-4991-A6E2-BE3B94957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3335338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3 w 255"/>
                  <a:gd name="T7" fmla="*/ 10 h 261"/>
                  <a:gd name="T8" fmla="*/ 244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8 h 261"/>
                  <a:gd name="T16" fmla="*/ 252 w 255"/>
                  <a:gd name="T17" fmla="*/ 224 h 261"/>
                  <a:gd name="T18" fmla="*/ 244 w 255"/>
                  <a:gd name="T19" fmla="*/ 239 h 261"/>
                  <a:gd name="T20" fmla="*/ 233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1 w 255"/>
                  <a:gd name="T31" fmla="*/ 251 h 261"/>
                  <a:gd name="T32" fmla="*/ 10 w 255"/>
                  <a:gd name="T33" fmla="*/ 239 h 261"/>
                  <a:gd name="T34" fmla="*/ 3 w 255"/>
                  <a:gd name="T35" fmla="*/ 224 h 261"/>
                  <a:gd name="T36" fmla="*/ 0 w 255"/>
                  <a:gd name="T37" fmla="*/ 208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1 w 255"/>
                  <a:gd name="T45" fmla="*/ 10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0"/>
                    </a:lnTo>
                    <a:lnTo>
                      <a:pt x="244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4"/>
                    </a:lnTo>
                    <a:lnTo>
                      <a:pt x="244" y="239"/>
                    </a:lnTo>
                    <a:lnTo>
                      <a:pt x="233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1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1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Freeform 32">
                <a:extLst>
                  <a:ext uri="{FF2B5EF4-FFF2-40B4-BE49-F238E27FC236}">
                    <a16:creationId xmlns:a16="http://schemas.microsoft.com/office/drawing/2014/main" id="{29CC0553-651C-4B68-874A-DFAFA79D3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3335338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3 h 261"/>
                  <a:gd name="T6" fmla="*/ 233 w 256"/>
                  <a:gd name="T7" fmla="*/ 10 h 261"/>
                  <a:gd name="T8" fmla="*/ 245 w 256"/>
                  <a:gd name="T9" fmla="*/ 22 h 261"/>
                  <a:gd name="T10" fmla="*/ 253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8 h 261"/>
                  <a:gd name="T16" fmla="*/ 253 w 256"/>
                  <a:gd name="T17" fmla="*/ 224 h 261"/>
                  <a:gd name="T18" fmla="*/ 245 w 256"/>
                  <a:gd name="T19" fmla="*/ 239 h 261"/>
                  <a:gd name="T20" fmla="*/ 233 w 256"/>
                  <a:gd name="T21" fmla="*/ 251 h 261"/>
                  <a:gd name="T22" fmla="*/ 220 w 256"/>
                  <a:gd name="T23" fmla="*/ 259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9 h 261"/>
                  <a:gd name="T30" fmla="*/ 22 w 256"/>
                  <a:gd name="T31" fmla="*/ 251 h 261"/>
                  <a:gd name="T32" fmla="*/ 10 w 256"/>
                  <a:gd name="T33" fmla="*/ 239 h 261"/>
                  <a:gd name="T34" fmla="*/ 3 w 256"/>
                  <a:gd name="T35" fmla="*/ 224 h 261"/>
                  <a:gd name="T36" fmla="*/ 0 w 256"/>
                  <a:gd name="T37" fmla="*/ 208 h 261"/>
                  <a:gd name="T38" fmla="*/ 0 w 256"/>
                  <a:gd name="T39" fmla="*/ 53 h 261"/>
                  <a:gd name="T40" fmla="*/ 3 w 256"/>
                  <a:gd name="T41" fmla="*/ 36 h 261"/>
                  <a:gd name="T42" fmla="*/ 10 w 256"/>
                  <a:gd name="T43" fmla="*/ 22 h 261"/>
                  <a:gd name="T44" fmla="*/ 22 w 256"/>
                  <a:gd name="T45" fmla="*/ 10 h 261"/>
                  <a:gd name="T46" fmla="*/ 37 w 256"/>
                  <a:gd name="T47" fmla="*/ 3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0"/>
                    </a:lnTo>
                    <a:lnTo>
                      <a:pt x="245" y="22"/>
                    </a:lnTo>
                    <a:lnTo>
                      <a:pt x="253" y="36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3" y="224"/>
                    </a:lnTo>
                    <a:lnTo>
                      <a:pt x="245" y="239"/>
                    </a:lnTo>
                    <a:lnTo>
                      <a:pt x="233" y="251"/>
                    </a:lnTo>
                    <a:lnTo>
                      <a:pt x="220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9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Freeform 33">
                <a:extLst>
                  <a:ext uri="{FF2B5EF4-FFF2-40B4-BE49-F238E27FC236}">
                    <a16:creationId xmlns:a16="http://schemas.microsoft.com/office/drawing/2014/main" id="{7F303356-EC73-41A1-B932-BE599708E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3335338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3 h 261"/>
                  <a:gd name="T6" fmla="*/ 234 w 256"/>
                  <a:gd name="T7" fmla="*/ 10 h 261"/>
                  <a:gd name="T8" fmla="*/ 246 w 256"/>
                  <a:gd name="T9" fmla="*/ 22 h 261"/>
                  <a:gd name="T10" fmla="*/ 254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8 h 261"/>
                  <a:gd name="T16" fmla="*/ 254 w 256"/>
                  <a:gd name="T17" fmla="*/ 224 h 261"/>
                  <a:gd name="T18" fmla="*/ 246 w 256"/>
                  <a:gd name="T19" fmla="*/ 239 h 261"/>
                  <a:gd name="T20" fmla="*/ 234 w 256"/>
                  <a:gd name="T21" fmla="*/ 251 h 261"/>
                  <a:gd name="T22" fmla="*/ 219 w 256"/>
                  <a:gd name="T23" fmla="*/ 259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9 h 261"/>
                  <a:gd name="T30" fmla="*/ 23 w 256"/>
                  <a:gd name="T31" fmla="*/ 251 h 261"/>
                  <a:gd name="T32" fmla="*/ 11 w 256"/>
                  <a:gd name="T33" fmla="*/ 239 h 261"/>
                  <a:gd name="T34" fmla="*/ 3 w 256"/>
                  <a:gd name="T35" fmla="*/ 224 h 261"/>
                  <a:gd name="T36" fmla="*/ 0 w 256"/>
                  <a:gd name="T37" fmla="*/ 208 h 261"/>
                  <a:gd name="T38" fmla="*/ 0 w 256"/>
                  <a:gd name="T39" fmla="*/ 53 h 261"/>
                  <a:gd name="T40" fmla="*/ 3 w 256"/>
                  <a:gd name="T41" fmla="*/ 36 h 261"/>
                  <a:gd name="T42" fmla="*/ 11 w 256"/>
                  <a:gd name="T43" fmla="*/ 22 h 261"/>
                  <a:gd name="T44" fmla="*/ 23 w 256"/>
                  <a:gd name="T45" fmla="*/ 10 h 261"/>
                  <a:gd name="T46" fmla="*/ 37 w 256"/>
                  <a:gd name="T47" fmla="*/ 3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6" y="22"/>
                    </a:lnTo>
                    <a:lnTo>
                      <a:pt x="254" y="36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4" y="224"/>
                    </a:lnTo>
                    <a:lnTo>
                      <a:pt x="246" y="239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9"/>
                    </a:lnTo>
                    <a:lnTo>
                      <a:pt x="23" y="251"/>
                    </a:lnTo>
                    <a:lnTo>
                      <a:pt x="11" y="239"/>
                    </a:lnTo>
                    <a:lnTo>
                      <a:pt x="3" y="224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1" y="22"/>
                    </a:lnTo>
                    <a:lnTo>
                      <a:pt x="23" y="10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Freeform 34">
                <a:extLst>
                  <a:ext uri="{FF2B5EF4-FFF2-40B4-BE49-F238E27FC236}">
                    <a16:creationId xmlns:a16="http://schemas.microsoft.com/office/drawing/2014/main" id="{0D9F0D59-D6C0-4F56-9133-41C11D9C5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380682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4 w 255"/>
                  <a:gd name="T7" fmla="*/ 11 h 261"/>
                  <a:gd name="T8" fmla="*/ 245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9 h 261"/>
                  <a:gd name="T16" fmla="*/ 252 w 255"/>
                  <a:gd name="T17" fmla="*/ 225 h 261"/>
                  <a:gd name="T18" fmla="*/ 245 w 255"/>
                  <a:gd name="T19" fmla="*/ 240 h 261"/>
                  <a:gd name="T20" fmla="*/ 234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2 w 255"/>
                  <a:gd name="T31" fmla="*/ 251 h 261"/>
                  <a:gd name="T32" fmla="*/ 10 w 255"/>
                  <a:gd name="T33" fmla="*/ 240 h 261"/>
                  <a:gd name="T34" fmla="*/ 3 w 255"/>
                  <a:gd name="T35" fmla="*/ 225 h 261"/>
                  <a:gd name="T36" fmla="*/ 0 w 255"/>
                  <a:gd name="T37" fmla="*/ 209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2 w 255"/>
                  <a:gd name="T45" fmla="*/ 11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1"/>
                    </a:lnTo>
                    <a:lnTo>
                      <a:pt x="245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9"/>
                    </a:lnTo>
                    <a:lnTo>
                      <a:pt x="252" y="225"/>
                    </a:lnTo>
                    <a:lnTo>
                      <a:pt x="245" y="240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2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Freeform 35">
                <a:extLst>
                  <a:ext uri="{FF2B5EF4-FFF2-40B4-BE49-F238E27FC236}">
                    <a16:creationId xmlns:a16="http://schemas.microsoft.com/office/drawing/2014/main" id="{6450DC8F-583E-4034-A403-6B4CAC541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380682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3 h 261"/>
                  <a:gd name="T6" fmla="*/ 233 w 255"/>
                  <a:gd name="T7" fmla="*/ 11 h 261"/>
                  <a:gd name="T8" fmla="*/ 244 w 255"/>
                  <a:gd name="T9" fmla="*/ 22 h 261"/>
                  <a:gd name="T10" fmla="*/ 252 w 255"/>
                  <a:gd name="T11" fmla="*/ 36 h 261"/>
                  <a:gd name="T12" fmla="*/ 255 w 255"/>
                  <a:gd name="T13" fmla="*/ 53 h 261"/>
                  <a:gd name="T14" fmla="*/ 255 w 255"/>
                  <a:gd name="T15" fmla="*/ 209 h 261"/>
                  <a:gd name="T16" fmla="*/ 252 w 255"/>
                  <a:gd name="T17" fmla="*/ 225 h 261"/>
                  <a:gd name="T18" fmla="*/ 244 w 255"/>
                  <a:gd name="T19" fmla="*/ 240 h 261"/>
                  <a:gd name="T20" fmla="*/ 233 w 255"/>
                  <a:gd name="T21" fmla="*/ 251 h 261"/>
                  <a:gd name="T22" fmla="*/ 219 w 255"/>
                  <a:gd name="T23" fmla="*/ 259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9 h 261"/>
                  <a:gd name="T30" fmla="*/ 21 w 255"/>
                  <a:gd name="T31" fmla="*/ 251 h 261"/>
                  <a:gd name="T32" fmla="*/ 10 w 255"/>
                  <a:gd name="T33" fmla="*/ 240 h 261"/>
                  <a:gd name="T34" fmla="*/ 3 w 255"/>
                  <a:gd name="T35" fmla="*/ 225 h 261"/>
                  <a:gd name="T36" fmla="*/ 0 w 255"/>
                  <a:gd name="T37" fmla="*/ 209 h 261"/>
                  <a:gd name="T38" fmla="*/ 0 w 255"/>
                  <a:gd name="T39" fmla="*/ 53 h 261"/>
                  <a:gd name="T40" fmla="*/ 3 w 255"/>
                  <a:gd name="T41" fmla="*/ 36 h 261"/>
                  <a:gd name="T42" fmla="*/ 10 w 255"/>
                  <a:gd name="T43" fmla="*/ 22 h 261"/>
                  <a:gd name="T44" fmla="*/ 21 w 255"/>
                  <a:gd name="T45" fmla="*/ 11 h 261"/>
                  <a:gd name="T46" fmla="*/ 36 w 255"/>
                  <a:gd name="T47" fmla="*/ 3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1"/>
                    </a:lnTo>
                    <a:lnTo>
                      <a:pt x="244" y="22"/>
                    </a:lnTo>
                    <a:lnTo>
                      <a:pt x="252" y="36"/>
                    </a:lnTo>
                    <a:lnTo>
                      <a:pt x="255" y="53"/>
                    </a:lnTo>
                    <a:lnTo>
                      <a:pt x="255" y="209"/>
                    </a:lnTo>
                    <a:lnTo>
                      <a:pt x="252" y="225"/>
                    </a:lnTo>
                    <a:lnTo>
                      <a:pt x="244" y="240"/>
                    </a:lnTo>
                    <a:lnTo>
                      <a:pt x="233" y="251"/>
                    </a:lnTo>
                    <a:lnTo>
                      <a:pt x="219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9"/>
                    </a:lnTo>
                    <a:lnTo>
                      <a:pt x="21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1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Freeform 36">
                <a:extLst>
                  <a:ext uri="{FF2B5EF4-FFF2-40B4-BE49-F238E27FC236}">
                    <a16:creationId xmlns:a16="http://schemas.microsoft.com/office/drawing/2014/main" id="{4544676B-9A7E-496B-B9DB-C2B4F253A9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3806825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3 h 261"/>
                  <a:gd name="T6" fmla="*/ 233 w 256"/>
                  <a:gd name="T7" fmla="*/ 11 h 261"/>
                  <a:gd name="T8" fmla="*/ 245 w 256"/>
                  <a:gd name="T9" fmla="*/ 22 h 261"/>
                  <a:gd name="T10" fmla="*/ 253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9 h 261"/>
                  <a:gd name="T16" fmla="*/ 253 w 256"/>
                  <a:gd name="T17" fmla="*/ 225 h 261"/>
                  <a:gd name="T18" fmla="*/ 245 w 256"/>
                  <a:gd name="T19" fmla="*/ 240 h 261"/>
                  <a:gd name="T20" fmla="*/ 233 w 256"/>
                  <a:gd name="T21" fmla="*/ 251 h 261"/>
                  <a:gd name="T22" fmla="*/ 220 w 256"/>
                  <a:gd name="T23" fmla="*/ 259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9 h 261"/>
                  <a:gd name="T30" fmla="*/ 22 w 256"/>
                  <a:gd name="T31" fmla="*/ 251 h 261"/>
                  <a:gd name="T32" fmla="*/ 10 w 256"/>
                  <a:gd name="T33" fmla="*/ 240 h 261"/>
                  <a:gd name="T34" fmla="*/ 3 w 256"/>
                  <a:gd name="T35" fmla="*/ 225 h 261"/>
                  <a:gd name="T36" fmla="*/ 0 w 256"/>
                  <a:gd name="T37" fmla="*/ 209 h 261"/>
                  <a:gd name="T38" fmla="*/ 0 w 256"/>
                  <a:gd name="T39" fmla="*/ 53 h 261"/>
                  <a:gd name="T40" fmla="*/ 3 w 256"/>
                  <a:gd name="T41" fmla="*/ 36 h 261"/>
                  <a:gd name="T42" fmla="*/ 10 w 256"/>
                  <a:gd name="T43" fmla="*/ 22 h 261"/>
                  <a:gd name="T44" fmla="*/ 22 w 256"/>
                  <a:gd name="T45" fmla="*/ 11 h 261"/>
                  <a:gd name="T46" fmla="*/ 37 w 256"/>
                  <a:gd name="T47" fmla="*/ 3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1"/>
                    </a:lnTo>
                    <a:lnTo>
                      <a:pt x="245" y="22"/>
                    </a:lnTo>
                    <a:lnTo>
                      <a:pt x="253" y="36"/>
                    </a:lnTo>
                    <a:lnTo>
                      <a:pt x="256" y="53"/>
                    </a:lnTo>
                    <a:lnTo>
                      <a:pt x="256" y="209"/>
                    </a:lnTo>
                    <a:lnTo>
                      <a:pt x="253" y="225"/>
                    </a:lnTo>
                    <a:lnTo>
                      <a:pt x="245" y="240"/>
                    </a:lnTo>
                    <a:lnTo>
                      <a:pt x="233" y="251"/>
                    </a:lnTo>
                    <a:lnTo>
                      <a:pt x="220" y="259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9"/>
                    </a:lnTo>
                    <a:lnTo>
                      <a:pt x="22" y="251"/>
                    </a:lnTo>
                    <a:lnTo>
                      <a:pt x="10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0" y="22"/>
                    </a:lnTo>
                    <a:lnTo>
                      <a:pt x="22" y="11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Freeform 37">
                <a:extLst>
                  <a:ext uri="{FF2B5EF4-FFF2-40B4-BE49-F238E27FC236}">
                    <a16:creationId xmlns:a16="http://schemas.microsoft.com/office/drawing/2014/main" id="{CFA50CED-47F0-404D-823C-5C7812AE1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3806825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3 h 261"/>
                  <a:gd name="T6" fmla="*/ 234 w 256"/>
                  <a:gd name="T7" fmla="*/ 11 h 261"/>
                  <a:gd name="T8" fmla="*/ 246 w 256"/>
                  <a:gd name="T9" fmla="*/ 22 h 261"/>
                  <a:gd name="T10" fmla="*/ 254 w 256"/>
                  <a:gd name="T11" fmla="*/ 36 h 261"/>
                  <a:gd name="T12" fmla="*/ 256 w 256"/>
                  <a:gd name="T13" fmla="*/ 53 h 261"/>
                  <a:gd name="T14" fmla="*/ 256 w 256"/>
                  <a:gd name="T15" fmla="*/ 209 h 261"/>
                  <a:gd name="T16" fmla="*/ 254 w 256"/>
                  <a:gd name="T17" fmla="*/ 225 h 261"/>
                  <a:gd name="T18" fmla="*/ 246 w 256"/>
                  <a:gd name="T19" fmla="*/ 240 h 261"/>
                  <a:gd name="T20" fmla="*/ 234 w 256"/>
                  <a:gd name="T21" fmla="*/ 251 h 261"/>
                  <a:gd name="T22" fmla="*/ 219 w 256"/>
                  <a:gd name="T23" fmla="*/ 259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9 h 261"/>
                  <a:gd name="T30" fmla="*/ 23 w 256"/>
                  <a:gd name="T31" fmla="*/ 251 h 261"/>
                  <a:gd name="T32" fmla="*/ 11 w 256"/>
                  <a:gd name="T33" fmla="*/ 240 h 261"/>
                  <a:gd name="T34" fmla="*/ 3 w 256"/>
                  <a:gd name="T35" fmla="*/ 225 h 261"/>
                  <a:gd name="T36" fmla="*/ 0 w 256"/>
                  <a:gd name="T37" fmla="*/ 209 h 261"/>
                  <a:gd name="T38" fmla="*/ 0 w 256"/>
                  <a:gd name="T39" fmla="*/ 53 h 261"/>
                  <a:gd name="T40" fmla="*/ 3 w 256"/>
                  <a:gd name="T41" fmla="*/ 36 h 261"/>
                  <a:gd name="T42" fmla="*/ 11 w 256"/>
                  <a:gd name="T43" fmla="*/ 22 h 261"/>
                  <a:gd name="T44" fmla="*/ 23 w 256"/>
                  <a:gd name="T45" fmla="*/ 11 h 261"/>
                  <a:gd name="T46" fmla="*/ 37 w 256"/>
                  <a:gd name="T47" fmla="*/ 3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1"/>
                    </a:lnTo>
                    <a:lnTo>
                      <a:pt x="246" y="22"/>
                    </a:lnTo>
                    <a:lnTo>
                      <a:pt x="254" y="36"/>
                    </a:lnTo>
                    <a:lnTo>
                      <a:pt x="256" y="53"/>
                    </a:lnTo>
                    <a:lnTo>
                      <a:pt x="256" y="209"/>
                    </a:lnTo>
                    <a:lnTo>
                      <a:pt x="254" y="225"/>
                    </a:lnTo>
                    <a:lnTo>
                      <a:pt x="246" y="240"/>
                    </a:lnTo>
                    <a:lnTo>
                      <a:pt x="234" y="251"/>
                    </a:lnTo>
                    <a:lnTo>
                      <a:pt x="219" y="259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9"/>
                    </a:lnTo>
                    <a:lnTo>
                      <a:pt x="23" y="251"/>
                    </a:lnTo>
                    <a:lnTo>
                      <a:pt x="11" y="240"/>
                    </a:lnTo>
                    <a:lnTo>
                      <a:pt x="3" y="225"/>
                    </a:lnTo>
                    <a:lnTo>
                      <a:pt x="0" y="209"/>
                    </a:lnTo>
                    <a:lnTo>
                      <a:pt x="0" y="53"/>
                    </a:lnTo>
                    <a:lnTo>
                      <a:pt x="3" y="36"/>
                    </a:lnTo>
                    <a:lnTo>
                      <a:pt x="11" y="22"/>
                    </a:lnTo>
                    <a:lnTo>
                      <a:pt x="23" y="11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Freeform 38">
                <a:extLst>
                  <a:ext uri="{FF2B5EF4-FFF2-40B4-BE49-F238E27FC236}">
                    <a16:creationId xmlns:a16="http://schemas.microsoft.com/office/drawing/2014/main" id="{9DA06D74-8C7F-49FB-9A8E-60A462A0A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4279900"/>
                <a:ext cx="404813" cy="412750"/>
              </a:xfrm>
              <a:custGeom>
                <a:avLst/>
                <a:gdLst>
                  <a:gd name="T0" fmla="*/ 53 w 255"/>
                  <a:gd name="T1" fmla="*/ 0 h 260"/>
                  <a:gd name="T2" fmla="*/ 202 w 255"/>
                  <a:gd name="T3" fmla="*/ 0 h 260"/>
                  <a:gd name="T4" fmla="*/ 219 w 255"/>
                  <a:gd name="T5" fmla="*/ 3 h 260"/>
                  <a:gd name="T6" fmla="*/ 234 w 255"/>
                  <a:gd name="T7" fmla="*/ 10 h 260"/>
                  <a:gd name="T8" fmla="*/ 245 w 255"/>
                  <a:gd name="T9" fmla="*/ 22 h 260"/>
                  <a:gd name="T10" fmla="*/ 252 w 255"/>
                  <a:gd name="T11" fmla="*/ 37 h 260"/>
                  <a:gd name="T12" fmla="*/ 255 w 255"/>
                  <a:gd name="T13" fmla="*/ 53 h 260"/>
                  <a:gd name="T14" fmla="*/ 255 w 255"/>
                  <a:gd name="T15" fmla="*/ 208 h 260"/>
                  <a:gd name="T16" fmla="*/ 252 w 255"/>
                  <a:gd name="T17" fmla="*/ 225 h 260"/>
                  <a:gd name="T18" fmla="*/ 245 w 255"/>
                  <a:gd name="T19" fmla="*/ 239 h 260"/>
                  <a:gd name="T20" fmla="*/ 234 w 255"/>
                  <a:gd name="T21" fmla="*/ 251 h 260"/>
                  <a:gd name="T22" fmla="*/ 219 w 255"/>
                  <a:gd name="T23" fmla="*/ 258 h 260"/>
                  <a:gd name="T24" fmla="*/ 202 w 255"/>
                  <a:gd name="T25" fmla="*/ 260 h 260"/>
                  <a:gd name="T26" fmla="*/ 53 w 255"/>
                  <a:gd name="T27" fmla="*/ 260 h 260"/>
                  <a:gd name="T28" fmla="*/ 36 w 255"/>
                  <a:gd name="T29" fmla="*/ 258 h 260"/>
                  <a:gd name="T30" fmla="*/ 22 w 255"/>
                  <a:gd name="T31" fmla="*/ 251 h 260"/>
                  <a:gd name="T32" fmla="*/ 10 w 255"/>
                  <a:gd name="T33" fmla="*/ 239 h 260"/>
                  <a:gd name="T34" fmla="*/ 3 w 255"/>
                  <a:gd name="T35" fmla="*/ 225 h 260"/>
                  <a:gd name="T36" fmla="*/ 0 w 255"/>
                  <a:gd name="T37" fmla="*/ 208 h 260"/>
                  <a:gd name="T38" fmla="*/ 0 w 255"/>
                  <a:gd name="T39" fmla="*/ 53 h 260"/>
                  <a:gd name="T40" fmla="*/ 3 w 255"/>
                  <a:gd name="T41" fmla="*/ 37 h 260"/>
                  <a:gd name="T42" fmla="*/ 10 w 255"/>
                  <a:gd name="T43" fmla="*/ 22 h 260"/>
                  <a:gd name="T44" fmla="*/ 22 w 255"/>
                  <a:gd name="T45" fmla="*/ 10 h 260"/>
                  <a:gd name="T46" fmla="*/ 36 w 255"/>
                  <a:gd name="T47" fmla="*/ 3 h 260"/>
                  <a:gd name="T48" fmla="*/ 53 w 255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5" y="22"/>
                    </a:lnTo>
                    <a:lnTo>
                      <a:pt x="252" y="37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5"/>
                    </a:lnTo>
                    <a:lnTo>
                      <a:pt x="245" y="239"/>
                    </a:lnTo>
                    <a:lnTo>
                      <a:pt x="234" y="251"/>
                    </a:lnTo>
                    <a:lnTo>
                      <a:pt x="219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6" y="258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Freeform 39">
                <a:extLst>
                  <a:ext uri="{FF2B5EF4-FFF2-40B4-BE49-F238E27FC236}">
                    <a16:creationId xmlns:a16="http://schemas.microsoft.com/office/drawing/2014/main" id="{43AABD32-B1B8-40D4-B9C9-713D1B981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4279900"/>
                <a:ext cx="404813" cy="412750"/>
              </a:xfrm>
              <a:custGeom>
                <a:avLst/>
                <a:gdLst>
                  <a:gd name="T0" fmla="*/ 53 w 255"/>
                  <a:gd name="T1" fmla="*/ 0 h 260"/>
                  <a:gd name="T2" fmla="*/ 202 w 255"/>
                  <a:gd name="T3" fmla="*/ 0 h 260"/>
                  <a:gd name="T4" fmla="*/ 219 w 255"/>
                  <a:gd name="T5" fmla="*/ 3 h 260"/>
                  <a:gd name="T6" fmla="*/ 233 w 255"/>
                  <a:gd name="T7" fmla="*/ 10 h 260"/>
                  <a:gd name="T8" fmla="*/ 244 w 255"/>
                  <a:gd name="T9" fmla="*/ 22 h 260"/>
                  <a:gd name="T10" fmla="*/ 252 w 255"/>
                  <a:gd name="T11" fmla="*/ 37 h 260"/>
                  <a:gd name="T12" fmla="*/ 255 w 255"/>
                  <a:gd name="T13" fmla="*/ 53 h 260"/>
                  <a:gd name="T14" fmla="*/ 255 w 255"/>
                  <a:gd name="T15" fmla="*/ 208 h 260"/>
                  <a:gd name="T16" fmla="*/ 252 w 255"/>
                  <a:gd name="T17" fmla="*/ 225 h 260"/>
                  <a:gd name="T18" fmla="*/ 244 w 255"/>
                  <a:gd name="T19" fmla="*/ 239 h 260"/>
                  <a:gd name="T20" fmla="*/ 233 w 255"/>
                  <a:gd name="T21" fmla="*/ 251 h 260"/>
                  <a:gd name="T22" fmla="*/ 219 w 255"/>
                  <a:gd name="T23" fmla="*/ 258 h 260"/>
                  <a:gd name="T24" fmla="*/ 202 w 255"/>
                  <a:gd name="T25" fmla="*/ 260 h 260"/>
                  <a:gd name="T26" fmla="*/ 53 w 255"/>
                  <a:gd name="T27" fmla="*/ 260 h 260"/>
                  <a:gd name="T28" fmla="*/ 36 w 255"/>
                  <a:gd name="T29" fmla="*/ 258 h 260"/>
                  <a:gd name="T30" fmla="*/ 21 w 255"/>
                  <a:gd name="T31" fmla="*/ 251 h 260"/>
                  <a:gd name="T32" fmla="*/ 10 w 255"/>
                  <a:gd name="T33" fmla="*/ 239 h 260"/>
                  <a:gd name="T34" fmla="*/ 3 w 255"/>
                  <a:gd name="T35" fmla="*/ 225 h 260"/>
                  <a:gd name="T36" fmla="*/ 0 w 255"/>
                  <a:gd name="T37" fmla="*/ 208 h 260"/>
                  <a:gd name="T38" fmla="*/ 0 w 255"/>
                  <a:gd name="T39" fmla="*/ 53 h 260"/>
                  <a:gd name="T40" fmla="*/ 3 w 255"/>
                  <a:gd name="T41" fmla="*/ 37 h 260"/>
                  <a:gd name="T42" fmla="*/ 10 w 255"/>
                  <a:gd name="T43" fmla="*/ 22 h 260"/>
                  <a:gd name="T44" fmla="*/ 21 w 255"/>
                  <a:gd name="T45" fmla="*/ 10 h 260"/>
                  <a:gd name="T46" fmla="*/ 36 w 255"/>
                  <a:gd name="T47" fmla="*/ 3 h 260"/>
                  <a:gd name="T48" fmla="*/ 53 w 255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3"/>
                    </a:lnTo>
                    <a:lnTo>
                      <a:pt x="233" y="10"/>
                    </a:lnTo>
                    <a:lnTo>
                      <a:pt x="244" y="22"/>
                    </a:lnTo>
                    <a:lnTo>
                      <a:pt x="252" y="37"/>
                    </a:lnTo>
                    <a:lnTo>
                      <a:pt x="255" y="53"/>
                    </a:lnTo>
                    <a:lnTo>
                      <a:pt x="255" y="208"/>
                    </a:lnTo>
                    <a:lnTo>
                      <a:pt x="252" y="225"/>
                    </a:lnTo>
                    <a:lnTo>
                      <a:pt x="244" y="239"/>
                    </a:lnTo>
                    <a:lnTo>
                      <a:pt x="233" y="251"/>
                    </a:lnTo>
                    <a:lnTo>
                      <a:pt x="219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6" y="258"/>
                    </a:lnTo>
                    <a:lnTo>
                      <a:pt x="21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1" y="10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eform 40">
                <a:extLst>
                  <a:ext uri="{FF2B5EF4-FFF2-40B4-BE49-F238E27FC236}">
                    <a16:creationId xmlns:a16="http://schemas.microsoft.com/office/drawing/2014/main" id="{B30CBDC6-6FE5-4161-8D5D-58C6D503A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4279900"/>
                <a:ext cx="406400" cy="412750"/>
              </a:xfrm>
              <a:custGeom>
                <a:avLst/>
                <a:gdLst>
                  <a:gd name="T0" fmla="*/ 53 w 256"/>
                  <a:gd name="T1" fmla="*/ 0 h 260"/>
                  <a:gd name="T2" fmla="*/ 202 w 256"/>
                  <a:gd name="T3" fmla="*/ 0 h 260"/>
                  <a:gd name="T4" fmla="*/ 220 w 256"/>
                  <a:gd name="T5" fmla="*/ 3 h 260"/>
                  <a:gd name="T6" fmla="*/ 233 w 256"/>
                  <a:gd name="T7" fmla="*/ 10 h 260"/>
                  <a:gd name="T8" fmla="*/ 245 w 256"/>
                  <a:gd name="T9" fmla="*/ 22 h 260"/>
                  <a:gd name="T10" fmla="*/ 253 w 256"/>
                  <a:gd name="T11" fmla="*/ 37 h 260"/>
                  <a:gd name="T12" fmla="*/ 256 w 256"/>
                  <a:gd name="T13" fmla="*/ 53 h 260"/>
                  <a:gd name="T14" fmla="*/ 256 w 256"/>
                  <a:gd name="T15" fmla="*/ 208 h 260"/>
                  <a:gd name="T16" fmla="*/ 253 w 256"/>
                  <a:gd name="T17" fmla="*/ 225 h 260"/>
                  <a:gd name="T18" fmla="*/ 245 w 256"/>
                  <a:gd name="T19" fmla="*/ 239 h 260"/>
                  <a:gd name="T20" fmla="*/ 233 w 256"/>
                  <a:gd name="T21" fmla="*/ 251 h 260"/>
                  <a:gd name="T22" fmla="*/ 220 w 256"/>
                  <a:gd name="T23" fmla="*/ 258 h 260"/>
                  <a:gd name="T24" fmla="*/ 202 w 256"/>
                  <a:gd name="T25" fmla="*/ 260 h 260"/>
                  <a:gd name="T26" fmla="*/ 53 w 256"/>
                  <a:gd name="T27" fmla="*/ 260 h 260"/>
                  <a:gd name="T28" fmla="*/ 37 w 256"/>
                  <a:gd name="T29" fmla="*/ 258 h 260"/>
                  <a:gd name="T30" fmla="*/ 22 w 256"/>
                  <a:gd name="T31" fmla="*/ 251 h 260"/>
                  <a:gd name="T32" fmla="*/ 10 w 256"/>
                  <a:gd name="T33" fmla="*/ 239 h 260"/>
                  <a:gd name="T34" fmla="*/ 3 w 256"/>
                  <a:gd name="T35" fmla="*/ 225 h 260"/>
                  <a:gd name="T36" fmla="*/ 0 w 256"/>
                  <a:gd name="T37" fmla="*/ 208 h 260"/>
                  <a:gd name="T38" fmla="*/ 0 w 256"/>
                  <a:gd name="T39" fmla="*/ 53 h 260"/>
                  <a:gd name="T40" fmla="*/ 3 w 256"/>
                  <a:gd name="T41" fmla="*/ 37 h 260"/>
                  <a:gd name="T42" fmla="*/ 10 w 256"/>
                  <a:gd name="T43" fmla="*/ 22 h 260"/>
                  <a:gd name="T44" fmla="*/ 22 w 256"/>
                  <a:gd name="T45" fmla="*/ 10 h 260"/>
                  <a:gd name="T46" fmla="*/ 37 w 256"/>
                  <a:gd name="T47" fmla="*/ 3 h 260"/>
                  <a:gd name="T48" fmla="*/ 53 w 256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0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3"/>
                    </a:lnTo>
                    <a:lnTo>
                      <a:pt x="233" y="10"/>
                    </a:lnTo>
                    <a:lnTo>
                      <a:pt x="245" y="22"/>
                    </a:lnTo>
                    <a:lnTo>
                      <a:pt x="253" y="37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3" y="225"/>
                    </a:lnTo>
                    <a:lnTo>
                      <a:pt x="245" y="239"/>
                    </a:lnTo>
                    <a:lnTo>
                      <a:pt x="233" y="251"/>
                    </a:lnTo>
                    <a:lnTo>
                      <a:pt x="220" y="258"/>
                    </a:lnTo>
                    <a:lnTo>
                      <a:pt x="202" y="260"/>
                    </a:lnTo>
                    <a:lnTo>
                      <a:pt x="53" y="260"/>
                    </a:lnTo>
                    <a:lnTo>
                      <a:pt x="37" y="258"/>
                    </a:lnTo>
                    <a:lnTo>
                      <a:pt x="22" y="251"/>
                    </a:lnTo>
                    <a:lnTo>
                      <a:pt x="10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0" y="22"/>
                    </a:lnTo>
                    <a:lnTo>
                      <a:pt x="22" y="10"/>
                    </a:lnTo>
                    <a:lnTo>
                      <a:pt x="37" y="3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Freeform 41">
                <a:extLst>
                  <a:ext uri="{FF2B5EF4-FFF2-40B4-BE49-F238E27FC236}">
                    <a16:creationId xmlns:a16="http://schemas.microsoft.com/office/drawing/2014/main" id="{E16B7958-A5EA-4FF5-9EE1-336582FA6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4279900"/>
                <a:ext cx="406400" cy="412750"/>
              </a:xfrm>
              <a:custGeom>
                <a:avLst/>
                <a:gdLst>
                  <a:gd name="T0" fmla="*/ 54 w 256"/>
                  <a:gd name="T1" fmla="*/ 0 h 260"/>
                  <a:gd name="T2" fmla="*/ 203 w 256"/>
                  <a:gd name="T3" fmla="*/ 0 h 260"/>
                  <a:gd name="T4" fmla="*/ 219 w 256"/>
                  <a:gd name="T5" fmla="*/ 3 h 260"/>
                  <a:gd name="T6" fmla="*/ 234 w 256"/>
                  <a:gd name="T7" fmla="*/ 10 h 260"/>
                  <a:gd name="T8" fmla="*/ 246 w 256"/>
                  <a:gd name="T9" fmla="*/ 22 h 260"/>
                  <a:gd name="T10" fmla="*/ 254 w 256"/>
                  <a:gd name="T11" fmla="*/ 37 h 260"/>
                  <a:gd name="T12" fmla="*/ 256 w 256"/>
                  <a:gd name="T13" fmla="*/ 53 h 260"/>
                  <a:gd name="T14" fmla="*/ 256 w 256"/>
                  <a:gd name="T15" fmla="*/ 208 h 260"/>
                  <a:gd name="T16" fmla="*/ 254 w 256"/>
                  <a:gd name="T17" fmla="*/ 225 h 260"/>
                  <a:gd name="T18" fmla="*/ 246 w 256"/>
                  <a:gd name="T19" fmla="*/ 239 h 260"/>
                  <a:gd name="T20" fmla="*/ 234 w 256"/>
                  <a:gd name="T21" fmla="*/ 251 h 260"/>
                  <a:gd name="T22" fmla="*/ 219 w 256"/>
                  <a:gd name="T23" fmla="*/ 258 h 260"/>
                  <a:gd name="T24" fmla="*/ 203 w 256"/>
                  <a:gd name="T25" fmla="*/ 260 h 260"/>
                  <a:gd name="T26" fmla="*/ 54 w 256"/>
                  <a:gd name="T27" fmla="*/ 260 h 260"/>
                  <a:gd name="T28" fmla="*/ 37 w 256"/>
                  <a:gd name="T29" fmla="*/ 258 h 260"/>
                  <a:gd name="T30" fmla="*/ 23 w 256"/>
                  <a:gd name="T31" fmla="*/ 251 h 260"/>
                  <a:gd name="T32" fmla="*/ 11 w 256"/>
                  <a:gd name="T33" fmla="*/ 239 h 260"/>
                  <a:gd name="T34" fmla="*/ 3 w 256"/>
                  <a:gd name="T35" fmla="*/ 225 h 260"/>
                  <a:gd name="T36" fmla="*/ 0 w 256"/>
                  <a:gd name="T37" fmla="*/ 208 h 260"/>
                  <a:gd name="T38" fmla="*/ 0 w 256"/>
                  <a:gd name="T39" fmla="*/ 53 h 260"/>
                  <a:gd name="T40" fmla="*/ 3 w 256"/>
                  <a:gd name="T41" fmla="*/ 37 h 260"/>
                  <a:gd name="T42" fmla="*/ 11 w 256"/>
                  <a:gd name="T43" fmla="*/ 22 h 260"/>
                  <a:gd name="T44" fmla="*/ 23 w 256"/>
                  <a:gd name="T45" fmla="*/ 10 h 260"/>
                  <a:gd name="T46" fmla="*/ 37 w 256"/>
                  <a:gd name="T47" fmla="*/ 3 h 260"/>
                  <a:gd name="T48" fmla="*/ 54 w 256"/>
                  <a:gd name="T49" fmla="*/ 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0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3"/>
                    </a:lnTo>
                    <a:lnTo>
                      <a:pt x="234" y="10"/>
                    </a:lnTo>
                    <a:lnTo>
                      <a:pt x="246" y="22"/>
                    </a:lnTo>
                    <a:lnTo>
                      <a:pt x="254" y="37"/>
                    </a:lnTo>
                    <a:lnTo>
                      <a:pt x="256" y="53"/>
                    </a:lnTo>
                    <a:lnTo>
                      <a:pt x="256" y="208"/>
                    </a:lnTo>
                    <a:lnTo>
                      <a:pt x="254" y="225"/>
                    </a:lnTo>
                    <a:lnTo>
                      <a:pt x="246" y="239"/>
                    </a:lnTo>
                    <a:lnTo>
                      <a:pt x="234" y="251"/>
                    </a:lnTo>
                    <a:lnTo>
                      <a:pt x="219" y="258"/>
                    </a:lnTo>
                    <a:lnTo>
                      <a:pt x="203" y="260"/>
                    </a:lnTo>
                    <a:lnTo>
                      <a:pt x="54" y="260"/>
                    </a:lnTo>
                    <a:lnTo>
                      <a:pt x="37" y="258"/>
                    </a:lnTo>
                    <a:lnTo>
                      <a:pt x="23" y="251"/>
                    </a:lnTo>
                    <a:lnTo>
                      <a:pt x="11" y="239"/>
                    </a:lnTo>
                    <a:lnTo>
                      <a:pt x="3" y="225"/>
                    </a:lnTo>
                    <a:lnTo>
                      <a:pt x="0" y="208"/>
                    </a:lnTo>
                    <a:lnTo>
                      <a:pt x="0" y="53"/>
                    </a:lnTo>
                    <a:lnTo>
                      <a:pt x="3" y="37"/>
                    </a:lnTo>
                    <a:lnTo>
                      <a:pt x="11" y="22"/>
                    </a:lnTo>
                    <a:lnTo>
                      <a:pt x="23" y="10"/>
                    </a:lnTo>
                    <a:lnTo>
                      <a:pt x="37" y="3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Freeform 42">
                <a:extLst>
                  <a:ext uri="{FF2B5EF4-FFF2-40B4-BE49-F238E27FC236}">
                    <a16:creationId xmlns:a16="http://schemas.microsoft.com/office/drawing/2014/main" id="{F791E0D8-D97B-4A73-812E-D922EDD77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937" y="475297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2 h 261"/>
                  <a:gd name="T6" fmla="*/ 234 w 255"/>
                  <a:gd name="T7" fmla="*/ 9 h 261"/>
                  <a:gd name="T8" fmla="*/ 245 w 255"/>
                  <a:gd name="T9" fmla="*/ 21 h 261"/>
                  <a:gd name="T10" fmla="*/ 252 w 255"/>
                  <a:gd name="T11" fmla="*/ 36 h 261"/>
                  <a:gd name="T12" fmla="*/ 255 w 255"/>
                  <a:gd name="T13" fmla="*/ 52 h 261"/>
                  <a:gd name="T14" fmla="*/ 255 w 255"/>
                  <a:gd name="T15" fmla="*/ 207 h 261"/>
                  <a:gd name="T16" fmla="*/ 252 w 255"/>
                  <a:gd name="T17" fmla="*/ 224 h 261"/>
                  <a:gd name="T18" fmla="*/ 245 w 255"/>
                  <a:gd name="T19" fmla="*/ 238 h 261"/>
                  <a:gd name="T20" fmla="*/ 234 w 255"/>
                  <a:gd name="T21" fmla="*/ 250 h 261"/>
                  <a:gd name="T22" fmla="*/ 219 w 255"/>
                  <a:gd name="T23" fmla="*/ 257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7 h 261"/>
                  <a:gd name="T30" fmla="*/ 22 w 255"/>
                  <a:gd name="T31" fmla="*/ 250 h 261"/>
                  <a:gd name="T32" fmla="*/ 10 w 255"/>
                  <a:gd name="T33" fmla="*/ 238 h 261"/>
                  <a:gd name="T34" fmla="*/ 3 w 255"/>
                  <a:gd name="T35" fmla="*/ 224 h 261"/>
                  <a:gd name="T36" fmla="*/ 0 w 255"/>
                  <a:gd name="T37" fmla="*/ 207 h 261"/>
                  <a:gd name="T38" fmla="*/ 0 w 255"/>
                  <a:gd name="T39" fmla="*/ 52 h 261"/>
                  <a:gd name="T40" fmla="*/ 3 w 255"/>
                  <a:gd name="T41" fmla="*/ 36 h 261"/>
                  <a:gd name="T42" fmla="*/ 10 w 255"/>
                  <a:gd name="T43" fmla="*/ 21 h 261"/>
                  <a:gd name="T44" fmla="*/ 22 w 255"/>
                  <a:gd name="T45" fmla="*/ 9 h 261"/>
                  <a:gd name="T46" fmla="*/ 36 w 255"/>
                  <a:gd name="T47" fmla="*/ 2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2"/>
                    </a:lnTo>
                    <a:lnTo>
                      <a:pt x="234" y="9"/>
                    </a:lnTo>
                    <a:lnTo>
                      <a:pt x="245" y="21"/>
                    </a:lnTo>
                    <a:lnTo>
                      <a:pt x="252" y="36"/>
                    </a:lnTo>
                    <a:lnTo>
                      <a:pt x="255" y="52"/>
                    </a:lnTo>
                    <a:lnTo>
                      <a:pt x="255" y="207"/>
                    </a:lnTo>
                    <a:lnTo>
                      <a:pt x="252" y="224"/>
                    </a:lnTo>
                    <a:lnTo>
                      <a:pt x="245" y="238"/>
                    </a:lnTo>
                    <a:lnTo>
                      <a:pt x="234" y="250"/>
                    </a:lnTo>
                    <a:lnTo>
                      <a:pt x="219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7"/>
                    </a:lnTo>
                    <a:lnTo>
                      <a:pt x="22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2" y="9"/>
                    </a:lnTo>
                    <a:lnTo>
                      <a:pt x="36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Freeform 43">
                <a:extLst>
                  <a:ext uri="{FF2B5EF4-FFF2-40B4-BE49-F238E27FC236}">
                    <a16:creationId xmlns:a16="http://schemas.microsoft.com/office/drawing/2014/main" id="{C7F6452B-9D8C-45A8-913E-25B681D98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6300" y="4752975"/>
                <a:ext cx="404813" cy="414337"/>
              </a:xfrm>
              <a:custGeom>
                <a:avLst/>
                <a:gdLst>
                  <a:gd name="T0" fmla="*/ 53 w 255"/>
                  <a:gd name="T1" fmla="*/ 0 h 261"/>
                  <a:gd name="T2" fmla="*/ 202 w 255"/>
                  <a:gd name="T3" fmla="*/ 0 h 261"/>
                  <a:gd name="T4" fmla="*/ 219 w 255"/>
                  <a:gd name="T5" fmla="*/ 2 h 261"/>
                  <a:gd name="T6" fmla="*/ 233 w 255"/>
                  <a:gd name="T7" fmla="*/ 9 h 261"/>
                  <a:gd name="T8" fmla="*/ 244 w 255"/>
                  <a:gd name="T9" fmla="*/ 21 h 261"/>
                  <a:gd name="T10" fmla="*/ 252 w 255"/>
                  <a:gd name="T11" fmla="*/ 36 h 261"/>
                  <a:gd name="T12" fmla="*/ 255 w 255"/>
                  <a:gd name="T13" fmla="*/ 52 h 261"/>
                  <a:gd name="T14" fmla="*/ 255 w 255"/>
                  <a:gd name="T15" fmla="*/ 207 h 261"/>
                  <a:gd name="T16" fmla="*/ 252 w 255"/>
                  <a:gd name="T17" fmla="*/ 224 h 261"/>
                  <a:gd name="T18" fmla="*/ 244 w 255"/>
                  <a:gd name="T19" fmla="*/ 238 h 261"/>
                  <a:gd name="T20" fmla="*/ 233 w 255"/>
                  <a:gd name="T21" fmla="*/ 250 h 261"/>
                  <a:gd name="T22" fmla="*/ 219 w 255"/>
                  <a:gd name="T23" fmla="*/ 257 h 261"/>
                  <a:gd name="T24" fmla="*/ 202 w 255"/>
                  <a:gd name="T25" fmla="*/ 261 h 261"/>
                  <a:gd name="T26" fmla="*/ 53 w 255"/>
                  <a:gd name="T27" fmla="*/ 261 h 261"/>
                  <a:gd name="T28" fmla="*/ 36 w 255"/>
                  <a:gd name="T29" fmla="*/ 257 h 261"/>
                  <a:gd name="T30" fmla="*/ 21 w 255"/>
                  <a:gd name="T31" fmla="*/ 250 h 261"/>
                  <a:gd name="T32" fmla="*/ 10 w 255"/>
                  <a:gd name="T33" fmla="*/ 238 h 261"/>
                  <a:gd name="T34" fmla="*/ 3 w 255"/>
                  <a:gd name="T35" fmla="*/ 224 h 261"/>
                  <a:gd name="T36" fmla="*/ 0 w 255"/>
                  <a:gd name="T37" fmla="*/ 207 h 261"/>
                  <a:gd name="T38" fmla="*/ 0 w 255"/>
                  <a:gd name="T39" fmla="*/ 52 h 261"/>
                  <a:gd name="T40" fmla="*/ 3 w 255"/>
                  <a:gd name="T41" fmla="*/ 36 h 261"/>
                  <a:gd name="T42" fmla="*/ 10 w 255"/>
                  <a:gd name="T43" fmla="*/ 21 h 261"/>
                  <a:gd name="T44" fmla="*/ 21 w 255"/>
                  <a:gd name="T45" fmla="*/ 9 h 261"/>
                  <a:gd name="T46" fmla="*/ 36 w 255"/>
                  <a:gd name="T47" fmla="*/ 2 h 261"/>
                  <a:gd name="T48" fmla="*/ 53 w 255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5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19" y="2"/>
                    </a:lnTo>
                    <a:lnTo>
                      <a:pt x="233" y="9"/>
                    </a:lnTo>
                    <a:lnTo>
                      <a:pt x="244" y="21"/>
                    </a:lnTo>
                    <a:lnTo>
                      <a:pt x="252" y="36"/>
                    </a:lnTo>
                    <a:lnTo>
                      <a:pt x="255" y="52"/>
                    </a:lnTo>
                    <a:lnTo>
                      <a:pt x="255" y="207"/>
                    </a:lnTo>
                    <a:lnTo>
                      <a:pt x="252" y="224"/>
                    </a:lnTo>
                    <a:lnTo>
                      <a:pt x="244" y="238"/>
                    </a:lnTo>
                    <a:lnTo>
                      <a:pt x="233" y="250"/>
                    </a:lnTo>
                    <a:lnTo>
                      <a:pt x="219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6" y="257"/>
                    </a:lnTo>
                    <a:lnTo>
                      <a:pt x="21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1" y="9"/>
                    </a:lnTo>
                    <a:lnTo>
                      <a:pt x="36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19ADD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Freeform 44">
                <a:extLst>
                  <a:ext uri="{FF2B5EF4-FFF2-40B4-BE49-F238E27FC236}">
                    <a16:creationId xmlns:a16="http://schemas.microsoft.com/office/drawing/2014/main" id="{D92C48BA-2AE0-4EC2-A124-0F291D1FF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2075" y="4752975"/>
                <a:ext cx="406400" cy="414337"/>
              </a:xfrm>
              <a:custGeom>
                <a:avLst/>
                <a:gdLst>
                  <a:gd name="T0" fmla="*/ 53 w 256"/>
                  <a:gd name="T1" fmla="*/ 0 h 261"/>
                  <a:gd name="T2" fmla="*/ 202 w 256"/>
                  <a:gd name="T3" fmla="*/ 0 h 261"/>
                  <a:gd name="T4" fmla="*/ 220 w 256"/>
                  <a:gd name="T5" fmla="*/ 2 h 261"/>
                  <a:gd name="T6" fmla="*/ 233 w 256"/>
                  <a:gd name="T7" fmla="*/ 9 h 261"/>
                  <a:gd name="T8" fmla="*/ 245 w 256"/>
                  <a:gd name="T9" fmla="*/ 21 h 261"/>
                  <a:gd name="T10" fmla="*/ 253 w 256"/>
                  <a:gd name="T11" fmla="*/ 36 h 261"/>
                  <a:gd name="T12" fmla="*/ 256 w 256"/>
                  <a:gd name="T13" fmla="*/ 52 h 261"/>
                  <a:gd name="T14" fmla="*/ 256 w 256"/>
                  <a:gd name="T15" fmla="*/ 207 h 261"/>
                  <a:gd name="T16" fmla="*/ 253 w 256"/>
                  <a:gd name="T17" fmla="*/ 224 h 261"/>
                  <a:gd name="T18" fmla="*/ 245 w 256"/>
                  <a:gd name="T19" fmla="*/ 238 h 261"/>
                  <a:gd name="T20" fmla="*/ 233 w 256"/>
                  <a:gd name="T21" fmla="*/ 250 h 261"/>
                  <a:gd name="T22" fmla="*/ 220 w 256"/>
                  <a:gd name="T23" fmla="*/ 257 h 261"/>
                  <a:gd name="T24" fmla="*/ 202 w 256"/>
                  <a:gd name="T25" fmla="*/ 261 h 261"/>
                  <a:gd name="T26" fmla="*/ 53 w 256"/>
                  <a:gd name="T27" fmla="*/ 261 h 261"/>
                  <a:gd name="T28" fmla="*/ 37 w 256"/>
                  <a:gd name="T29" fmla="*/ 257 h 261"/>
                  <a:gd name="T30" fmla="*/ 22 w 256"/>
                  <a:gd name="T31" fmla="*/ 250 h 261"/>
                  <a:gd name="T32" fmla="*/ 10 w 256"/>
                  <a:gd name="T33" fmla="*/ 238 h 261"/>
                  <a:gd name="T34" fmla="*/ 3 w 256"/>
                  <a:gd name="T35" fmla="*/ 224 h 261"/>
                  <a:gd name="T36" fmla="*/ 0 w 256"/>
                  <a:gd name="T37" fmla="*/ 207 h 261"/>
                  <a:gd name="T38" fmla="*/ 0 w 256"/>
                  <a:gd name="T39" fmla="*/ 52 h 261"/>
                  <a:gd name="T40" fmla="*/ 3 w 256"/>
                  <a:gd name="T41" fmla="*/ 36 h 261"/>
                  <a:gd name="T42" fmla="*/ 10 w 256"/>
                  <a:gd name="T43" fmla="*/ 21 h 261"/>
                  <a:gd name="T44" fmla="*/ 22 w 256"/>
                  <a:gd name="T45" fmla="*/ 9 h 261"/>
                  <a:gd name="T46" fmla="*/ 37 w 256"/>
                  <a:gd name="T47" fmla="*/ 2 h 261"/>
                  <a:gd name="T48" fmla="*/ 53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3" y="0"/>
                    </a:moveTo>
                    <a:lnTo>
                      <a:pt x="202" y="0"/>
                    </a:lnTo>
                    <a:lnTo>
                      <a:pt x="220" y="2"/>
                    </a:lnTo>
                    <a:lnTo>
                      <a:pt x="233" y="9"/>
                    </a:lnTo>
                    <a:lnTo>
                      <a:pt x="245" y="21"/>
                    </a:lnTo>
                    <a:lnTo>
                      <a:pt x="253" y="36"/>
                    </a:lnTo>
                    <a:lnTo>
                      <a:pt x="256" y="52"/>
                    </a:lnTo>
                    <a:lnTo>
                      <a:pt x="256" y="207"/>
                    </a:lnTo>
                    <a:lnTo>
                      <a:pt x="253" y="224"/>
                    </a:lnTo>
                    <a:lnTo>
                      <a:pt x="245" y="238"/>
                    </a:lnTo>
                    <a:lnTo>
                      <a:pt x="233" y="250"/>
                    </a:lnTo>
                    <a:lnTo>
                      <a:pt x="220" y="257"/>
                    </a:lnTo>
                    <a:lnTo>
                      <a:pt x="202" y="261"/>
                    </a:lnTo>
                    <a:lnTo>
                      <a:pt x="53" y="261"/>
                    </a:lnTo>
                    <a:lnTo>
                      <a:pt x="37" y="257"/>
                    </a:lnTo>
                    <a:lnTo>
                      <a:pt x="22" y="250"/>
                    </a:lnTo>
                    <a:lnTo>
                      <a:pt x="10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0" y="21"/>
                    </a:lnTo>
                    <a:lnTo>
                      <a:pt x="22" y="9"/>
                    </a:lnTo>
                    <a:lnTo>
                      <a:pt x="37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Freeform 45">
                <a:extLst>
                  <a:ext uri="{FF2B5EF4-FFF2-40B4-BE49-F238E27FC236}">
                    <a16:creationId xmlns:a16="http://schemas.microsoft.com/office/drawing/2014/main" id="{FDBC34BA-C0AA-4B09-BC78-9B6D5DD17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4752975"/>
                <a:ext cx="406400" cy="414337"/>
              </a:xfrm>
              <a:custGeom>
                <a:avLst/>
                <a:gdLst>
                  <a:gd name="T0" fmla="*/ 54 w 256"/>
                  <a:gd name="T1" fmla="*/ 0 h 261"/>
                  <a:gd name="T2" fmla="*/ 203 w 256"/>
                  <a:gd name="T3" fmla="*/ 0 h 261"/>
                  <a:gd name="T4" fmla="*/ 219 w 256"/>
                  <a:gd name="T5" fmla="*/ 2 h 261"/>
                  <a:gd name="T6" fmla="*/ 234 w 256"/>
                  <a:gd name="T7" fmla="*/ 9 h 261"/>
                  <a:gd name="T8" fmla="*/ 246 w 256"/>
                  <a:gd name="T9" fmla="*/ 21 h 261"/>
                  <a:gd name="T10" fmla="*/ 254 w 256"/>
                  <a:gd name="T11" fmla="*/ 36 h 261"/>
                  <a:gd name="T12" fmla="*/ 256 w 256"/>
                  <a:gd name="T13" fmla="*/ 52 h 261"/>
                  <a:gd name="T14" fmla="*/ 256 w 256"/>
                  <a:gd name="T15" fmla="*/ 207 h 261"/>
                  <a:gd name="T16" fmla="*/ 254 w 256"/>
                  <a:gd name="T17" fmla="*/ 224 h 261"/>
                  <a:gd name="T18" fmla="*/ 246 w 256"/>
                  <a:gd name="T19" fmla="*/ 238 h 261"/>
                  <a:gd name="T20" fmla="*/ 234 w 256"/>
                  <a:gd name="T21" fmla="*/ 250 h 261"/>
                  <a:gd name="T22" fmla="*/ 219 w 256"/>
                  <a:gd name="T23" fmla="*/ 257 h 261"/>
                  <a:gd name="T24" fmla="*/ 203 w 256"/>
                  <a:gd name="T25" fmla="*/ 261 h 261"/>
                  <a:gd name="T26" fmla="*/ 54 w 256"/>
                  <a:gd name="T27" fmla="*/ 261 h 261"/>
                  <a:gd name="T28" fmla="*/ 37 w 256"/>
                  <a:gd name="T29" fmla="*/ 257 h 261"/>
                  <a:gd name="T30" fmla="*/ 23 w 256"/>
                  <a:gd name="T31" fmla="*/ 250 h 261"/>
                  <a:gd name="T32" fmla="*/ 11 w 256"/>
                  <a:gd name="T33" fmla="*/ 238 h 261"/>
                  <a:gd name="T34" fmla="*/ 3 w 256"/>
                  <a:gd name="T35" fmla="*/ 224 h 261"/>
                  <a:gd name="T36" fmla="*/ 0 w 256"/>
                  <a:gd name="T37" fmla="*/ 207 h 261"/>
                  <a:gd name="T38" fmla="*/ 0 w 256"/>
                  <a:gd name="T39" fmla="*/ 52 h 261"/>
                  <a:gd name="T40" fmla="*/ 3 w 256"/>
                  <a:gd name="T41" fmla="*/ 36 h 261"/>
                  <a:gd name="T42" fmla="*/ 11 w 256"/>
                  <a:gd name="T43" fmla="*/ 21 h 261"/>
                  <a:gd name="T44" fmla="*/ 23 w 256"/>
                  <a:gd name="T45" fmla="*/ 9 h 261"/>
                  <a:gd name="T46" fmla="*/ 37 w 256"/>
                  <a:gd name="T47" fmla="*/ 2 h 261"/>
                  <a:gd name="T48" fmla="*/ 54 w 256"/>
                  <a:gd name="T49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261">
                    <a:moveTo>
                      <a:pt x="54" y="0"/>
                    </a:moveTo>
                    <a:lnTo>
                      <a:pt x="203" y="0"/>
                    </a:lnTo>
                    <a:lnTo>
                      <a:pt x="219" y="2"/>
                    </a:lnTo>
                    <a:lnTo>
                      <a:pt x="234" y="9"/>
                    </a:lnTo>
                    <a:lnTo>
                      <a:pt x="246" y="21"/>
                    </a:lnTo>
                    <a:lnTo>
                      <a:pt x="254" y="36"/>
                    </a:lnTo>
                    <a:lnTo>
                      <a:pt x="256" y="52"/>
                    </a:lnTo>
                    <a:lnTo>
                      <a:pt x="256" y="207"/>
                    </a:lnTo>
                    <a:lnTo>
                      <a:pt x="254" y="224"/>
                    </a:lnTo>
                    <a:lnTo>
                      <a:pt x="246" y="238"/>
                    </a:lnTo>
                    <a:lnTo>
                      <a:pt x="234" y="250"/>
                    </a:lnTo>
                    <a:lnTo>
                      <a:pt x="219" y="257"/>
                    </a:lnTo>
                    <a:lnTo>
                      <a:pt x="203" y="261"/>
                    </a:lnTo>
                    <a:lnTo>
                      <a:pt x="54" y="261"/>
                    </a:lnTo>
                    <a:lnTo>
                      <a:pt x="37" y="257"/>
                    </a:lnTo>
                    <a:lnTo>
                      <a:pt x="23" y="250"/>
                    </a:lnTo>
                    <a:lnTo>
                      <a:pt x="11" y="238"/>
                    </a:lnTo>
                    <a:lnTo>
                      <a:pt x="3" y="224"/>
                    </a:lnTo>
                    <a:lnTo>
                      <a:pt x="0" y="207"/>
                    </a:lnTo>
                    <a:lnTo>
                      <a:pt x="0" y="52"/>
                    </a:lnTo>
                    <a:lnTo>
                      <a:pt x="3" y="36"/>
                    </a:lnTo>
                    <a:lnTo>
                      <a:pt x="11" y="21"/>
                    </a:lnTo>
                    <a:lnTo>
                      <a:pt x="23" y="9"/>
                    </a:lnTo>
                    <a:lnTo>
                      <a:pt x="37" y="2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Freeform 46">
                <a:extLst>
                  <a:ext uri="{FF2B5EF4-FFF2-40B4-BE49-F238E27FC236}">
                    <a16:creationId xmlns:a16="http://schemas.microsoft.com/office/drawing/2014/main" id="{AE0450ED-6723-4081-8AD5-E8D7B6112C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47075" y="2932113"/>
                <a:ext cx="166688" cy="231775"/>
              </a:xfrm>
              <a:custGeom>
                <a:avLst/>
                <a:gdLst>
                  <a:gd name="T0" fmla="*/ 53 w 105"/>
                  <a:gd name="T1" fmla="*/ 11 h 146"/>
                  <a:gd name="T2" fmla="*/ 45 w 105"/>
                  <a:gd name="T3" fmla="*/ 17 h 146"/>
                  <a:gd name="T4" fmla="*/ 17 w 105"/>
                  <a:gd name="T5" fmla="*/ 17 h 146"/>
                  <a:gd name="T6" fmla="*/ 17 w 105"/>
                  <a:gd name="T7" fmla="*/ 66 h 146"/>
                  <a:gd name="T8" fmla="*/ 11 w 105"/>
                  <a:gd name="T9" fmla="*/ 73 h 146"/>
                  <a:gd name="T10" fmla="*/ 17 w 105"/>
                  <a:gd name="T11" fmla="*/ 81 h 146"/>
                  <a:gd name="T12" fmla="*/ 17 w 105"/>
                  <a:gd name="T13" fmla="*/ 107 h 146"/>
                  <a:gd name="T14" fmla="*/ 38 w 105"/>
                  <a:gd name="T15" fmla="*/ 78 h 146"/>
                  <a:gd name="T16" fmla="*/ 47 w 105"/>
                  <a:gd name="T17" fmla="*/ 78 h 146"/>
                  <a:gd name="T18" fmla="*/ 47 w 105"/>
                  <a:gd name="T19" fmla="*/ 94 h 146"/>
                  <a:gd name="T20" fmla="*/ 24 w 105"/>
                  <a:gd name="T21" fmla="*/ 129 h 146"/>
                  <a:gd name="T22" fmla="*/ 45 w 105"/>
                  <a:gd name="T23" fmla="*/ 129 h 146"/>
                  <a:gd name="T24" fmla="*/ 53 w 105"/>
                  <a:gd name="T25" fmla="*/ 135 h 146"/>
                  <a:gd name="T26" fmla="*/ 53 w 105"/>
                  <a:gd name="T27" fmla="*/ 135 h 146"/>
                  <a:gd name="T28" fmla="*/ 60 w 105"/>
                  <a:gd name="T29" fmla="*/ 129 h 146"/>
                  <a:gd name="T30" fmla="*/ 87 w 105"/>
                  <a:gd name="T31" fmla="*/ 129 h 146"/>
                  <a:gd name="T32" fmla="*/ 87 w 105"/>
                  <a:gd name="T33" fmla="*/ 81 h 146"/>
                  <a:gd name="T34" fmla="*/ 93 w 105"/>
                  <a:gd name="T35" fmla="*/ 73 h 146"/>
                  <a:gd name="T36" fmla="*/ 87 w 105"/>
                  <a:gd name="T37" fmla="*/ 66 h 146"/>
                  <a:gd name="T38" fmla="*/ 87 w 105"/>
                  <a:gd name="T39" fmla="*/ 39 h 146"/>
                  <a:gd name="T40" fmla="*/ 68 w 105"/>
                  <a:gd name="T41" fmla="*/ 68 h 146"/>
                  <a:gd name="T42" fmla="*/ 58 w 105"/>
                  <a:gd name="T43" fmla="*/ 68 h 146"/>
                  <a:gd name="T44" fmla="*/ 58 w 105"/>
                  <a:gd name="T45" fmla="*/ 52 h 146"/>
                  <a:gd name="T46" fmla="*/ 80 w 105"/>
                  <a:gd name="T47" fmla="*/ 17 h 146"/>
                  <a:gd name="T48" fmla="*/ 60 w 105"/>
                  <a:gd name="T49" fmla="*/ 17 h 146"/>
                  <a:gd name="T50" fmla="*/ 53 w 105"/>
                  <a:gd name="T51" fmla="*/ 11 h 146"/>
                  <a:gd name="T52" fmla="*/ 53 w 105"/>
                  <a:gd name="T53" fmla="*/ 11 h 146"/>
                  <a:gd name="T54" fmla="*/ 16 w 105"/>
                  <a:gd name="T55" fmla="*/ 0 h 146"/>
                  <a:gd name="T56" fmla="*/ 45 w 105"/>
                  <a:gd name="T57" fmla="*/ 0 h 146"/>
                  <a:gd name="T58" fmla="*/ 53 w 105"/>
                  <a:gd name="T59" fmla="*/ 7 h 146"/>
                  <a:gd name="T60" fmla="*/ 53 w 105"/>
                  <a:gd name="T61" fmla="*/ 7 h 146"/>
                  <a:gd name="T62" fmla="*/ 60 w 105"/>
                  <a:gd name="T63" fmla="*/ 0 h 146"/>
                  <a:gd name="T64" fmla="*/ 89 w 105"/>
                  <a:gd name="T65" fmla="*/ 0 h 146"/>
                  <a:gd name="T66" fmla="*/ 98 w 105"/>
                  <a:gd name="T67" fmla="*/ 9 h 146"/>
                  <a:gd name="T68" fmla="*/ 98 w 105"/>
                  <a:gd name="T69" fmla="*/ 9 h 146"/>
                  <a:gd name="T70" fmla="*/ 105 w 105"/>
                  <a:gd name="T71" fmla="*/ 16 h 146"/>
                  <a:gd name="T72" fmla="*/ 105 w 105"/>
                  <a:gd name="T73" fmla="*/ 66 h 146"/>
                  <a:gd name="T74" fmla="*/ 98 w 105"/>
                  <a:gd name="T75" fmla="*/ 73 h 146"/>
                  <a:gd name="T76" fmla="*/ 105 w 105"/>
                  <a:gd name="T77" fmla="*/ 81 h 146"/>
                  <a:gd name="T78" fmla="*/ 105 w 105"/>
                  <a:gd name="T79" fmla="*/ 130 h 146"/>
                  <a:gd name="T80" fmla="*/ 96 w 105"/>
                  <a:gd name="T81" fmla="*/ 139 h 146"/>
                  <a:gd name="T82" fmla="*/ 95 w 105"/>
                  <a:gd name="T83" fmla="*/ 139 h 146"/>
                  <a:gd name="T84" fmla="*/ 89 w 105"/>
                  <a:gd name="T85" fmla="*/ 146 h 146"/>
                  <a:gd name="T86" fmla="*/ 60 w 105"/>
                  <a:gd name="T87" fmla="*/ 146 h 146"/>
                  <a:gd name="T88" fmla="*/ 53 w 105"/>
                  <a:gd name="T89" fmla="*/ 139 h 146"/>
                  <a:gd name="T90" fmla="*/ 53 w 105"/>
                  <a:gd name="T91" fmla="*/ 139 h 146"/>
                  <a:gd name="T92" fmla="*/ 45 w 105"/>
                  <a:gd name="T93" fmla="*/ 146 h 146"/>
                  <a:gd name="T94" fmla="*/ 16 w 105"/>
                  <a:gd name="T95" fmla="*/ 146 h 146"/>
                  <a:gd name="T96" fmla="*/ 7 w 105"/>
                  <a:gd name="T97" fmla="*/ 137 h 146"/>
                  <a:gd name="T98" fmla="*/ 7 w 105"/>
                  <a:gd name="T99" fmla="*/ 137 h 146"/>
                  <a:gd name="T100" fmla="*/ 0 w 105"/>
                  <a:gd name="T101" fmla="*/ 130 h 146"/>
                  <a:gd name="T102" fmla="*/ 0 w 105"/>
                  <a:gd name="T103" fmla="*/ 81 h 146"/>
                  <a:gd name="T104" fmla="*/ 7 w 105"/>
                  <a:gd name="T105" fmla="*/ 73 h 146"/>
                  <a:gd name="T106" fmla="*/ 0 w 105"/>
                  <a:gd name="T107" fmla="*/ 66 h 146"/>
                  <a:gd name="T108" fmla="*/ 0 w 105"/>
                  <a:gd name="T109" fmla="*/ 16 h 146"/>
                  <a:gd name="T110" fmla="*/ 9 w 105"/>
                  <a:gd name="T111" fmla="*/ 7 h 146"/>
                  <a:gd name="T112" fmla="*/ 9 w 105"/>
                  <a:gd name="T113" fmla="*/ 7 h 146"/>
                  <a:gd name="T114" fmla="*/ 16 w 105"/>
                  <a:gd name="T115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5" h="146">
                    <a:moveTo>
                      <a:pt x="53" y="11"/>
                    </a:moveTo>
                    <a:lnTo>
                      <a:pt x="45" y="17"/>
                    </a:lnTo>
                    <a:lnTo>
                      <a:pt x="17" y="17"/>
                    </a:lnTo>
                    <a:lnTo>
                      <a:pt x="17" y="66"/>
                    </a:lnTo>
                    <a:lnTo>
                      <a:pt x="11" y="73"/>
                    </a:lnTo>
                    <a:lnTo>
                      <a:pt x="17" y="81"/>
                    </a:lnTo>
                    <a:lnTo>
                      <a:pt x="17" y="107"/>
                    </a:lnTo>
                    <a:lnTo>
                      <a:pt x="38" y="78"/>
                    </a:lnTo>
                    <a:lnTo>
                      <a:pt x="47" y="78"/>
                    </a:lnTo>
                    <a:lnTo>
                      <a:pt x="47" y="94"/>
                    </a:lnTo>
                    <a:lnTo>
                      <a:pt x="24" y="129"/>
                    </a:lnTo>
                    <a:lnTo>
                      <a:pt x="45" y="129"/>
                    </a:lnTo>
                    <a:lnTo>
                      <a:pt x="53" y="135"/>
                    </a:lnTo>
                    <a:lnTo>
                      <a:pt x="53" y="135"/>
                    </a:lnTo>
                    <a:lnTo>
                      <a:pt x="60" y="129"/>
                    </a:lnTo>
                    <a:lnTo>
                      <a:pt x="87" y="129"/>
                    </a:lnTo>
                    <a:lnTo>
                      <a:pt x="87" y="81"/>
                    </a:lnTo>
                    <a:lnTo>
                      <a:pt x="93" y="73"/>
                    </a:lnTo>
                    <a:lnTo>
                      <a:pt x="87" y="66"/>
                    </a:lnTo>
                    <a:lnTo>
                      <a:pt x="87" y="39"/>
                    </a:lnTo>
                    <a:lnTo>
                      <a:pt x="68" y="68"/>
                    </a:lnTo>
                    <a:lnTo>
                      <a:pt x="58" y="68"/>
                    </a:lnTo>
                    <a:lnTo>
                      <a:pt x="58" y="52"/>
                    </a:lnTo>
                    <a:lnTo>
                      <a:pt x="80" y="17"/>
                    </a:lnTo>
                    <a:lnTo>
                      <a:pt x="60" y="17"/>
                    </a:lnTo>
                    <a:lnTo>
                      <a:pt x="53" y="11"/>
                    </a:lnTo>
                    <a:lnTo>
                      <a:pt x="53" y="11"/>
                    </a:lnTo>
                    <a:close/>
                    <a:moveTo>
                      <a:pt x="16" y="0"/>
                    </a:moveTo>
                    <a:lnTo>
                      <a:pt x="45" y="0"/>
                    </a:lnTo>
                    <a:lnTo>
                      <a:pt x="53" y="7"/>
                    </a:lnTo>
                    <a:lnTo>
                      <a:pt x="53" y="7"/>
                    </a:lnTo>
                    <a:lnTo>
                      <a:pt x="60" y="0"/>
                    </a:lnTo>
                    <a:lnTo>
                      <a:pt x="89" y="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5" y="16"/>
                    </a:lnTo>
                    <a:lnTo>
                      <a:pt x="105" y="66"/>
                    </a:lnTo>
                    <a:lnTo>
                      <a:pt x="98" y="73"/>
                    </a:lnTo>
                    <a:lnTo>
                      <a:pt x="105" y="81"/>
                    </a:lnTo>
                    <a:lnTo>
                      <a:pt x="105" y="130"/>
                    </a:lnTo>
                    <a:lnTo>
                      <a:pt x="96" y="139"/>
                    </a:lnTo>
                    <a:lnTo>
                      <a:pt x="95" y="139"/>
                    </a:lnTo>
                    <a:lnTo>
                      <a:pt x="89" y="146"/>
                    </a:lnTo>
                    <a:lnTo>
                      <a:pt x="60" y="146"/>
                    </a:lnTo>
                    <a:lnTo>
                      <a:pt x="53" y="139"/>
                    </a:lnTo>
                    <a:lnTo>
                      <a:pt x="53" y="139"/>
                    </a:lnTo>
                    <a:lnTo>
                      <a:pt x="45" y="146"/>
                    </a:lnTo>
                    <a:lnTo>
                      <a:pt x="16" y="146"/>
                    </a:lnTo>
                    <a:lnTo>
                      <a:pt x="7" y="137"/>
                    </a:lnTo>
                    <a:lnTo>
                      <a:pt x="7" y="137"/>
                    </a:lnTo>
                    <a:lnTo>
                      <a:pt x="0" y="130"/>
                    </a:lnTo>
                    <a:lnTo>
                      <a:pt x="0" y="81"/>
                    </a:lnTo>
                    <a:lnTo>
                      <a:pt x="7" y="73"/>
                    </a:lnTo>
                    <a:lnTo>
                      <a:pt x="0" y="66"/>
                    </a:lnTo>
                    <a:lnTo>
                      <a:pt x="0" y="1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Freeform 47">
                <a:extLst>
                  <a:ext uri="{FF2B5EF4-FFF2-40B4-BE49-F238E27FC236}">
                    <a16:creationId xmlns:a16="http://schemas.microsoft.com/office/drawing/2014/main" id="{A851CA9E-768F-4D3F-8292-52F4324BF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8637" y="3459163"/>
                <a:ext cx="125413" cy="174625"/>
              </a:xfrm>
              <a:custGeom>
                <a:avLst/>
                <a:gdLst>
                  <a:gd name="T0" fmla="*/ 0 w 79"/>
                  <a:gd name="T1" fmla="*/ 0 h 110"/>
                  <a:gd name="T2" fmla="*/ 79 w 79"/>
                  <a:gd name="T3" fmla="*/ 0 h 110"/>
                  <a:gd name="T4" fmla="*/ 79 w 79"/>
                  <a:gd name="T5" fmla="*/ 17 h 110"/>
                  <a:gd name="T6" fmla="*/ 64 w 79"/>
                  <a:gd name="T7" fmla="*/ 37 h 110"/>
                  <a:gd name="T8" fmla="*/ 54 w 79"/>
                  <a:gd name="T9" fmla="*/ 55 h 110"/>
                  <a:gd name="T10" fmla="*/ 49 w 79"/>
                  <a:gd name="T11" fmla="*/ 76 h 110"/>
                  <a:gd name="T12" fmla="*/ 45 w 79"/>
                  <a:gd name="T13" fmla="*/ 99 h 110"/>
                  <a:gd name="T14" fmla="*/ 44 w 79"/>
                  <a:gd name="T15" fmla="*/ 110 h 110"/>
                  <a:gd name="T16" fmla="*/ 22 w 79"/>
                  <a:gd name="T17" fmla="*/ 110 h 110"/>
                  <a:gd name="T18" fmla="*/ 23 w 79"/>
                  <a:gd name="T19" fmla="*/ 99 h 110"/>
                  <a:gd name="T20" fmla="*/ 27 w 79"/>
                  <a:gd name="T21" fmla="*/ 76 h 110"/>
                  <a:gd name="T22" fmla="*/ 34 w 79"/>
                  <a:gd name="T23" fmla="*/ 54 h 110"/>
                  <a:gd name="T24" fmla="*/ 44 w 79"/>
                  <a:gd name="T25" fmla="*/ 35 h 110"/>
                  <a:gd name="T26" fmla="*/ 57 w 79"/>
                  <a:gd name="T27" fmla="*/ 17 h 110"/>
                  <a:gd name="T28" fmla="*/ 0 w 79"/>
                  <a:gd name="T29" fmla="*/ 17 h 110"/>
                  <a:gd name="T30" fmla="*/ 0 w 79"/>
                  <a:gd name="T31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110">
                    <a:moveTo>
                      <a:pt x="0" y="0"/>
                    </a:moveTo>
                    <a:lnTo>
                      <a:pt x="79" y="0"/>
                    </a:lnTo>
                    <a:lnTo>
                      <a:pt x="79" y="17"/>
                    </a:lnTo>
                    <a:lnTo>
                      <a:pt x="64" y="37"/>
                    </a:lnTo>
                    <a:lnTo>
                      <a:pt x="54" y="55"/>
                    </a:lnTo>
                    <a:lnTo>
                      <a:pt x="49" y="76"/>
                    </a:lnTo>
                    <a:lnTo>
                      <a:pt x="45" y="99"/>
                    </a:lnTo>
                    <a:lnTo>
                      <a:pt x="44" y="110"/>
                    </a:lnTo>
                    <a:lnTo>
                      <a:pt x="22" y="110"/>
                    </a:lnTo>
                    <a:lnTo>
                      <a:pt x="23" y="99"/>
                    </a:lnTo>
                    <a:lnTo>
                      <a:pt x="27" y="76"/>
                    </a:lnTo>
                    <a:lnTo>
                      <a:pt x="34" y="54"/>
                    </a:lnTo>
                    <a:lnTo>
                      <a:pt x="44" y="35"/>
                    </a:lnTo>
                    <a:lnTo>
                      <a:pt x="57" y="17"/>
                    </a:lnTo>
                    <a:lnTo>
                      <a:pt x="0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eform 48">
                <a:extLst>
                  <a:ext uri="{FF2B5EF4-FFF2-40B4-BE49-F238E27FC236}">
                    <a16:creationId xmlns:a16="http://schemas.microsoft.com/office/drawing/2014/main" id="{645B9480-8615-40E8-B44B-C8C763917B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3937" y="3452813"/>
                <a:ext cx="117475" cy="179387"/>
              </a:xfrm>
              <a:custGeom>
                <a:avLst/>
                <a:gdLst>
                  <a:gd name="T0" fmla="*/ 33 w 74"/>
                  <a:gd name="T1" fmla="*/ 65 h 113"/>
                  <a:gd name="T2" fmla="*/ 26 w 74"/>
                  <a:gd name="T3" fmla="*/ 68 h 113"/>
                  <a:gd name="T4" fmla="*/ 22 w 74"/>
                  <a:gd name="T5" fmla="*/ 75 h 113"/>
                  <a:gd name="T6" fmla="*/ 22 w 74"/>
                  <a:gd name="T7" fmla="*/ 85 h 113"/>
                  <a:gd name="T8" fmla="*/ 26 w 74"/>
                  <a:gd name="T9" fmla="*/ 93 h 113"/>
                  <a:gd name="T10" fmla="*/ 33 w 74"/>
                  <a:gd name="T11" fmla="*/ 96 h 113"/>
                  <a:gd name="T12" fmla="*/ 37 w 74"/>
                  <a:gd name="T13" fmla="*/ 97 h 113"/>
                  <a:gd name="T14" fmla="*/ 46 w 74"/>
                  <a:gd name="T15" fmla="*/ 95 h 113"/>
                  <a:gd name="T16" fmla="*/ 51 w 74"/>
                  <a:gd name="T17" fmla="*/ 88 h 113"/>
                  <a:gd name="T18" fmla="*/ 53 w 74"/>
                  <a:gd name="T19" fmla="*/ 80 h 113"/>
                  <a:gd name="T20" fmla="*/ 51 w 74"/>
                  <a:gd name="T21" fmla="*/ 71 h 113"/>
                  <a:gd name="T22" fmla="*/ 46 w 74"/>
                  <a:gd name="T23" fmla="*/ 66 h 113"/>
                  <a:gd name="T24" fmla="*/ 37 w 74"/>
                  <a:gd name="T25" fmla="*/ 64 h 113"/>
                  <a:gd name="T26" fmla="*/ 37 w 74"/>
                  <a:gd name="T27" fmla="*/ 17 h 113"/>
                  <a:gd name="T28" fmla="*/ 31 w 74"/>
                  <a:gd name="T29" fmla="*/ 19 h 113"/>
                  <a:gd name="T30" fmla="*/ 26 w 74"/>
                  <a:gd name="T31" fmla="*/ 24 h 113"/>
                  <a:gd name="T32" fmla="*/ 24 w 74"/>
                  <a:gd name="T33" fmla="*/ 32 h 113"/>
                  <a:gd name="T34" fmla="*/ 26 w 74"/>
                  <a:gd name="T35" fmla="*/ 40 h 113"/>
                  <a:gd name="T36" fmla="*/ 31 w 74"/>
                  <a:gd name="T37" fmla="*/ 44 h 113"/>
                  <a:gd name="T38" fmla="*/ 37 w 74"/>
                  <a:gd name="T39" fmla="*/ 47 h 113"/>
                  <a:gd name="T40" fmla="*/ 41 w 74"/>
                  <a:gd name="T41" fmla="*/ 47 h 113"/>
                  <a:gd name="T42" fmla="*/ 47 w 74"/>
                  <a:gd name="T43" fmla="*/ 42 h 113"/>
                  <a:gd name="T44" fmla="*/ 50 w 74"/>
                  <a:gd name="T45" fmla="*/ 36 h 113"/>
                  <a:gd name="T46" fmla="*/ 50 w 74"/>
                  <a:gd name="T47" fmla="*/ 27 h 113"/>
                  <a:gd name="T48" fmla="*/ 47 w 74"/>
                  <a:gd name="T49" fmla="*/ 21 h 113"/>
                  <a:gd name="T50" fmla="*/ 41 w 74"/>
                  <a:gd name="T51" fmla="*/ 18 h 113"/>
                  <a:gd name="T52" fmla="*/ 37 w 74"/>
                  <a:gd name="T53" fmla="*/ 17 h 113"/>
                  <a:gd name="T54" fmla="*/ 37 w 74"/>
                  <a:gd name="T55" fmla="*/ 0 h 113"/>
                  <a:gd name="T56" fmla="*/ 63 w 74"/>
                  <a:gd name="T57" fmla="*/ 8 h 113"/>
                  <a:gd name="T58" fmla="*/ 72 w 74"/>
                  <a:gd name="T59" fmla="*/ 31 h 113"/>
                  <a:gd name="T60" fmla="*/ 70 w 74"/>
                  <a:gd name="T61" fmla="*/ 41 h 113"/>
                  <a:gd name="T62" fmla="*/ 65 w 74"/>
                  <a:gd name="T63" fmla="*/ 50 h 113"/>
                  <a:gd name="T64" fmla="*/ 56 w 74"/>
                  <a:gd name="T65" fmla="*/ 55 h 113"/>
                  <a:gd name="T66" fmla="*/ 66 w 74"/>
                  <a:gd name="T67" fmla="*/ 62 h 113"/>
                  <a:gd name="T68" fmla="*/ 72 w 74"/>
                  <a:gd name="T69" fmla="*/ 71 h 113"/>
                  <a:gd name="T70" fmla="*/ 74 w 74"/>
                  <a:gd name="T71" fmla="*/ 82 h 113"/>
                  <a:gd name="T72" fmla="*/ 70 w 74"/>
                  <a:gd name="T73" fmla="*/ 99 h 113"/>
                  <a:gd name="T74" fmla="*/ 53 w 74"/>
                  <a:gd name="T75" fmla="*/ 112 h 113"/>
                  <a:gd name="T76" fmla="*/ 37 w 74"/>
                  <a:gd name="T77" fmla="*/ 113 h 113"/>
                  <a:gd name="T78" fmla="*/ 10 w 74"/>
                  <a:gd name="T79" fmla="*/ 105 h 113"/>
                  <a:gd name="T80" fmla="*/ 1 w 74"/>
                  <a:gd name="T81" fmla="*/ 91 h 113"/>
                  <a:gd name="T82" fmla="*/ 1 w 74"/>
                  <a:gd name="T83" fmla="*/ 75 h 113"/>
                  <a:gd name="T84" fmla="*/ 5 w 74"/>
                  <a:gd name="T85" fmla="*/ 66 h 113"/>
                  <a:gd name="T86" fmla="*/ 13 w 74"/>
                  <a:gd name="T87" fmla="*/ 58 h 113"/>
                  <a:gd name="T88" fmla="*/ 13 w 74"/>
                  <a:gd name="T89" fmla="*/ 53 h 113"/>
                  <a:gd name="T90" fmla="*/ 7 w 74"/>
                  <a:gd name="T91" fmla="*/ 46 h 113"/>
                  <a:gd name="T92" fmla="*/ 3 w 74"/>
                  <a:gd name="T93" fmla="*/ 36 h 113"/>
                  <a:gd name="T94" fmla="*/ 5 w 74"/>
                  <a:gd name="T95" fmla="*/ 18 h 113"/>
                  <a:gd name="T96" fmla="*/ 23 w 74"/>
                  <a:gd name="T97" fmla="*/ 2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4" h="113">
                    <a:moveTo>
                      <a:pt x="37" y="64"/>
                    </a:moveTo>
                    <a:lnTo>
                      <a:pt x="33" y="65"/>
                    </a:lnTo>
                    <a:lnTo>
                      <a:pt x="30" y="66"/>
                    </a:lnTo>
                    <a:lnTo>
                      <a:pt x="26" y="68"/>
                    </a:lnTo>
                    <a:lnTo>
                      <a:pt x="24" y="71"/>
                    </a:lnTo>
                    <a:lnTo>
                      <a:pt x="22" y="75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4" y="89"/>
                    </a:lnTo>
                    <a:lnTo>
                      <a:pt x="26" y="93"/>
                    </a:lnTo>
                    <a:lnTo>
                      <a:pt x="30" y="95"/>
                    </a:lnTo>
                    <a:lnTo>
                      <a:pt x="33" y="96"/>
                    </a:lnTo>
                    <a:lnTo>
                      <a:pt x="37" y="97"/>
                    </a:lnTo>
                    <a:lnTo>
                      <a:pt x="37" y="97"/>
                    </a:lnTo>
                    <a:lnTo>
                      <a:pt x="41" y="96"/>
                    </a:lnTo>
                    <a:lnTo>
                      <a:pt x="46" y="95"/>
                    </a:lnTo>
                    <a:lnTo>
                      <a:pt x="49" y="93"/>
                    </a:lnTo>
                    <a:lnTo>
                      <a:pt x="51" y="88"/>
                    </a:lnTo>
                    <a:lnTo>
                      <a:pt x="52" y="85"/>
                    </a:lnTo>
                    <a:lnTo>
                      <a:pt x="53" y="80"/>
                    </a:lnTo>
                    <a:lnTo>
                      <a:pt x="52" y="75"/>
                    </a:lnTo>
                    <a:lnTo>
                      <a:pt x="51" y="71"/>
                    </a:lnTo>
                    <a:lnTo>
                      <a:pt x="49" y="68"/>
                    </a:lnTo>
                    <a:lnTo>
                      <a:pt x="46" y="66"/>
                    </a:lnTo>
                    <a:lnTo>
                      <a:pt x="41" y="65"/>
                    </a:lnTo>
                    <a:lnTo>
                      <a:pt x="37" y="64"/>
                    </a:lnTo>
                    <a:lnTo>
                      <a:pt x="37" y="64"/>
                    </a:lnTo>
                    <a:close/>
                    <a:moveTo>
                      <a:pt x="37" y="17"/>
                    </a:moveTo>
                    <a:lnTo>
                      <a:pt x="34" y="18"/>
                    </a:lnTo>
                    <a:lnTo>
                      <a:pt x="31" y="19"/>
                    </a:lnTo>
                    <a:lnTo>
                      <a:pt x="27" y="21"/>
                    </a:lnTo>
                    <a:lnTo>
                      <a:pt x="26" y="24"/>
                    </a:lnTo>
                    <a:lnTo>
                      <a:pt x="25" y="27"/>
                    </a:lnTo>
                    <a:lnTo>
                      <a:pt x="24" y="32"/>
                    </a:lnTo>
                    <a:lnTo>
                      <a:pt x="25" y="36"/>
                    </a:lnTo>
                    <a:lnTo>
                      <a:pt x="26" y="40"/>
                    </a:lnTo>
                    <a:lnTo>
                      <a:pt x="27" y="42"/>
                    </a:lnTo>
                    <a:lnTo>
                      <a:pt x="31" y="44"/>
                    </a:lnTo>
                    <a:lnTo>
                      <a:pt x="34" y="47"/>
                    </a:lnTo>
                    <a:lnTo>
                      <a:pt x="37" y="47"/>
                    </a:lnTo>
                    <a:lnTo>
                      <a:pt x="37" y="47"/>
                    </a:lnTo>
                    <a:lnTo>
                      <a:pt x="41" y="47"/>
                    </a:lnTo>
                    <a:lnTo>
                      <a:pt x="44" y="44"/>
                    </a:lnTo>
                    <a:lnTo>
                      <a:pt x="47" y="42"/>
                    </a:lnTo>
                    <a:lnTo>
                      <a:pt x="49" y="40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0" y="27"/>
                    </a:lnTo>
                    <a:lnTo>
                      <a:pt x="49" y="24"/>
                    </a:lnTo>
                    <a:lnTo>
                      <a:pt x="47" y="21"/>
                    </a:lnTo>
                    <a:lnTo>
                      <a:pt x="44" y="19"/>
                    </a:lnTo>
                    <a:lnTo>
                      <a:pt x="41" y="18"/>
                    </a:lnTo>
                    <a:lnTo>
                      <a:pt x="37" y="17"/>
                    </a:lnTo>
                    <a:lnTo>
                      <a:pt x="37" y="17"/>
                    </a:lnTo>
                    <a:close/>
                    <a:moveTo>
                      <a:pt x="37" y="0"/>
                    </a:moveTo>
                    <a:lnTo>
                      <a:pt x="37" y="0"/>
                    </a:lnTo>
                    <a:lnTo>
                      <a:pt x="52" y="2"/>
                    </a:lnTo>
                    <a:lnTo>
                      <a:pt x="63" y="8"/>
                    </a:lnTo>
                    <a:lnTo>
                      <a:pt x="70" y="18"/>
                    </a:lnTo>
                    <a:lnTo>
                      <a:pt x="72" y="31"/>
                    </a:lnTo>
                    <a:lnTo>
                      <a:pt x="72" y="36"/>
                    </a:lnTo>
                    <a:lnTo>
                      <a:pt x="70" y="41"/>
                    </a:lnTo>
                    <a:lnTo>
                      <a:pt x="68" y="46"/>
                    </a:lnTo>
                    <a:lnTo>
                      <a:pt x="65" y="50"/>
                    </a:lnTo>
                    <a:lnTo>
                      <a:pt x="61" y="53"/>
                    </a:lnTo>
                    <a:lnTo>
                      <a:pt x="56" y="55"/>
                    </a:lnTo>
                    <a:lnTo>
                      <a:pt x="62" y="58"/>
                    </a:lnTo>
                    <a:lnTo>
                      <a:pt x="66" y="62"/>
                    </a:lnTo>
                    <a:lnTo>
                      <a:pt x="70" y="66"/>
                    </a:lnTo>
                    <a:lnTo>
                      <a:pt x="72" y="71"/>
                    </a:lnTo>
                    <a:lnTo>
                      <a:pt x="74" y="75"/>
                    </a:lnTo>
                    <a:lnTo>
                      <a:pt x="74" y="82"/>
                    </a:lnTo>
                    <a:lnTo>
                      <a:pt x="73" y="91"/>
                    </a:lnTo>
                    <a:lnTo>
                      <a:pt x="70" y="99"/>
                    </a:lnTo>
                    <a:lnTo>
                      <a:pt x="65" y="105"/>
                    </a:lnTo>
                    <a:lnTo>
                      <a:pt x="53" y="112"/>
                    </a:lnTo>
                    <a:lnTo>
                      <a:pt x="37" y="113"/>
                    </a:lnTo>
                    <a:lnTo>
                      <a:pt x="37" y="113"/>
                    </a:lnTo>
                    <a:lnTo>
                      <a:pt x="22" y="112"/>
                    </a:lnTo>
                    <a:lnTo>
                      <a:pt x="10" y="105"/>
                    </a:lnTo>
                    <a:lnTo>
                      <a:pt x="4" y="99"/>
                    </a:lnTo>
                    <a:lnTo>
                      <a:pt x="1" y="91"/>
                    </a:lnTo>
                    <a:lnTo>
                      <a:pt x="0" y="82"/>
                    </a:lnTo>
                    <a:lnTo>
                      <a:pt x="1" y="75"/>
                    </a:lnTo>
                    <a:lnTo>
                      <a:pt x="2" y="71"/>
                    </a:lnTo>
                    <a:lnTo>
                      <a:pt x="5" y="66"/>
                    </a:lnTo>
                    <a:lnTo>
                      <a:pt x="8" y="62"/>
                    </a:lnTo>
                    <a:lnTo>
                      <a:pt x="13" y="58"/>
                    </a:lnTo>
                    <a:lnTo>
                      <a:pt x="19" y="55"/>
                    </a:lnTo>
                    <a:lnTo>
                      <a:pt x="13" y="53"/>
                    </a:lnTo>
                    <a:lnTo>
                      <a:pt x="10" y="50"/>
                    </a:lnTo>
                    <a:lnTo>
                      <a:pt x="7" y="46"/>
                    </a:lnTo>
                    <a:lnTo>
                      <a:pt x="4" y="41"/>
                    </a:lnTo>
                    <a:lnTo>
                      <a:pt x="3" y="36"/>
                    </a:lnTo>
                    <a:lnTo>
                      <a:pt x="3" y="31"/>
                    </a:lnTo>
                    <a:lnTo>
                      <a:pt x="5" y="18"/>
                    </a:lnTo>
                    <a:lnTo>
                      <a:pt x="12" y="8"/>
                    </a:lnTo>
                    <a:lnTo>
                      <a:pt x="23" y="2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Freeform 49">
                <a:extLst>
                  <a:ext uri="{FF2B5EF4-FFF2-40B4-BE49-F238E27FC236}">
                    <a16:creationId xmlns:a16="http://schemas.microsoft.com/office/drawing/2014/main" id="{972027FF-741A-44F2-A644-18FE2F04E8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58125" y="3452813"/>
                <a:ext cx="119063" cy="179387"/>
              </a:xfrm>
              <a:custGeom>
                <a:avLst/>
                <a:gdLst>
                  <a:gd name="T0" fmla="*/ 33 w 75"/>
                  <a:gd name="T1" fmla="*/ 18 h 113"/>
                  <a:gd name="T2" fmla="*/ 27 w 75"/>
                  <a:gd name="T3" fmla="*/ 23 h 113"/>
                  <a:gd name="T4" fmla="*/ 23 w 75"/>
                  <a:gd name="T5" fmla="*/ 33 h 113"/>
                  <a:gd name="T6" fmla="*/ 23 w 75"/>
                  <a:gd name="T7" fmla="*/ 44 h 113"/>
                  <a:gd name="T8" fmla="*/ 26 w 75"/>
                  <a:gd name="T9" fmla="*/ 54 h 113"/>
                  <a:gd name="T10" fmla="*/ 33 w 75"/>
                  <a:gd name="T11" fmla="*/ 58 h 113"/>
                  <a:gd name="T12" fmla="*/ 38 w 75"/>
                  <a:gd name="T13" fmla="*/ 59 h 113"/>
                  <a:gd name="T14" fmla="*/ 46 w 75"/>
                  <a:gd name="T15" fmla="*/ 57 h 113"/>
                  <a:gd name="T16" fmla="*/ 54 w 75"/>
                  <a:gd name="T17" fmla="*/ 52 h 113"/>
                  <a:gd name="T18" fmla="*/ 53 w 75"/>
                  <a:gd name="T19" fmla="*/ 31 h 113"/>
                  <a:gd name="T20" fmla="*/ 46 w 75"/>
                  <a:gd name="T21" fmla="*/ 20 h 113"/>
                  <a:gd name="T22" fmla="*/ 38 w 75"/>
                  <a:gd name="T23" fmla="*/ 17 h 113"/>
                  <a:gd name="T24" fmla="*/ 38 w 75"/>
                  <a:gd name="T25" fmla="*/ 0 h 113"/>
                  <a:gd name="T26" fmla="*/ 48 w 75"/>
                  <a:gd name="T27" fmla="*/ 2 h 113"/>
                  <a:gd name="T28" fmla="*/ 64 w 75"/>
                  <a:gd name="T29" fmla="*/ 11 h 113"/>
                  <a:gd name="T30" fmla="*/ 74 w 75"/>
                  <a:gd name="T31" fmla="*/ 32 h 113"/>
                  <a:gd name="T32" fmla="*/ 75 w 75"/>
                  <a:gd name="T33" fmla="*/ 70 h 113"/>
                  <a:gd name="T34" fmla="*/ 70 w 75"/>
                  <a:gd name="T35" fmla="*/ 94 h 113"/>
                  <a:gd name="T36" fmla="*/ 52 w 75"/>
                  <a:gd name="T37" fmla="*/ 110 h 113"/>
                  <a:gd name="T38" fmla="*/ 33 w 75"/>
                  <a:gd name="T39" fmla="*/ 113 h 113"/>
                  <a:gd name="T40" fmla="*/ 22 w 75"/>
                  <a:gd name="T41" fmla="*/ 112 h 113"/>
                  <a:gd name="T42" fmla="*/ 11 w 75"/>
                  <a:gd name="T43" fmla="*/ 109 h 113"/>
                  <a:gd name="T44" fmla="*/ 19 w 75"/>
                  <a:gd name="T45" fmla="*/ 95 h 113"/>
                  <a:gd name="T46" fmla="*/ 28 w 75"/>
                  <a:gd name="T47" fmla="*/ 96 h 113"/>
                  <a:gd name="T48" fmla="*/ 38 w 75"/>
                  <a:gd name="T49" fmla="*/ 96 h 113"/>
                  <a:gd name="T50" fmla="*/ 45 w 75"/>
                  <a:gd name="T51" fmla="*/ 93 h 113"/>
                  <a:gd name="T52" fmla="*/ 52 w 75"/>
                  <a:gd name="T53" fmla="*/ 82 h 113"/>
                  <a:gd name="T54" fmla="*/ 54 w 75"/>
                  <a:gd name="T55" fmla="*/ 66 h 113"/>
                  <a:gd name="T56" fmla="*/ 44 w 75"/>
                  <a:gd name="T57" fmla="*/ 73 h 113"/>
                  <a:gd name="T58" fmla="*/ 38 w 75"/>
                  <a:gd name="T59" fmla="*/ 75 h 113"/>
                  <a:gd name="T60" fmla="*/ 20 w 75"/>
                  <a:gd name="T61" fmla="*/ 73 h 113"/>
                  <a:gd name="T62" fmla="*/ 2 w 75"/>
                  <a:gd name="T63" fmla="*/ 54 h 113"/>
                  <a:gd name="T64" fmla="*/ 4 w 75"/>
                  <a:gd name="T65" fmla="*/ 23 h 113"/>
                  <a:gd name="T66" fmla="*/ 23 w 75"/>
                  <a:gd name="T67" fmla="*/ 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113">
                    <a:moveTo>
                      <a:pt x="38" y="17"/>
                    </a:moveTo>
                    <a:lnTo>
                      <a:pt x="33" y="18"/>
                    </a:lnTo>
                    <a:lnTo>
                      <a:pt x="30" y="20"/>
                    </a:lnTo>
                    <a:lnTo>
                      <a:pt x="27" y="23"/>
                    </a:lnTo>
                    <a:lnTo>
                      <a:pt x="25" y="27"/>
                    </a:lnTo>
                    <a:lnTo>
                      <a:pt x="23" y="33"/>
                    </a:lnTo>
                    <a:lnTo>
                      <a:pt x="23" y="38"/>
                    </a:lnTo>
                    <a:lnTo>
                      <a:pt x="23" y="44"/>
                    </a:lnTo>
                    <a:lnTo>
                      <a:pt x="24" y="50"/>
                    </a:lnTo>
                    <a:lnTo>
                      <a:pt x="26" y="54"/>
                    </a:lnTo>
                    <a:lnTo>
                      <a:pt x="29" y="57"/>
                    </a:lnTo>
                    <a:lnTo>
                      <a:pt x="33" y="58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43" y="58"/>
                    </a:lnTo>
                    <a:lnTo>
                      <a:pt x="46" y="57"/>
                    </a:lnTo>
                    <a:lnTo>
                      <a:pt x="51" y="55"/>
                    </a:lnTo>
                    <a:lnTo>
                      <a:pt x="54" y="52"/>
                    </a:lnTo>
                    <a:lnTo>
                      <a:pt x="54" y="41"/>
                    </a:lnTo>
                    <a:lnTo>
                      <a:pt x="53" y="31"/>
                    </a:lnTo>
                    <a:lnTo>
                      <a:pt x="50" y="23"/>
                    </a:lnTo>
                    <a:lnTo>
                      <a:pt x="46" y="20"/>
                    </a:lnTo>
                    <a:lnTo>
                      <a:pt x="42" y="18"/>
                    </a:lnTo>
                    <a:lnTo>
                      <a:pt x="38" y="17"/>
                    </a:lnTo>
                    <a:lnTo>
                      <a:pt x="38" y="17"/>
                    </a:lnTo>
                    <a:close/>
                    <a:moveTo>
                      <a:pt x="38" y="0"/>
                    </a:moveTo>
                    <a:lnTo>
                      <a:pt x="38" y="0"/>
                    </a:lnTo>
                    <a:lnTo>
                      <a:pt x="48" y="2"/>
                    </a:lnTo>
                    <a:lnTo>
                      <a:pt x="57" y="5"/>
                    </a:lnTo>
                    <a:lnTo>
                      <a:pt x="64" y="11"/>
                    </a:lnTo>
                    <a:lnTo>
                      <a:pt x="71" y="21"/>
                    </a:lnTo>
                    <a:lnTo>
                      <a:pt x="74" y="32"/>
                    </a:lnTo>
                    <a:lnTo>
                      <a:pt x="75" y="44"/>
                    </a:lnTo>
                    <a:lnTo>
                      <a:pt x="75" y="70"/>
                    </a:lnTo>
                    <a:lnTo>
                      <a:pt x="74" y="83"/>
                    </a:lnTo>
                    <a:lnTo>
                      <a:pt x="70" y="94"/>
                    </a:lnTo>
                    <a:lnTo>
                      <a:pt x="63" y="102"/>
                    </a:lnTo>
                    <a:lnTo>
                      <a:pt x="52" y="110"/>
                    </a:lnTo>
                    <a:lnTo>
                      <a:pt x="38" y="113"/>
                    </a:lnTo>
                    <a:lnTo>
                      <a:pt x="33" y="113"/>
                    </a:lnTo>
                    <a:lnTo>
                      <a:pt x="28" y="113"/>
                    </a:lnTo>
                    <a:lnTo>
                      <a:pt x="22" y="112"/>
                    </a:lnTo>
                    <a:lnTo>
                      <a:pt x="16" y="111"/>
                    </a:lnTo>
                    <a:lnTo>
                      <a:pt x="11" y="109"/>
                    </a:lnTo>
                    <a:lnTo>
                      <a:pt x="13" y="93"/>
                    </a:lnTo>
                    <a:lnTo>
                      <a:pt x="19" y="95"/>
                    </a:lnTo>
                    <a:lnTo>
                      <a:pt x="23" y="96"/>
                    </a:lnTo>
                    <a:lnTo>
                      <a:pt x="28" y="96"/>
                    </a:lnTo>
                    <a:lnTo>
                      <a:pt x="33" y="97"/>
                    </a:lnTo>
                    <a:lnTo>
                      <a:pt x="38" y="96"/>
                    </a:lnTo>
                    <a:lnTo>
                      <a:pt x="42" y="95"/>
                    </a:lnTo>
                    <a:lnTo>
                      <a:pt x="45" y="93"/>
                    </a:lnTo>
                    <a:lnTo>
                      <a:pt x="48" y="90"/>
                    </a:lnTo>
                    <a:lnTo>
                      <a:pt x="52" y="82"/>
                    </a:lnTo>
                    <a:lnTo>
                      <a:pt x="54" y="71"/>
                    </a:lnTo>
                    <a:lnTo>
                      <a:pt x="54" y="66"/>
                    </a:lnTo>
                    <a:lnTo>
                      <a:pt x="50" y="70"/>
                    </a:lnTo>
                    <a:lnTo>
                      <a:pt x="44" y="73"/>
                    </a:lnTo>
                    <a:lnTo>
                      <a:pt x="41" y="74"/>
                    </a:lnTo>
                    <a:lnTo>
                      <a:pt x="38" y="75"/>
                    </a:lnTo>
                    <a:lnTo>
                      <a:pt x="33" y="75"/>
                    </a:lnTo>
                    <a:lnTo>
                      <a:pt x="20" y="73"/>
                    </a:lnTo>
                    <a:lnTo>
                      <a:pt x="9" y="66"/>
                    </a:lnTo>
                    <a:lnTo>
                      <a:pt x="2" y="54"/>
                    </a:lnTo>
                    <a:lnTo>
                      <a:pt x="0" y="38"/>
                    </a:lnTo>
                    <a:lnTo>
                      <a:pt x="4" y="23"/>
                    </a:lnTo>
                    <a:lnTo>
                      <a:pt x="11" y="11"/>
                    </a:lnTo>
                    <a:lnTo>
                      <a:pt x="23" y="3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Freeform 50">
                <a:extLst>
                  <a:ext uri="{FF2B5EF4-FFF2-40B4-BE49-F238E27FC236}">
                    <a16:creationId xmlns:a16="http://schemas.microsoft.com/office/drawing/2014/main" id="{7C50E11D-0DE2-4276-AF1F-06C8124E8F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28025" y="3452813"/>
                <a:ext cx="160338" cy="179387"/>
              </a:xfrm>
              <a:custGeom>
                <a:avLst/>
                <a:gdLst>
                  <a:gd name="T0" fmla="*/ 74 w 101"/>
                  <a:gd name="T1" fmla="*/ 74 h 113"/>
                  <a:gd name="T2" fmla="*/ 70 w 101"/>
                  <a:gd name="T3" fmla="*/ 78 h 113"/>
                  <a:gd name="T4" fmla="*/ 68 w 101"/>
                  <a:gd name="T5" fmla="*/ 85 h 113"/>
                  <a:gd name="T6" fmla="*/ 68 w 101"/>
                  <a:gd name="T7" fmla="*/ 95 h 113"/>
                  <a:gd name="T8" fmla="*/ 72 w 101"/>
                  <a:gd name="T9" fmla="*/ 100 h 113"/>
                  <a:gd name="T10" fmla="*/ 76 w 101"/>
                  <a:gd name="T11" fmla="*/ 101 h 113"/>
                  <a:gd name="T12" fmla="*/ 80 w 101"/>
                  <a:gd name="T13" fmla="*/ 101 h 113"/>
                  <a:gd name="T14" fmla="*/ 84 w 101"/>
                  <a:gd name="T15" fmla="*/ 98 h 113"/>
                  <a:gd name="T16" fmla="*/ 86 w 101"/>
                  <a:gd name="T17" fmla="*/ 90 h 113"/>
                  <a:gd name="T18" fmla="*/ 85 w 101"/>
                  <a:gd name="T19" fmla="*/ 81 h 113"/>
                  <a:gd name="T20" fmla="*/ 82 w 101"/>
                  <a:gd name="T21" fmla="*/ 75 h 113"/>
                  <a:gd name="T22" fmla="*/ 76 w 101"/>
                  <a:gd name="T23" fmla="*/ 74 h 113"/>
                  <a:gd name="T24" fmla="*/ 87 w 101"/>
                  <a:gd name="T25" fmla="*/ 64 h 113"/>
                  <a:gd name="T26" fmla="*/ 97 w 101"/>
                  <a:gd name="T27" fmla="*/ 72 h 113"/>
                  <a:gd name="T28" fmla="*/ 100 w 101"/>
                  <a:gd name="T29" fmla="*/ 80 h 113"/>
                  <a:gd name="T30" fmla="*/ 101 w 101"/>
                  <a:gd name="T31" fmla="*/ 90 h 113"/>
                  <a:gd name="T32" fmla="*/ 99 w 101"/>
                  <a:gd name="T33" fmla="*/ 100 h 113"/>
                  <a:gd name="T34" fmla="*/ 95 w 101"/>
                  <a:gd name="T35" fmla="*/ 106 h 113"/>
                  <a:gd name="T36" fmla="*/ 76 w 101"/>
                  <a:gd name="T37" fmla="*/ 113 h 113"/>
                  <a:gd name="T38" fmla="*/ 67 w 101"/>
                  <a:gd name="T39" fmla="*/ 112 h 113"/>
                  <a:gd name="T40" fmla="*/ 56 w 101"/>
                  <a:gd name="T41" fmla="*/ 103 h 113"/>
                  <a:gd name="T42" fmla="*/ 53 w 101"/>
                  <a:gd name="T43" fmla="*/ 96 h 113"/>
                  <a:gd name="T44" fmla="*/ 53 w 101"/>
                  <a:gd name="T45" fmla="*/ 85 h 113"/>
                  <a:gd name="T46" fmla="*/ 55 w 101"/>
                  <a:gd name="T47" fmla="*/ 73 h 113"/>
                  <a:gd name="T48" fmla="*/ 67 w 101"/>
                  <a:gd name="T49" fmla="*/ 64 h 113"/>
                  <a:gd name="T50" fmla="*/ 24 w 101"/>
                  <a:gd name="T51" fmla="*/ 12 h 113"/>
                  <a:gd name="T52" fmla="*/ 19 w 101"/>
                  <a:gd name="T53" fmla="*/ 13 h 113"/>
                  <a:gd name="T54" fmla="*/ 15 w 101"/>
                  <a:gd name="T55" fmla="*/ 19 h 113"/>
                  <a:gd name="T56" fmla="*/ 14 w 101"/>
                  <a:gd name="T57" fmla="*/ 28 h 113"/>
                  <a:gd name="T58" fmla="*/ 17 w 101"/>
                  <a:gd name="T59" fmla="*/ 36 h 113"/>
                  <a:gd name="T60" fmla="*/ 21 w 101"/>
                  <a:gd name="T61" fmla="*/ 39 h 113"/>
                  <a:gd name="T62" fmla="*/ 24 w 101"/>
                  <a:gd name="T63" fmla="*/ 39 h 113"/>
                  <a:gd name="T64" fmla="*/ 29 w 101"/>
                  <a:gd name="T65" fmla="*/ 38 h 113"/>
                  <a:gd name="T66" fmla="*/ 33 w 101"/>
                  <a:gd name="T67" fmla="*/ 33 h 113"/>
                  <a:gd name="T68" fmla="*/ 34 w 101"/>
                  <a:gd name="T69" fmla="*/ 23 h 113"/>
                  <a:gd name="T70" fmla="*/ 30 w 101"/>
                  <a:gd name="T71" fmla="*/ 16 h 113"/>
                  <a:gd name="T72" fmla="*/ 26 w 101"/>
                  <a:gd name="T73" fmla="*/ 12 h 113"/>
                  <a:gd name="T74" fmla="*/ 24 w 101"/>
                  <a:gd name="T75" fmla="*/ 12 h 113"/>
                  <a:gd name="T76" fmla="*/ 76 w 101"/>
                  <a:gd name="T77" fmla="*/ 14 h 113"/>
                  <a:gd name="T78" fmla="*/ 76 w 101"/>
                  <a:gd name="T79" fmla="*/ 25 h 113"/>
                  <a:gd name="T80" fmla="*/ 24 w 101"/>
                  <a:gd name="T81" fmla="*/ 101 h 113"/>
                  <a:gd name="T82" fmla="*/ 24 w 101"/>
                  <a:gd name="T83" fmla="*/ 87 h 113"/>
                  <a:gd name="T84" fmla="*/ 24 w 101"/>
                  <a:gd name="T85" fmla="*/ 0 h 113"/>
                  <a:gd name="T86" fmla="*/ 34 w 101"/>
                  <a:gd name="T87" fmla="*/ 2 h 113"/>
                  <a:gd name="T88" fmla="*/ 44 w 101"/>
                  <a:gd name="T89" fmla="*/ 10 h 113"/>
                  <a:gd name="T90" fmla="*/ 48 w 101"/>
                  <a:gd name="T91" fmla="*/ 18 h 113"/>
                  <a:gd name="T92" fmla="*/ 48 w 101"/>
                  <a:gd name="T93" fmla="*/ 28 h 113"/>
                  <a:gd name="T94" fmla="*/ 46 w 101"/>
                  <a:gd name="T95" fmla="*/ 38 h 113"/>
                  <a:gd name="T96" fmla="*/ 41 w 101"/>
                  <a:gd name="T97" fmla="*/ 44 h 113"/>
                  <a:gd name="T98" fmla="*/ 24 w 101"/>
                  <a:gd name="T99" fmla="*/ 51 h 113"/>
                  <a:gd name="T100" fmla="*/ 14 w 101"/>
                  <a:gd name="T101" fmla="*/ 50 h 113"/>
                  <a:gd name="T102" fmla="*/ 4 w 101"/>
                  <a:gd name="T103" fmla="*/ 41 h 113"/>
                  <a:gd name="T104" fmla="*/ 0 w 101"/>
                  <a:gd name="T105" fmla="*/ 34 h 113"/>
                  <a:gd name="T106" fmla="*/ 0 w 101"/>
                  <a:gd name="T107" fmla="*/ 23 h 113"/>
                  <a:gd name="T108" fmla="*/ 2 w 101"/>
                  <a:gd name="T109" fmla="*/ 13 h 113"/>
                  <a:gd name="T110" fmla="*/ 6 w 101"/>
                  <a:gd name="T111" fmla="*/ 7 h 113"/>
                  <a:gd name="T112" fmla="*/ 24 w 101"/>
                  <a:gd name="T11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1" h="113">
                    <a:moveTo>
                      <a:pt x="76" y="74"/>
                    </a:moveTo>
                    <a:lnTo>
                      <a:pt x="74" y="74"/>
                    </a:lnTo>
                    <a:lnTo>
                      <a:pt x="71" y="75"/>
                    </a:lnTo>
                    <a:lnTo>
                      <a:pt x="70" y="78"/>
                    </a:lnTo>
                    <a:lnTo>
                      <a:pt x="68" y="81"/>
                    </a:lnTo>
                    <a:lnTo>
                      <a:pt x="68" y="85"/>
                    </a:lnTo>
                    <a:lnTo>
                      <a:pt x="68" y="90"/>
                    </a:lnTo>
                    <a:lnTo>
                      <a:pt x="68" y="95"/>
                    </a:lnTo>
                    <a:lnTo>
                      <a:pt x="70" y="98"/>
                    </a:lnTo>
                    <a:lnTo>
                      <a:pt x="72" y="100"/>
                    </a:lnTo>
                    <a:lnTo>
                      <a:pt x="74" y="101"/>
                    </a:lnTo>
                    <a:lnTo>
                      <a:pt x="76" y="101"/>
                    </a:lnTo>
                    <a:lnTo>
                      <a:pt x="76" y="101"/>
                    </a:lnTo>
                    <a:lnTo>
                      <a:pt x="80" y="101"/>
                    </a:lnTo>
                    <a:lnTo>
                      <a:pt x="82" y="100"/>
                    </a:lnTo>
                    <a:lnTo>
                      <a:pt x="84" y="98"/>
                    </a:lnTo>
                    <a:lnTo>
                      <a:pt x="85" y="95"/>
                    </a:lnTo>
                    <a:lnTo>
                      <a:pt x="86" y="90"/>
                    </a:lnTo>
                    <a:lnTo>
                      <a:pt x="86" y="85"/>
                    </a:lnTo>
                    <a:lnTo>
                      <a:pt x="85" y="81"/>
                    </a:lnTo>
                    <a:lnTo>
                      <a:pt x="84" y="78"/>
                    </a:lnTo>
                    <a:lnTo>
                      <a:pt x="82" y="75"/>
                    </a:lnTo>
                    <a:lnTo>
                      <a:pt x="80" y="74"/>
                    </a:lnTo>
                    <a:lnTo>
                      <a:pt x="76" y="74"/>
                    </a:lnTo>
                    <a:close/>
                    <a:moveTo>
                      <a:pt x="76" y="62"/>
                    </a:moveTo>
                    <a:lnTo>
                      <a:pt x="87" y="64"/>
                    </a:lnTo>
                    <a:lnTo>
                      <a:pt x="95" y="69"/>
                    </a:lnTo>
                    <a:lnTo>
                      <a:pt x="97" y="72"/>
                    </a:lnTo>
                    <a:lnTo>
                      <a:pt x="99" y="75"/>
                    </a:lnTo>
                    <a:lnTo>
                      <a:pt x="100" y="80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100" y="96"/>
                    </a:lnTo>
                    <a:lnTo>
                      <a:pt x="99" y="100"/>
                    </a:lnTo>
                    <a:lnTo>
                      <a:pt x="97" y="103"/>
                    </a:lnTo>
                    <a:lnTo>
                      <a:pt x="95" y="106"/>
                    </a:lnTo>
                    <a:lnTo>
                      <a:pt x="87" y="112"/>
                    </a:lnTo>
                    <a:lnTo>
                      <a:pt x="76" y="113"/>
                    </a:lnTo>
                    <a:lnTo>
                      <a:pt x="76" y="113"/>
                    </a:lnTo>
                    <a:lnTo>
                      <a:pt x="67" y="112"/>
                    </a:lnTo>
                    <a:lnTo>
                      <a:pt x="59" y="106"/>
                    </a:lnTo>
                    <a:lnTo>
                      <a:pt x="56" y="103"/>
                    </a:lnTo>
                    <a:lnTo>
                      <a:pt x="54" y="100"/>
                    </a:lnTo>
                    <a:lnTo>
                      <a:pt x="53" y="96"/>
                    </a:lnTo>
                    <a:lnTo>
                      <a:pt x="53" y="90"/>
                    </a:lnTo>
                    <a:lnTo>
                      <a:pt x="53" y="85"/>
                    </a:lnTo>
                    <a:lnTo>
                      <a:pt x="53" y="79"/>
                    </a:lnTo>
                    <a:lnTo>
                      <a:pt x="55" y="73"/>
                    </a:lnTo>
                    <a:lnTo>
                      <a:pt x="59" y="69"/>
                    </a:lnTo>
                    <a:lnTo>
                      <a:pt x="67" y="64"/>
                    </a:lnTo>
                    <a:lnTo>
                      <a:pt x="76" y="62"/>
                    </a:lnTo>
                    <a:close/>
                    <a:moveTo>
                      <a:pt x="24" y="12"/>
                    </a:moveTo>
                    <a:lnTo>
                      <a:pt x="21" y="12"/>
                    </a:lnTo>
                    <a:lnTo>
                      <a:pt x="19" y="13"/>
                    </a:lnTo>
                    <a:lnTo>
                      <a:pt x="17" y="16"/>
                    </a:lnTo>
                    <a:lnTo>
                      <a:pt x="15" y="19"/>
                    </a:lnTo>
                    <a:lnTo>
                      <a:pt x="14" y="23"/>
                    </a:lnTo>
                    <a:lnTo>
                      <a:pt x="14" y="28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9" y="38"/>
                    </a:lnTo>
                    <a:lnTo>
                      <a:pt x="21" y="39"/>
                    </a:lnTo>
                    <a:lnTo>
                      <a:pt x="24" y="39"/>
                    </a:lnTo>
                    <a:lnTo>
                      <a:pt x="24" y="39"/>
                    </a:lnTo>
                    <a:lnTo>
                      <a:pt x="27" y="39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3" y="33"/>
                    </a:lnTo>
                    <a:lnTo>
                      <a:pt x="34" y="28"/>
                    </a:lnTo>
                    <a:lnTo>
                      <a:pt x="34" y="23"/>
                    </a:lnTo>
                    <a:lnTo>
                      <a:pt x="33" y="19"/>
                    </a:lnTo>
                    <a:lnTo>
                      <a:pt x="30" y="16"/>
                    </a:lnTo>
                    <a:lnTo>
                      <a:pt x="29" y="13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close/>
                    <a:moveTo>
                      <a:pt x="71" y="11"/>
                    </a:moveTo>
                    <a:lnTo>
                      <a:pt x="76" y="14"/>
                    </a:lnTo>
                    <a:lnTo>
                      <a:pt x="82" y="18"/>
                    </a:lnTo>
                    <a:lnTo>
                      <a:pt x="76" y="25"/>
                    </a:lnTo>
                    <a:lnTo>
                      <a:pt x="27" y="103"/>
                    </a:lnTo>
                    <a:lnTo>
                      <a:pt x="24" y="101"/>
                    </a:lnTo>
                    <a:lnTo>
                      <a:pt x="17" y="98"/>
                    </a:lnTo>
                    <a:lnTo>
                      <a:pt x="24" y="87"/>
                    </a:lnTo>
                    <a:lnTo>
                      <a:pt x="71" y="11"/>
                    </a:lnTo>
                    <a:close/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1" y="6"/>
                    </a:lnTo>
                    <a:lnTo>
                      <a:pt x="44" y="10"/>
                    </a:lnTo>
                    <a:lnTo>
                      <a:pt x="46" y="13"/>
                    </a:lnTo>
                    <a:lnTo>
                      <a:pt x="48" y="18"/>
                    </a:lnTo>
                    <a:lnTo>
                      <a:pt x="48" y="23"/>
                    </a:lnTo>
                    <a:lnTo>
                      <a:pt x="48" y="28"/>
                    </a:lnTo>
                    <a:lnTo>
                      <a:pt x="48" y="34"/>
                    </a:lnTo>
                    <a:lnTo>
                      <a:pt x="46" y="38"/>
                    </a:lnTo>
                    <a:lnTo>
                      <a:pt x="44" y="41"/>
                    </a:lnTo>
                    <a:lnTo>
                      <a:pt x="41" y="44"/>
                    </a:lnTo>
                    <a:lnTo>
                      <a:pt x="34" y="50"/>
                    </a:lnTo>
                    <a:lnTo>
                      <a:pt x="24" y="51"/>
                    </a:lnTo>
                    <a:lnTo>
                      <a:pt x="24" y="51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4" y="41"/>
                    </a:lnTo>
                    <a:lnTo>
                      <a:pt x="2" y="38"/>
                    </a:lnTo>
                    <a:lnTo>
                      <a:pt x="0" y="34"/>
                    </a:lnTo>
                    <a:lnTo>
                      <a:pt x="0" y="28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4" y="10"/>
                    </a:lnTo>
                    <a:lnTo>
                      <a:pt x="6" y="7"/>
                    </a:lnTo>
                    <a:lnTo>
                      <a:pt x="13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Freeform 51">
                <a:extLst>
                  <a:ext uri="{FF2B5EF4-FFF2-40B4-BE49-F238E27FC236}">
                    <a16:creationId xmlns:a16="http://schemas.microsoft.com/office/drawing/2014/main" id="{D21CC550-15A8-453F-A71F-6595F0D69A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78637" y="3927475"/>
                <a:ext cx="128588" cy="174625"/>
              </a:xfrm>
              <a:custGeom>
                <a:avLst/>
                <a:gdLst>
                  <a:gd name="T0" fmla="*/ 45 w 81"/>
                  <a:gd name="T1" fmla="*/ 29 h 110"/>
                  <a:gd name="T2" fmla="*/ 44 w 81"/>
                  <a:gd name="T3" fmla="*/ 32 h 110"/>
                  <a:gd name="T4" fmla="*/ 34 w 81"/>
                  <a:gd name="T5" fmla="*/ 49 h 110"/>
                  <a:gd name="T6" fmla="*/ 21 w 81"/>
                  <a:gd name="T7" fmla="*/ 69 h 110"/>
                  <a:gd name="T8" fmla="*/ 46 w 81"/>
                  <a:gd name="T9" fmla="*/ 69 h 110"/>
                  <a:gd name="T10" fmla="*/ 46 w 81"/>
                  <a:gd name="T11" fmla="*/ 29 h 110"/>
                  <a:gd name="T12" fmla="*/ 45 w 81"/>
                  <a:gd name="T13" fmla="*/ 29 h 110"/>
                  <a:gd name="T14" fmla="*/ 46 w 81"/>
                  <a:gd name="T15" fmla="*/ 0 h 110"/>
                  <a:gd name="T16" fmla="*/ 69 w 81"/>
                  <a:gd name="T17" fmla="*/ 0 h 110"/>
                  <a:gd name="T18" fmla="*/ 69 w 81"/>
                  <a:gd name="T19" fmla="*/ 69 h 110"/>
                  <a:gd name="T20" fmla="*/ 81 w 81"/>
                  <a:gd name="T21" fmla="*/ 69 h 110"/>
                  <a:gd name="T22" fmla="*/ 81 w 81"/>
                  <a:gd name="T23" fmla="*/ 87 h 110"/>
                  <a:gd name="T24" fmla="*/ 69 w 81"/>
                  <a:gd name="T25" fmla="*/ 87 h 110"/>
                  <a:gd name="T26" fmla="*/ 69 w 81"/>
                  <a:gd name="T27" fmla="*/ 110 h 110"/>
                  <a:gd name="T28" fmla="*/ 46 w 81"/>
                  <a:gd name="T29" fmla="*/ 110 h 110"/>
                  <a:gd name="T30" fmla="*/ 46 w 81"/>
                  <a:gd name="T31" fmla="*/ 87 h 110"/>
                  <a:gd name="T32" fmla="*/ 2 w 81"/>
                  <a:gd name="T33" fmla="*/ 87 h 110"/>
                  <a:gd name="T34" fmla="*/ 0 w 81"/>
                  <a:gd name="T35" fmla="*/ 73 h 110"/>
                  <a:gd name="T36" fmla="*/ 34 w 81"/>
                  <a:gd name="T37" fmla="*/ 19 h 110"/>
                  <a:gd name="T38" fmla="*/ 46 w 81"/>
                  <a:gd name="T39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1" h="110">
                    <a:moveTo>
                      <a:pt x="45" y="29"/>
                    </a:moveTo>
                    <a:lnTo>
                      <a:pt x="44" y="32"/>
                    </a:lnTo>
                    <a:lnTo>
                      <a:pt x="34" y="49"/>
                    </a:lnTo>
                    <a:lnTo>
                      <a:pt x="21" y="69"/>
                    </a:lnTo>
                    <a:lnTo>
                      <a:pt x="46" y="69"/>
                    </a:lnTo>
                    <a:lnTo>
                      <a:pt x="46" y="29"/>
                    </a:lnTo>
                    <a:lnTo>
                      <a:pt x="45" y="29"/>
                    </a:lnTo>
                    <a:close/>
                    <a:moveTo>
                      <a:pt x="46" y="0"/>
                    </a:moveTo>
                    <a:lnTo>
                      <a:pt x="69" y="0"/>
                    </a:lnTo>
                    <a:lnTo>
                      <a:pt x="69" y="69"/>
                    </a:lnTo>
                    <a:lnTo>
                      <a:pt x="81" y="69"/>
                    </a:lnTo>
                    <a:lnTo>
                      <a:pt x="81" y="87"/>
                    </a:lnTo>
                    <a:lnTo>
                      <a:pt x="69" y="87"/>
                    </a:lnTo>
                    <a:lnTo>
                      <a:pt x="69" y="110"/>
                    </a:lnTo>
                    <a:lnTo>
                      <a:pt x="46" y="110"/>
                    </a:lnTo>
                    <a:lnTo>
                      <a:pt x="46" y="87"/>
                    </a:lnTo>
                    <a:lnTo>
                      <a:pt x="2" y="87"/>
                    </a:lnTo>
                    <a:lnTo>
                      <a:pt x="0" y="73"/>
                    </a:lnTo>
                    <a:lnTo>
                      <a:pt x="34" y="1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Freeform 52">
                <a:extLst>
                  <a:ext uri="{FF2B5EF4-FFF2-40B4-BE49-F238E27FC236}">
                    <a16:creationId xmlns:a16="http://schemas.microsoft.com/office/drawing/2014/main" id="{08BA94C6-869E-4EC8-AA87-4842BD430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25" y="3927475"/>
                <a:ext cx="115888" cy="176212"/>
              </a:xfrm>
              <a:custGeom>
                <a:avLst/>
                <a:gdLst>
                  <a:gd name="T0" fmla="*/ 8 w 73"/>
                  <a:gd name="T1" fmla="*/ 0 h 111"/>
                  <a:gd name="T2" fmla="*/ 70 w 73"/>
                  <a:gd name="T3" fmla="*/ 0 h 111"/>
                  <a:gd name="T4" fmla="*/ 70 w 73"/>
                  <a:gd name="T5" fmla="*/ 17 h 111"/>
                  <a:gd name="T6" fmla="*/ 26 w 73"/>
                  <a:gd name="T7" fmla="*/ 17 h 111"/>
                  <a:gd name="T8" fmla="*/ 23 w 73"/>
                  <a:gd name="T9" fmla="*/ 43 h 111"/>
                  <a:gd name="T10" fmla="*/ 26 w 73"/>
                  <a:gd name="T11" fmla="*/ 41 h 111"/>
                  <a:gd name="T12" fmla="*/ 31 w 73"/>
                  <a:gd name="T13" fmla="*/ 40 h 111"/>
                  <a:gd name="T14" fmla="*/ 35 w 73"/>
                  <a:gd name="T15" fmla="*/ 38 h 111"/>
                  <a:gd name="T16" fmla="*/ 40 w 73"/>
                  <a:gd name="T17" fmla="*/ 37 h 111"/>
                  <a:gd name="T18" fmla="*/ 50 w 73"/>
                  <a:gd name="T19" fmla="*/ 38 h 111"/>
                  <a:gd name="T20" fmla="*/ 58 w 73"/>
                  <a:gd name="T21" fmla="*/ 42 h 111"/>
                  <a:gd name="T22" fmla="*/ 65 w 73"/>
                  <a:gd name="T23" fmla="*/ 47 h 111"/>
                  <a:gd name="T24" fmla="*/ 71 w 73"/>
                  <a:gd name="T25" fmla="*/ 59 h 111"/>
                  <a:gd name="T26" fmla="*/ 73 w 73"/>
                  <a:gd name="T27" fmla="*/ 75 h 111"/>
                  <a:gd name="T28" fmla="*/ 71 w 73"/>
                  <a:gd name="T29" fmla="*/ 89 h 111"/>
                  <a:gd name="T30" fmla="*/ 64 w 73"/>
                  <a:gd name="T31" fmla="*/ 102 h 111"/>
                  <a:gd name="T32" fmla="*/ 57 w 73"/>
                  <a:gd name="T33" fmla="*/ 107 h 111"/>
                  <a:gd name="T34" fmla="*/ 48 w 73"/>
                  <a:gd name="T35" fmla="*/ 110 h 111"/>
                  <a:gd name="T36" fmla="*/ 37 w 73"/>
                  <a:gd name="T37" fmla="*/ 111 h 111"/>
                  <a:gd name="T38" fmla="*/ 22 w 73"/>
                  <a:gd name="T39" fmla="*/ 110 h 111"/>
                  <a:gd name="T40" fmla="*/ 10 w 73"/>
                  <a:gd name="T41" fmla="*/ 104 h 111"/>
                  <a:gd name="T42" fmla="*/ 5 w 73"/>
                  <a:gd name="T43" fmla="*/ 97 h 111"/>
                  <a:gd name="T44" fmla="*/ 1 w 73"/>
                  <a:gd name="T45" fmla="*/ 90 h 111"/>
                  <a:gd name="T46" fmla="*/ 0 w 73"/>
                  <a:gd name="T47" fmla="*/ 80 h 111"/>
                  <a:gd name="T48" fmla="*/ 1 w 73"/>
                  <a:gd name="T49" fmla="*/ 80 h 111"/>
                  <a:gd name="T50" fmla="*/ 21 w 73"/>
                  <a:gd name="T51" fmla="*/ 79 h 111"/>
                  <a:gd name="T52" fmla="*/ 22 w 73"/>
                  <a:gd name="T53" fmla="*/ 83 h 111"/>
                  <a:gd name="T54" fmla="*/ 23 w 73"/>
                  <a:gd name="T55" fmla="*/ 88 h 111"/>
                  <a:gd name="T56" fmla="*/ 25 w 73"/>
                  <a:gd name="T57" fmla="*/ 91 h 111"/>
                  <a:gd name="T58" fmla="*/ 29 w 73"/>
                  <a:gd name="T59" fmla="*/ 93 h 111"/>
                  <a:gd name="T60" fmla="*/ 33 w 73"/>
                  <a:gd name="T61" fmla="*/ 94 h 111"/>
                  <a:gd name="T62" fmla="*/ 37 w 73"/>
                  <a:gd name="T63" fmla="*/ 95 h 111"/>
                  <a:gd name="T64" fmla="*/ 40 w 73"/>
                  <a:gd name="T65" fmla="*/ 94 h 111"/>
                  <a:gd name="T66" fmla="*/ 43 w 73"/>
                  <a:gd name="T67" fmla="*/ 93 h 111"/>
                  <a:gd name="T68" fmla="*/ 46 w 73"/>
                  <a:gd name="T69" fmla="*/ 92 h 111"/>
                  <a:gd name="T70" fmla="*/ 48 w 73"/>
                  <a:gd name="T71" fmla="*/ 89 h 111"/>
                  <a:gd name="T72" fmla="*/ 50 w 73"/>
                  <a:gd name="T73" fmla="*/ 85 h 111"/>
                  <a:gd name="T74" fmla="*/ 51 w 73"/>
                  <a:gd name="T75" fmla="*/ 80 h 111"/>
                  <a:gd name="T76" fmla="*/ 52 w 73"/>
                  <a:gd name="T77" fmla="*/ 75 h 111"/>
                  <a:gd name="T78" fmla="*/ 51 w 73"/>
                  <a:gd name="T79" fmla="*/ 68 h 111"/>
                  <a:gd name="T80" fmla="*/ 50 w 73"/>
                  <a:gd name="T81" fmla="*/ 64 h 111"/>
                  <a:gd name="T82" fmla="*/ 48 w 73"/>
                  <a:gd name="T83" fmla="*/ 60 h 111"/>
                  <a:gd name="T84" fmla="*/ 45 w 73"/>
                  <a:gd name="T85" fmla="*/ 57 h 111"/>
                  <a:gd name="T86" fmla="*/ 41 w 73"/>
                  <a:gd name="T87" fmla="*/ 54 h 111"/>
                  <a:gd name="T88" fmla="*/ 36 w 73"/>
                  <a:gd name="T89" fmla="*/ 53 h 111"/>
                  <a:gd name="T90" fmla="*/ 32 w 73"/>
                  <a:gd name="T91" fmla="*/ 54 h 111"/>
                  <a:gd name="T92" fmla="*/ 29 w 73"/>
                  <a:gd name="T93" fmla="*/ 54 h 111"/>
                  <a:gd name="T94" fmla="*/ 26 w 73"/>
                  <a:gd name="T95" fmla="*/ 57 h 111"/>
                  <a:gd name="T96" fmla="*/ 23 w 73"/>
                  <a:gd name="T97" fmla="*/ 59 h 111"/>
                  <a:gd name="T98" fmla="*/ 21 w 73"/>
                  <a:gd name="T99" fmla="*/ 62 h 111"/>
                  <a:gd name="T100" fmla="*/ 2 w 73"/>
                  <a:gd name="T101" fmla="*/ 61 h 111"/>
                  <a:gd name="T102" fmla="*/ 8 w 73"/>
                  <a:gd name="T10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3" h="111">
                    <a:moveTo>
                      <a:pt x="8" y="0"/>
                    </a:moveTo>
                    <a:lnTo>
                      <a:pt x="70" y="0"/>
                    </a:lnTo>
                    <a:lnTo>
                      <a:pt x="70" y="17"/>
                    </a:lnTo>
                    <a:lnTo>
                      <a:pt x="26" y="17"/>
                    </a:lnTo>
                    <a:lnTo>
                      <a:pt x="23" y="43"/>
                    </a:lnTo>
                    <a:lnTo>
                      <a:pt x="26" y="41"/>
                    </a:lnTo>
                    <a:lnTo>
                      <a:pt x="31" y="40"/>
                    </a:lnTo>
                    <a:lnTo>
                      <a:pt x="35" y="38"/>
                    </a:lnTo>
                    <a:lnTo>
                      <a:pt x="40" y="37"/>
                    </a:lnTo>
                    <a:lnTo>
                      <a:pt x="50" y="38"/>
                    </a:lnTo>
                    <a:lnTo>
                      <a:pt x="58" y="42"/>
                    </a:lnTo>
                    <a:lnTo>
                      <a:pt x="65" y="47"/>
                    </a:lnTo>
                    <a:lnTo>
                      <a:pt x="71" y="59"/>
                    </a:lnTo>
                    <a:lnTo>
                      <a:pt x="73" y="75"/>
                    </a:lnTo>
                    <a:lnTo>
                      <a:pt x="71" y="89"/>
                    </a:lnTo>
                    <a:lnTo>
                      <a:pt x="64" y="102"/>
                    </a:lnTo>
                    <a:lnTo>
                      <a:pt x="57" y="107"/>
                    </a:lnTo>
                    <a:lnTo>
                      <a:pt x="48" y="110"/>
                    </a:lnTo>
                    <a:lnTo>
                      <a:pt x="37" y="111"/>
                    </a:lnTo>
                    <a:lnTo>
                      <a:pt x="22" y="110"/>
                    </a:lnTo>
                    <a:lnTo>
                      <a:pt x="10" y="104"/>
                    </a:lnTo>
                    <a:lnTo>
                      <a:pt x="5" y="97"/>
                    </a:lnTo>
                    <a:lnTo>
                      <a:pt x="1" y="90"/>
                    </a:lnTo>
                    <a:lnTo>
                      <a:pt x="0" y="80"/>
                    </a:lnTo>
                    <a:lnTo>
                      <a:pt x="1" y="80"/>
                    </a:lnTo>
                    <a:lnTo>
                      <a:pt x="21" y="79"/>
                    </a:lnTo>
                    <a:lnTo>
                      <a:pt x="22" y="83"/>
                    </a:lnTo>
                    <a:lnTo>
                      <a:pt x="23" y="88"/>
                    </a:lnTo>
                    <a:lnTo>
                      <a:pt x="25" y="91"/>
                    </a:lnTo>
                    <a:lnTo>
                      <a:pt x="29" y="93"/>
                    </a:lnTo>
                    <a:lnTo>
                      <a:pt x="33" y="94"/>
                    </a:lnTo>
                    <a:lnTo>
                      <a:pt x="37" y="95"/>
                    </a:lnTo>
                    <a:lnTo>
                      <a:pt x="40" y="94"/>
                    </a:lnTo>
                    <a:lnTo>
                      <a:pt x="43" y="93"/>
                    </a:lnTo>
                    <a:lnTo>
                      <a:pt x="46" y="92"/>
                    </a:lnTo>
                    <a:lnTo>
                      <a:pt x="48" y="89"/>
                    </a:lnTo>
                    <a:lnTo>
                      <a:pt x="50" y="85"/>
                    </a:lnTo>
                    <a:lnTo>
                      <a:pt x="51" y="80"/>
                    </a:lnTo>
                    <a:lnTo>
                      <a:pt x="52" y="75"/>
                    </a:lnTo>
                    <a:lnTo>
                      <a:pt x="51" y="68"/>
                    </a:lnTo>
                    <a:lnTo>
                      <a:pt x="50" y="64"/>
                    </a:lnTo>
                    <a:lnTo>
                      <a:pt x="48" y="60"/>
                    </a:lnTo>
                    <a:lnTo>
                      <a:pt x="45" y="57"/>
                    </a:lnTo>
                    <a:lnTo>
                      <a:pt x="41" y="54"/>
                    </a:lnTo>
                    <a:lnTo>
                      <a:pt x="36" y="53"/>
                    </a:lnTo>
                    <a:lnTo>
                      <a:pt x="32" y="54"/>
                    </a:lnTo>
                    <a:lnTo>
                      <a:pt x="29" y="54"/>
                    </a:lnTo>
                    <a:lnTo>
                      <a:pt x="26" y="57"/>
                    </a:lnTo>
                    <a:lnTo>
                      <a:pt x="23" y="59"/>
                    </a:lnTo>
                    <a:lnTo>
                      <a:pt x="21" y="62"/>
                    </a:lnTo>
                    <a:lnTo>
                      <a:pt x="2" y="61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Freeform 53">
                <a:extLst>
                  <a:ext uri="{FF2B5EF4-FFF2-40B4-BE49-F238E27FC236}">
                    <a16:creationId xmlns:a16="http://schemas.microsoft.com/office/drawing/2014/main" id="{26496E42-BD56-4DF1-AFF1-8A691CA5A0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59712" y="3924300"/>
                <a:ext cx="122238" cy="179387"/>
              </a:xfrm>
              <a:custGeom>
                <a:avLst/>
                <a:gdLst>
                  <a:gd name="T0" fmla="*/ 34 w 77"/>
                  <a:gd name="T1" fmla="*/ 55 h 113"/>
                  <a:gd name="T2" fmla="*/ 26 w 77"/>
                  <a:gd name="T3" fmla="*/ 59 h 113"/>
                  <a:gd name="T4" fmla="*/ 23 w 77"/>
                  <a:gd name="T5" fmla="*/ 69 h 113"/>
                  <a:gd name="T6" fmla="*/ 28 w 77"/>
                  <a:gd name="T7" fmla="*/ 90 h 113"/>
                  <a:gd name="T8" fmla="*/ 35 w 77"/>
                  <a:gd name="T9" fmla="*/ 96 h 113"/>
                  <a:gd name="T10" fmla="*/ 40 w 77"/>
                  <a:gd name="T11" fmla="*/ 97 h 113"/>
                  <a:gd name="T12" fmla="*/ 49 w 77"/>
                  <a:gd name="T13" fmla="*/ 94 h 113"/>
                  <a:gd name="T14" fmla="*/ 54 w 77"/>
                  <a:gd name="T15" fmla="*/ 86 h 113"/>
                  <a:gd name="T16" fmla="*/ 55 w 77"/>
                  <a:gd name="T17" fmla="*/ 76 h 113"/>
                  <a:gd name="T18" fmla="*/ 54 w 77"/>
                  <a:gd name="T19" fmla="*/ 65 h 113"/>
                  <a:gd name="T20" fmla="*/ 49 w 77"/>
                  <a:gd name="T21" fmla="*/ 58 h 113"/>
                  <a:gd name="T22" fmla="*/ 40 w 77"/>
                  <a:gd name="T23" fmla="*/ 54 h 113"/>
                  <a:gd name="T24" fmla="*/ 45 w 77"/>
                  <a:gd name="T25" fmla="*/ 0 h 113"/>
                  <a:gd name="T26" fmla="*/ 57 w 77"/>
                  <a:gd name="T27" fmla="*/ 1 h 113"/>
                  <a:gd name="T28" fmla="*/ 67 w 77"/>
                  <a:gd name="T29" fmla="*/ 5 h 113"/>
                  <a:gd name="T30" fmla="*/ 58 w 77"/>
                  <a:gd name="T31" fmla="*/ 19 h 113"/>
                  <a:gd name="T32" fmla="*/ 51 w 77"/>
                  <a:gd name="T33" fmla="*/ 18 h 113"/>
                  <a:gd name="T34" fmla="*/ 42 w 77"/>
                  <a:gd name="T35" fmla="*/ 18 h 113"/>
                  <a:gd name="T36" fmla="*/ 36 w 77"/>
                  <a:gd name="T37" fmla="*/ 20 h 113"/>
                  <a:gd name="T38" fmla="*/ 29 w 77"/>
                  <a:gd name="T39" fmla="*/ 25 h 113"/>
                  <a:gd name="T40" fmla="*/ 24 w 77"/>
                  <a:gd name="T41" fmla="*/ 46 h 113"/>
                  <a:gd name="T42" fmla="*/ 28 w 77"/>
                  <a:gd name="T43" fmla="*/ 43 h 113"/>
                  <a:gd name="T44" fmla="*/ 39 w 77"/>
                  <a:gd name="T45" fmla="*/ 38 h 113"/>
                  <a:gd name="T46" fmla="*/ 59 w 77"/>
                  <a:gd name="T47" fmla="*/ 40 h 113"/>
                  <a:gd name="T48" fmla="*/ 75 w 77"/>
                  <a:gd name="T49" fmla="*/ 61 h 113"/>
                  <a:gd name="T50" fmla="*/ 75 w 77"/>
                  <a:gd name="T51" fmla="*/ 91 h 113"/>
                  <a:gd name="T52" fmla="*/ 55 w 77"/>
                  <a:gd name="T53" fmla="*/ 111 h 113"/>
                  <a:gd name="T54" fmla="*/ 39 w 77"/>
                  <a:gd name="T55" fmla="*/ 113 h 113"/>
                  <a:gd name="T56" fmla="*/ 20 w 77"/>
                  <a:gd name="T57" fmla="*/ 108 h 113"/>
                  <a:gd name="T58" fmla="*/ 6 w 77"/>
                  <a:gd name="T59" fmla="*/ 93 h 113"/>
                  <a:gd name="T60" fmla="*/ 0 w 77"/>
                  <a:gd name="T61" fmla="*/ 69 h 113"/>
                  <a:gd name="T62" fmla="*/ 3 w 77"/>
                  <a:gd name="T63" fmla="*/ 34 h 113"/>
                  <a:gd name="T64" fmla="*/ 13 w 77"/>
                  <a:gd name="T65" fmla="*/ 13 h 113"/>
                  <a:gd name="T66" fmla="*/ 39 w 77"/>
                  <a:gd name="T67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7" h="113">
                    <a:moveTo>
                      <a:pt x="39" y="54"/>
                    </a:moveTo>
                    <a:lnTo>
                      <a:pt x="34" y="55"/>
                    </a:lnTo>
                    <a:lnTo>
                      <a:pt x="29" y="56"/>
                    </a:lnTo>
                    <a:lnTo>
                      <a:pt x="26" y="59"/>
                    </a:lnTo>
                    <a:lnTo>
                      <a:pt x="23" y="62"/>
                    </a:lnTo>
                    <a:lnTo>
                      <a:pt x="23" y="69"/>
                    </a:lnTo>
                    <a:lnTo>
                      <a:pt x="24" y="81"/>
                    </a:lnTo>
                    <a:lnTo>
                      <a:pt x="28" y="90"/>
                    </a:lnTo>
                    <a:lnTo>
                      <a:pt x="31" y="93"/>
                    </a:lnTo>
                    <a:lnTo>
                      <a:pt x="35" y="96"/>
                    </a:lnTo>
                    <a:lnTo>
                      <a:pt x="39" y="97"/>
                    </a:lnTo>
                    <a:lnTo>
                      <a:pt x="40" y="97"/>
                    </a:lnTo>
                    <a:lnTo>
                      <a:pt x="44" y="96"/>
                    </a:lnTo>
                    <a:lnTo>
                      <a:pt x="49" y="94"/>
                    </a:lnTo>
                    <a:lnTo>
                      <a:pt x="52" y="91"/>
                    </a:lnTo>
                    <a:lnTo>
                      <a:pt x="54" y="86"/>
                    </a:lnTo>
                    <a:lnTo>
                      <a:pt x="55" y="81"/>
                    </a:lnTo>
                    <a:lnTo>
                      <a:pt x="55" y="76"/>
                    </a:lnTo>
                    <a:lnTo>
                      <a:pt x="55" y="69"/>
                    </a:lnTo>
                    <a:lnTo>
                      <a:pt x="54" y="65"/>
                    </a:lnTo>
                    <a:lnTo>
                      <a:pt x="52" y="61"/>
                    </a:lnTo>
                    <a:lnTo>
                      <a:pt x="49" y="58"/>
                    </a:lnTo>
                    <a:lnTo>
                      <a:pt x="44" y="55"/>
                    </a:lnTo>
                    <a:lnTo>
                      <a:pt x="40" y="54"/>
                    </a:lnTo>
                    <a:lnTo>
                      <a:pt x="39" y="54"/>
                    </a:lnTo>
                    <a:close/>
                    <a:moveTo>
                      <a:pt x="45" y="0"/>
                    </a:moveTo>
                    <a:lnTo>
                      <a:pt x="51" y="1"/>
                    </a:lnTo>
                    <a:lnTo>
                      <a:pt x="57" y="1"/>
                    </a:lnTo>
                    <a:lnTo>
                      <a:pt x="62" y="3"/>
                    </a:lnTo>
                    <a:lnTo>
                      <a:pt x="67" y="5"/>
                    </a:lnTo>
                    <a:lnTo>
                      <a:pt x="63" y="21"/>
                    </a:lnTo>
                    <a:lnTo>
                      <a:pt x="58" y="19"/>
                    </a:lnTo>
                    <a:lnTo>
                      <a:pt x="54" y="18"/>
                    </a:lnTo>
                    <a:lnTo>
                      <a:pt x="51" y="18"/>
                    </a:lnTo>
                    <a:lnTo>
                      <a:pt x="45" y="18"/>
                    </a:lnTo>
                    <a:lnTo>
                      <a:pt x="42" y="18"/>
                    </a:lnTo>
                    <a:lnTo>
                      <a:pt x="39" y="18"/>
                    </a:lnTo>
                    <a:lnTo>
                      <a:pt x="36" y="20"/>
                    </a:lnTo>
                    <a:lnTo>
                      <a:pt x="32" y="22"/>
                    </a:lnTo>
                    <a:lnTo>
                      <a:pt x="29" y="25"/>
                    </a:lnTo>
                    <a:lnTo>
                      <a:pt x="25" y="34"/>
                    </a:lnTo>
                    <a:lnTo>
                      <a:pt x="24" y="46"/>
                    </a:lnTo>
                    <a:lnTo>
                      <a:pt x="24" y="47"/>
                    </a:lnTo>
                    <a:lnTo>
                      <a:pt x="28" y="43"/>
                    </a:lnTo>
                    <a:lnTo>
                      <a:pt x="34" y="40"/>
                    </a:lnTo>
                    <a:lnTo>
                      <a:pt x="39" y="38"/>
                    </a:lnTo>
                    <a:lnTo>
                      <a:pt x="46" y="38"/>
                    </a:lnTo>
                    <a:lnTo>
                      <a:pt x="59" y="40"/>
                    </a:lnTo>
                    <a:lnTo>
                      <a:pt x="69" y="49"/>
                    </a:lnTo>
                    <a:lnTo>
                      <a:pt x="75" y="61"/>
                    </a:lnTo>
                    <a:lnTo>
                      <a:pt x="77" y="76"/>
                    </a:lnTo>
                    <a:lnTo>
                      <a:pt x="75" y="91"/>
                    </a:lnTo>
                    <a:lnTo>
                      <a:pt x="67" y="102"/>
                    </a:lnTo>
                    <a:lnTo>
                      <a:pt x="55" y="111"/>
                    </a:lnTo>
                    <a:lnTo>
                      <a:pt x="40" y="113"/>
                    </a:lnTo>
                    <a:lnTo>
                      <a:pt x="39" y="113"/>
                    </a:lnTo>
                    <a:lnTo>
                      <a:pt x="28" y="112"/>
                    </a:lnTo>
                    <a:lnTo>
                      <a:pt x="20" y="108"/>
                    </a:lnTo>
                    <a:lnTo>
                      <a:pt x="12" y="101"/>
                    </a:lnTo>
                    <a:lnTo>
                      <a:pt x="6" y="93"/>
                    </a:lnTo>
                    <a:lnTo>
                      <a:pt x="3" y="82"/>
                    </a:lnTo>
                    <a:lnTo>
                      <a:pt x="0" y="69"/>
                    </a:lnTo>
                    <a:lnTo>
                      <a:pt x="0" y="48"/>
                    </a:lnTo>
                    <a:lnTo>
                      <a:pt x="3" y="34"/>
                    </a:lnTo>
                    <a:lnTo>
                      <a:pt x="7" y="22"/>
                    </a:lnTo>
                    <a:lnTo>
                      <a:pt x="13" y="13"/>
                    </a:lnTo>
                    <a:lnTo>
                      <a:pt x="25" y="4"/>
                    </a:lnTo>
                    <a:lnTo>
                      <a:pt x="39" y="1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Freeform 54">
                <a:extLst>
                  <a:ext uri="{FF2B5EF4-FFF2-40B4-BE49-F238E27FC236}">
                    <a16:creationId xmlns:a16="http://schemas.microsoft.com/office/drawing/2014/main" id="{C74DBE15-5534-478D-9C57-5971EF5E53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7075" y="3971925"/>
                <a:ext cx="120650" cy="130175"/>
              </a:xfrm>
              <a:custGeom>
                <a:avLst/>
                <a:gdLst>
                  <a:gd name="T0" fmla="*/ 0 w 76"/>
                  <a:gd name="T1" fmla="*/ 0 h 82"/>
                  <a:gd name="T2" fmla="*/ 26 w 76"/>
                  <a:gd name="T3" fmla="*/ 0 h 82"/>
                  <a:gd name="T4" fmla="*/ 38 w 76"/>
                  <a:gd name="T5" fmla="*/ 26 h 82"/>
                  <a:gd name="T6" fmla="*/ 38 w 76"/>
                  <a:gd name="T7" fmla="*/ 26 h 82"/>
                  <a:gd name="T8" fmla="*/ 50 w 76"/>
                  <a:gd name="T9" fmla="*/ 0 h 82"/>
                  <a:gd name="T10" fmla="*/ 76 w 76"/>
                  <a:gd name="T11" fmla="*/ 0 h 82"/>
                  <a:gd name="T12" fmla="*/ 52 w 76"/>
                  <a:gd name="T13" fmla="*/ 40 h 82"/>
                  <a:gd name="T14" fmla="*/ 76 w 76"/>
                  <a:gd name="T15" fmla="*/ 82 h 82"/>
                  <a:gd name="T16" fmla="*/ 52 w 76"/>
                  <a:gd name="T17" fmla="*/ 82 h 82"/>
                  <a:gd name="T18" fmla="*/ 39 w 76"/>
                  <a:gd name="T19" fmla="*/ 55 h 82"/>
                  <a:gd name="T20" fmla="*/ 25 w 76"/>
                  <a:gd name="T21" fmla="*/ 82 h 82"/>
                  <a:gd name="T22" fmla="*/ 0 w 76"/>
                  <a:gd name="T23" fmla="*/ 82 h 82"/>
                  <a:gd name="T24" fmla="*/ 26 w 76"/>
                  <a:gd name="T25" fmla="*/ 40 h 82"/>
                  <a:gd name="T26" fmla="*/ 0 w 76"/>
                  <a:gd name="T27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6" h="82">
                    <a:moveTo>
                      <a:pt x="0" y="0"/>
                    </a:moveTo>
                    <a:lnTo>
                      <a:pt x="26" y="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50" y="0"/>
                    </a:lnTo>
                    <a:lnTo>
                      <a:pt x="76" y="0"/>
                    </a:lnTo>
                    <a:lnTo>
                      <a:pt x="52" y="40"/>
                    </a:lnTo>
                    <a:lnTo>
                      <a:pt x="76" y="82"/>
                    </a:lnTo>
                    <a:lnTo>
                      <a:pt x="52" y="82"/>
                    </a:lnTo>
                    <a:lnTo>
                      <a:pt x="39" y="55"/>
                    </a:lnTo>
                    <a:lnTo>
                      <a:pt x="25" y="82"/>
                    </a:lnTo>
                    <a:lnTo>
                      <a:pt x="0" y="82"/>
                    </a:lnTo>
                    <a:lnTo>
                      <a:pt x="26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Freeform 55">
                <a:extLst>
                  <a:ext uri="{FF2B5EF4-FFF2-40B4-BE49-F238E27FC236}">
                    <a16:creationId xmlns:a16="http://schemas.microsoft.com/office/drawing/2014/main" id="{FEA95050-C86B-47F6-92D7-272A1E6B5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2925" y="4398963"/>
                <a:ext cx="71438" cy="174625"/>
              </a:xfrm>
              <a:custGeom>
                <a:avLst/>
                <a:gdLst>
                  <a:gd name="T0" fmla="*/ 45 w 45"/>
                  <a:gd name="T1" fmla="*/ 0 h 110"/>
                  <a:gd name="T2" fmla="*/ 45 w 45"/>
                  <a:gd name="T3" fmla="*/ 110 h 110"/>
                  <a:gd name="T4" fmla="*/ 22 w 45"/>
                  <a:gd name="T5" fmla="*/ 110 h 110"/>
                  <a:gd name="T6" fmla="*/ 22 w 45"/>
                  <a:gd name="T7" fmla="*/ 19 h 110"/>
                  <a:gd name="T8" fmla="*/ 0 w 45"/>
                  <a:gd name="T9" fmla="*/ 19 h 110"/>
                  <a:gd name="T10" fmla="*/ 0 w 45"/>
                  <a:gd name="T11" fmla="*/ 4 h 110"/>
                  <a:gd name="T12" fmla="*/ 45 w 45"/>
                  <a:gd name="T1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110">
                    <a:moveTo>
                      <a:pt x="45" y="0"/>
                    </a:moveTo>
                    <a:lnTo>
                      <a:pt x="45" y="110"/>
                    </a:lnTo>
                    <a:lnTo>
                      <a:pt x="22" y="110"/>
                    </a:lnTo>
                    <a:lnTo>
                      <a:pt x="22" y="19"/>
                    </a:lnTo>
                    <a:lnTo>
                      <a:pt x="0" y="19"/>
                    </a:lnTo>
                    <a:lnTo>
                      <a:pt x="0" y="4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4" name="Freeform 56">
                <a:extLst>
                  <a:ext uri="{FF2B5EF4-FFF2-40B4-BE49-F238E27FC236}">
                    <a16:creationId xmlns:a16="http://schemas.microsoft.com/office/drawing/2014/main" id="{F6A63B43-B795-49D9-81F0-FA5979AFF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2350" y="4397375"/>
                <a:ext cx="120650" cy="176212"/>
              </a:xfrm>
              <a:custGeom>
                <a:avLst/>
                <a:gdLst>
                  <a:gd name="T0" fmla="*/ 37 w 76"/>
                  <a:gd name="T1" fmla="*/ 0 h 111"/>
                  <a:gd name="T2" fmla="*/ 52 w 76"/>
                  <a:gd name="T3" fmla="*/ 2 h 111"/>
                  <a:gd name="T4" fmla="*/ 64 w 76"/>
                  <a:gd name="T5" fmla="*/ 9 h 111"/>
                  <a:gd name="T6" fmla="*/ 71 w 76"/>
                  <a:gd name="T7" fmla="*/ 18 h 111"/>
                  <a:gd name="T8" fmla="*/ 73 w 76"/>
                  <a:gd name="T9" fmla="*/ 32 h 111"/>
                  <a:gd name="T10" fmla="*/ 72 w 76"/>
                  <a:gd name="T11" fmla="*/ 42 h 111"/>
                  <a:gd name="T12" fmla="*/ 68 w 76"/>
                  <a:gd name="T13" fmla="*/ 50 h 111"/>
                  <a:gd name="T14" fmla="*/ 60 w 76"/>
                  <a:gd name="T15" fmla="*/ 60 h 111"/>
                  <a:gd name="T16" fmla="*/ 50 w 76"/>
                  <a:gd name="T17" fmla="*/ 73 h 111"/>
                  <a:gd name="T18" fmla="*/ 31 w 76"/>
                  <a:gd name="T19" fmla="*/ 94 h 111"/>
                  <a:gd name="T20" fmla="*/ 31 w 76"/>
                  <a:gd name="T21" fmla="*/ 94 h 111"/>
                  <a:gd name="T22" fmla="*/ 76 w 76"/>
                  <a:gd name="T23" fmla="*/ 94 h 111"/>
                  <a:gd name="T24" fmla="*/ 76 w 76"/>
                  <a:gd name="T25" fmla="*/ 111 h 111"/>
                  <a:gd name="T26" fmla="*/ 2 w 76"/>
                  <a:gd name="T27" fmla="*/ 111 h 111"/>
                  <a:gd name="T28" fmla="*/ 2 w 76"/>
                  <a:gd name="T29" fmla="*/ 97 h 111"/>
                  <a:gd name="T30" fmla="*/ 37 w 76"/>
                  <a:gd name="T31" fmla="*/ 59 h 111"/>
                  <a:gd name="T32" fmla="*/ 41 w 76"/>
                  <a:gd name="T33" fmla="*/ 54 h 111"/>
                  <a:gd name="T34" fmla="*/ 45 w 76"/>
                  <a:gd name="T35" fmla="*/ 48 h 111"/>
                  <a:gd name="T36" fmla="*/ 48 w 76"/>
                  <a:gd name="T37" fmla="*/ 44 h 111"/>
                  <a:gd name="T38" fmla="*/ 51 w 76"/>
                  <a:gd name="T39" fmla="*/ 38 h 111"/>
                  <a:gd name="T40" fmla="*/ 51 w 76"/>
                  <a:gd name="T41" fmla="*/ 32 h 111"/>
                  <a:gd name="T42" fmla="*/ 51 w 76"/>
                  <a:gd name="T43" fmla="*/ 28 h 111"/>
                  <a:gd name="T44" fmla="*/ 50 w 76"/>
                  <a:gd name="T45" fmla="*/ 25 h 111"/>
                  <a:gd name="T46" fmla="*/ 48 w 76"/>
                  <a:gd name="T47" fmla="*/ 22 h 111"/>
                  <a:gd name="T48" fmla="*/ 44 w 76"/>
                  <a:gd name="T49" fmla="*/ 18 h 111"/>
                  <a:gd name="T50" fmla="*/ 41 w 76"/>
                  <a:gd name="T51" fmla="*/ 17 h 111"/>
                  <a:gd name="T52" fmla="*/ 37 w 76"/>
                  <a:gd name="T53" fmla="*/ 16 h 111"/>
                  <a:gd name="T54" fmla="*/ 33 w 76"/>
                  <a:gd name="T55" fmla="*/ 17 h 111"/>
                  <a:gd name="T56" fmla="*/ 28 w 76"/>
                  <a:gd name="T57" fmla="*/ 19 h 111"/>
                  <a:gd name="T58" fmla="*/ 25 w 76"/>
                  <a:gd name="T59" fmla="*/ 22 h 111"/>
                  <a:gd name="T60" fmla="*/ 23 w 76"/>
                  <a:gd name="T61" fmla="*/ 26 h 111"/>
                  <a:gd name="T62" fmla="*/ 22 w 76"/>
                  <a:gd name="T63" fmla="*/ 30 h 111"/>
                  <a:gd name="T64" fmla="*/ 21 w 76"/>
                  <a:gd name="T65" fmla="*/ 35 h 111"/>
                  <a:gd name="T66" fmla="*/ 0 w 76"/>
                  <a:gd name="T67" fmla="*/ 35 h 111"/>
                  <a:gd name="T68" fmla="*/ 0 w 76"/>
                  <a:gd name="T69" fmla="*/ 35 h 111"/>
                  <a:gd name="T70" fmla="*/ 2 w 76"/>
                  <a:gd name="T71" fmla="*/ 22 h 111"/>
                  <a:gd name="T72" fmla="*/ 9 w 76"/>
                  <a:gd name="T73" fmla="*/ 10 h 111"/>
                  <a:gd name="T74" fmla="*/ 17 w 76"/>
                  <a:gd name="T75" fmla="*/ 4 h 111"/>
                  <a:gd name="T76" fmla="*/ 26 w 76"/>
                  <a:gd name="T77" fmla="*/ 1 h 111"/>
                  <a:gd name="T78" fmla="*/ 37 w 76"/>
                  <a:gd name="T7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6" h="111">
                    <a:moveTo>
                      <a:pt x="37" y="0"/>
                    </a:moveTo>
                    <a:lnTo>
                      <a:pt x="52" y="2"/>
                    </a:lnTo>
                    <a:lnTo>
                      <a:pt x="64" y="9"/>
                    </a:lnTo>
                    <a:lnTo>
                      <a:pt x="71" y="18"/>
                    </a:lnTo>
                    <a:lnTo>
                      <a:pt x="73" y="32"/>
                    </a:lnTo>
                    <a:lnTo>
                      <a:pt x="72" y="42"/>
                    </a:lnTo>
                    <a:lnTo>
                      <a:pt x="68" y="50"/>
                    </a:lnTo>
                    <a:lnTo>
                      <a:pt x="60" y="60"/>
                    </a:lnTo>
                    <a:lnTo>
                      <a:pt x="50" y="73"/>
                    </a:lnTo>
                    <a:lnTo>
                      <a:pt x="31" y="94"/>
                    </a:lnTo>
                    <a:lnTo>
                      <a:pt x="31" y="94"/>
                    </a:lnTo>
                    <a:lnTo>
                      <a:pt x="76" y="94"/>
                    </a:lnTo>
                    <a:lnTo>
                      <a:pt x="76" y="111"/>
                    </a:lnTo>
                    <a:lnTo>
                      <a:pt x="2" y="111"/>
                    </a:lnTo>
                    <a:lnTo>
                      <a:pt x="2" y="97"/>
                    </a:lnTo>
                    <a:lnTo>
                      <a:pt x="37" y="59"/>
                    </a:lnTo>
                    <a:lnTo>
                      <a:pt x="41" y="54"/>
                    </a:lnTo>
                    <a:lnTo>
                      <a:pt x="45" y="48"/>
                    </a:lnTo>
                    <a:lnTo>
                      <a:pt x="48" y="44"/>
                    </a:lnTo>
                    <a:lnTo>
                      <a:pt x="51" y="38"/>
                    </a:lnTo>
                    <a:lnTo>
                      <a:pt x="51" y="32"/>
                    </a:lnTo>
                    <a:lnTo>
                      <a:pt x="51" y="28"/>
                    </a:lnTo>
                    <a:lnTo>
                      <a:pt x="50" y="25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1" y="17"/>
                    </a:lnTo>
                    <a:lnTo>
                      <a:pt x="37" y="16"/>
                    </a:lnTo>
                    <a:lnTo>
                      <a:pt x="33" y="17"/>
                    </a:lnTo>
                    <a:lnTo>
                      <a:pt x="28" y="19"/>
                    </a:lnTo>
                    <a:lnTo>
                      <a:pt x="25" y="22"/>
                    </a:lnTo>
                    <a:lnTo>
                      <a:pt x="23" y="26"/>
                    </a:lnTo>
                    <a:lnTo>
                      <a:pt x="22" y="30"/>
                    </a:lnTo>
                    <a:lnTo>
                      <a:pt x="21" y="35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22"/>
                    </a:lnTo>
                    <a:lnTo>
                      <a:pt x="9" y="10"/>
                    </a:lnTo>
                    <a:lnTo>
                      <a:pt x="17" y="4"/>
                    </a:lnTo>
                    <a:lnTo>
                      <a:pt x="26" y="1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Freeform 57">
                <a:extLst>
                  <a:ext uri="{FF2B5EF4-FFF2-40B4-BE49-F238E27FC236}">
                    <a16:creationId xmlns:a16="http://schemas.microsoft.com/office/drawing/2014/main" id="{248E8D8C-EC9E-4019-B1B5-607E63862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6537" y="4397375"/>
                <a:ext cx="122238" cy="179387"/>
              </a:xfrm>
              <a:custGeom>
                <a:avLst/>
                <a:gdLst>
                  <a:gd name="T0" fmla="*/ 53 w 77"/>
                  <a:gd name="T1" fmla="*/ 1 h 113"/>
                  <a:gd name="T2" fmla="*/ 71 w 77"/>
                  <a:gd name="T3" fmla="*/ 14 h 113"/>
                  <a:gd name="T4" fmla="*/ 75 w 77"/>
                  <a:gd name="T5" fmla="*/ 31 h 113"/>
                  <a:gd name="T6" fmla="*/ 73 w 77"/>
                  <a:gd name="T7" fmla="*/ 41 h 113"/>
                  <a:gd name="T8" fmla="*/ 68 w 77"/>
                  <a:gd name="T9" fmla="*/ 48 h 113"/>
                  <a:gd name="T10" fmla="*/ 58 w 77"/>
                  <a:gd name="T11" fmla="*/ 55 h 113"/>
                  <a:gd name="T12" fmla="*/ 69 w 77"/>
                  <a:gd name="T13" fmla="*/ 61 h 113"/>
                  <a:gd name="T14" fmla="*/ 75 w 77"/>
                  <a:gd name="T15" fmla="*/ 70 h 113"/>
                  <a:gd name="T16" fmla="*/ 77 w 77"/>
                  <a:gd name="T17" fmla="*/ 80 h 113"/>
                  <a:gd name="T18" fmla="*/ 72 w 77"/>
                  <a:gd name="T19" fmla="*/ 97 h 113"/>
                  <a:gd name="T20" fmla="*/ 54 w 77"/>
                  <a:gd name="T21" fmla="*/ 111 h 113"/>
                  <a:gd name="T22" fmla="*/ 24 w 77"/>
                  <a:gd name="T23" fmla="*/ 111 h 113"/>
                  <a:gd name="T24" fmla="*/ 6 w 77"/>
                  <a:gd name="T25" fmla="*/ 99 h 113"/>
                  <a:gd name="T26" fmla="*/ 0 w 77"/>
                  <a:gd name="T27" fmla="*/ 81 h 113"/>
                  <a:gd name="T28" fmla="*/ 23 w 77"/>
                  <a:gd name="T29" fmla="*/ 81 h 113"/>
                  <a:gd name="T30" fmla="*/ 24 w 77"/>
                  <a:gd name="T31" fmla="*/ 89 h 113"/>
                  <a:gd name="T32" fmla="*/ 30 w 77"/>
                  <a:gd name="T33" fmla="*/ 94 h 113"/>
                  <a:gd name="T34" fmla="*/ 39 w 77"/>
                  <a:gd name="T35" fmla="*/ 96 h 113"/>
                  <a:gd name="T36" fmla="*/ 47 w 77"/>
                  <a:gd name="T37" fmla="*/ 94 h 113"/>
                  <a:gd name="T38" fmla="*/ 53 w 77"/>
                  <a:gd name="T39" fmla="*/ 89 h 113"/>
                  <a:gd name="T40" fmla="*/ 55 w 77"/>
                  <a:gd name="T41" fmla="*/ 80 h 113"/>
                  <a:gd name="T42" fmla="*/ 53 w 77"/>
                  <a:gd name="T43" fmla="*/ 71 h 113"/>
                  <a:gd name="T44" fmla="*/ 47 w 77"/>
                  <a:gd name="T45" fmla="*/ 65 h 113"/>
                  <a:gd name="T46" fmla="*/ 38 w 77"/>
                  <a:gd name="T47" fmla="*/ 63 h 113"/>
                  <a:gd name="T48" fmla="*/ 25 w 77"/>
                  <a:gd name="T49" fmla="*/ 47 h 113"/>
                  <a:gd name="T50" fmla="*/ 42 w 77"/>
                  <a:gd name="T51" fmla="*/ 46 h 113"/>
                  <a:gd name="T52" fmla="*/ 49 w 77"/>
                  <a:gd name="T53" fmla="*/ 43 h 113"/>
                  <a:gd name="T54" fmla="*/ 53 w 77"/>
                  <a:gd name="T55" fmla="*/ 35 h 113"/>
                  <a:gd name="T56" fmla="*/ 53 w 77"/>
                  <a:gd name="T57" fmla="*/ 27 h 113"/>
                  <a:gd name="T58" fmla="*/ 49 w 77"/>
                  <a:gd name="T59" fmla="*/ 20 h 113"/>
                  <a:gd name="T60" fmla="*/ 43 w 77"/>
                  <a:gd name="T61" fmla="*/ 17 h 113"/>
                  <a:gd name="T62" fmla="*/ 34 w 77"/>
                  <a:gd name="T63" fmla="*/ 17 h 113"/>
                  <a:gd name="T64" fmla="*/ 28 w 77"/>
                  <a:gd name="T65" fmla="*/ 20 h 113"/>
                  <a:gd name="T66" fmla="*/ 24 w 77"/>
                  <a:gd name="T67" fmla="*/ 26 h 113"/>
                  <a:gd name="T68" fmla="*/ 2 w 77"/>
                  <a:gd name="T69" fmla="*/ 30 h 113"/>
                  <a:gd name="T70" fmla="*/ 5 w 77"/>
                  <a:gd name="T71" fmla="*/ 17 h 113"/>
                  <a:gd name="T72" fmla="*/ 24 w 77"/>
                  <a:gd name="T73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7" h="113">
                    <a:moveTo>
                      <a:pt x="38" y="0"/>
                    </a:moveTo>
                    <a:lnTo>
                      <a:pt x="53" y="1"/>
                    </a:lnTo>
                    <a:lnTo>
                      <a:pt x="65" y="8"/>
                    </a:lnTo>
                    <a:lnTo>
                      <a:pt x="71" y="14"/>
                    </a:lnTo>
                    <a:lnTo>
                      <a:pt x="74" y="22"/>
                    </a:lnTo>
                    <a:lnTo>
                      <a:pt x="75" y="31"/>
                    </a:lnTo>
                    <a:lnTo>
                      <a:pt x="75" y="35"/>
                    </a:lnTo>
                    <a:lnTo>
                      <a:pt x="73" y="41"/>
                    </a:lnTo>
                    <a:lnTo>
                      <a:pt x="71" y="45"/>
                    </a:lnTo>
                    <a:lnTo>
                      <a:pt x="68" y="48"/>
                    </a:lnTo>
                    <a:lnTo>
                      <a:pt x="63" y="53"/>
                    </a:lnTo>
                    <a:lnTo>
                      <a:pt x="58" y="55"/>
                    </a:lnTo>
                    <a:lnTo>
                      <a:pt x="63" y="58"/>
                    </a:lnTo>
                    <a:lnTo>
                      <a:pt x="69" y="61"/>
                    </a:lnTo>
                    <a:lnTo>
                      <a:pt x="72" y="65"/>
                    </a:lnTo>
                    <a:lnTo>
                      <a:pt x="75" y="70"/>
                    </a:lnTo>
                    <a:lnTo>
                      <a:pt x="76" y="75"/>
                    </a:lnTo>
                    <a:lnTo>
                      <a:pt x="77" y="80"/>
                    </a:lnTo>
                    <a:lnTo>
                      <a:pt x="76" y="90"/>
                    </a:lnTo>
                    <a:lnTo>
                      <a:pt x="72" y="97"/>
                    </a:lnTo>
                    <a:lnTo>
                      <a:pt x="65" y="104"/>
                    </a:lnTo>
                    <a:lnTo>
                      <a:pt x="54" y="111"/>
                    </a:lnTo>
                    <a:lnTo>
                      <a:pt x="38" y="113"/>
                    </a:lnTo>
                    <a:lnTo>
                      <a:pt x="24" y="111"/>
                    </a:lnTo>
                    <a:lnTo>
                      <a:pt x="11" y="105"/>
                    </a:lnTo>
                    <a:lnTo>
                      <a:pt x="6" y="99"/>
                    </a:lnTo>
                    <a:lnTo>
                      <a:pt x="1" y="91"/>
                    </a:lnTo>
                    <a:lnTo>
                      <a:pt x="0" y="81"/>
                    </a:lnTo>
                    <a:lnTo>
                      <a:pt x="1" y="81"/>
                    </a:lnTo>
                    <a:lnTo>
                      <a:pt x="23" y="81"/>
                    </a:lnTo>
                    <a:lnTo>
                      <a:pt x="23" y="86"/>
                    </a:lnTo>
                    <a:lnTo>
                      <a:pt x="24" y="89"/>
                    </a:lnTo>
                    <a:lnTo>
                      <a:pt x="27" y="92"/>
                    </a:lnTo>
                    <a:lnTo>
                      <a:pt x="30" y="94"/>
                    </a:lnTo>
                    <a:lnTo>
                      <a:pt x="33" y="95"/>
                    </a:lnTo>
                    <a:lnTo>
                      <a:pt x="39" y="96"/>
                    </a:lnTo>
                    <a:lnTo>
                      <a:pt x="43" y="95"/>
                    </a:lnTo>
                    <a:lnTo>
                      <a:pt x="47" y="94"/>
                    </a:lnTo>
                    <a:lnTo>
                      <a:pt x="51" y="92"/>
                    </a:lnTo>
                    <a:lnTo>
                      <a:pt x="53" y="89"/>
                    </a:lnTo>
                    <a:lnTo>
                      <a:pt x="55" y="85"/>
                    </a:lnTo>
                    <a:lnTo>
                      <a:pt x="55" y="80"/>
                    </a:lnTo>
                    <a:lnTo>
                      <a:pt x="55" y="75"/>
                    </a:lnTo>
                    <a:lnTo>
                      <a:pt x="53" y="71"/>
                    </a:lnTo>
                    <a:lnTo>
                      <a:pt x="51" y="68"/>
                    </a:lnTo>
                    <a:lnTo>
                      <a:pt x="47" y="65"/>
                    </a:lnTo>
                    <a:lnTo>
                      <a:pt x="43" y="64"/>
                    </a:lnTo>
                    <a:lnTo>
                      <a:pt x="38" y="63"/>
                    </a:lnTo>
                    <a:lnTo>
                      <a:pt x="25" y="63"/>
                    </a:lnTo>
                    <a:lnTo>
                      <a:pt x="25" y="47"/>
                    </a:lnTo>
                    <a:lnTo>
                      <a:pt x="38" y="47"/>
                    </a:lnTo>
                    <a:lnTo>
                      <a:pt x="42" y="46"/>
                    </a:lnTo>
                    <a:lnTo>
                      <a:pt x="46" y="45"/>
                    </a:lnTo>
                    <a:lnTo>
                      <a:pt x="49" y="43"/>
                    </a:lnTo>
                    <a:lnTo>
                      <a:pt x="52" y="40"/>
                    </a:lnTo>
                    <a:lnTo>
                      <a:pt x="53" y="35"/>
                    </a:lnTo>
                    <a:lnTo>
                      <a:pt x="53" y="31"/>
                    </a:lnTo>
                    <a:lnTo>
                      <a:pt x="53" y="27"/>
                    </a:lnTo>
                    <a:lnTo>
                      <a:pt x="52" y="24"/>
                    </a:lnTo>
                    <a:lnTo>
                      <a:pt x="49" y="20"/>
                    </a:lnTo>
                    <a:lnTo>
                      <a:pt x="46" y="18"/>
                    </a:lnTo>
                    <a:lnTo>
                      <a:pt x="43" y="17"/>
                    </a:lnTo>
                    <a:lnTo>
                      <a:pt x="39" y="16"/>
                    </a:lnTo>
                    <a:lnTo>
                      <a:pt x="34" y="17"/>
                    </a:lnTo>
                    <a:lnTo>
                      <a:pt x="31" y="18"/>
                    </a:lnTo>
                    <a:lnTo>
                      <a:pt x="28" y="20"/>
                    </a:lnTo>
                    <a:lnTo>
                      <a:pt x="26" y="23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" y="30"/>
                    </a:lnTo>
                    <a:lnTo>
                      <a:pt x="2" y="29"/>
                    </a:lnTo>
                    <a:lnTo>
                      <a:pt x="5" y="17"/>
                    </a:lnTo>
                    <a:lnTo>
                      <a:pt x="12" y="8"/>
                    </a:lnTo>
                    <a:lnTo>
                      <a:pt x="24" y="1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6" name="Rectangle 58">
                <a:extLst>
                  <a:ext uri="{FF2B5EF4-FFF2-40B4-BE49-F238E27FC236}">
                    <a16:creationId xmlns:a16="http://schemas.microsoft.com/office/drawing/2014/main" id="{A5F6B19C-3874-46CC-B0C1-E8C5B6FA17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74062" y="4487863"/>
                <a:ext cx="68263" cy="26987"/>
              </a:xfrm>
              <a:prstGeom prst="rect">
                <a:avLst/>
              </a:prstGeom>
              <a:solidFill>
                <a:srgbClr val="FFFFF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Freeform 59">
                <a:extLst>
                  <a:ext uri="{FF2B5EF4-FFF2-40B4-BE49-F238E27FC236}">
                    <a16:creationId xmlns:a16="http://schemas.microsoft.com/office/drawing/2014/main" id="{8E10F753-E23B-47FB-A5C0-E9486830D4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84987" y="4868863"/>
                <a:ext cx="115888" cy="180975"/>
              </a:xfrm>
              <a:custGeom>
                <a:avLst/>
                <a:gdLst>
                  <a:gd name="T0" fmla="*/ 36 w 73"/>
                  <a:gd name="T1" fmla="*/ 18 h 114"/>
                  <a:gd name="T2" fmla="*/ 33 w 73"/>
                  <a:gd name="T3" fmla="*/ 18 h 114"/>
                  <a:gd name="T4" fmla="*/ 30 w 73"/>
                  <a:gd name="T5" fmla="*/ 19 h 114"/>
                  <a:gd name="T6" fmla="*/ 27 w 73"/>
                  <a:gd name="T7" fmla="*/ 21 h 114"/>
                  <a:gd name="T8" fmla="*/ 25 w 73"/>
                  <a:gd name="T9" fmla="*/ 23 h 114"/>
                  <a:gd name="T10" fmla="*/ 22 w 73"/>
                  <a:gd name="T11" fmla="*/ 31 h 114"/>
                  <a:gd name="T12" fmla="*/ 21 w 73"/>
                  <a:gd name="T13" fmla="*/ 42 h 114"/>
                  <a:gd name="T14" fmla="*/ 21 w 73"/>
                  <a:gd name="T15" fmla="*/ 71 h 114"/>
                  <a:gd name="T16" fmla="*/ 22 w 73"/>
                  <a:gd name="T17" fmla="*/ 83 h 114"/>
                  <a:gd name="T18" fmla="*/ 25 w 73"/>
                  <a:gd name="T19" fmla="*/ 90 h 114"/>
                  <a:gd name="T20" fmla="*/ 27 w 73"/>
                  <a:gd name="T21" fmla="*/ 93 h 114"/>
                  <a:gd name="T22" fmla="*/ 30 w 73"/>
                  <a:gd name="T23" fmla="*/ 95 h 114"/>
                  <a:gd name="T24" fmla="*/ 33 w 73"/>
                  <a:gd name="T25" fmla="*/ 96 h 114"/>
                  <a:gd name="T26" fmla="*/ 36 w 73"/>
                  <a:gd name="T27" fmla="*/ 97 h 114"/>
                  <a:gd name="T28" fmla="*/ 37 w 73"/>
                  <a:gd name="T29" fmla="*/ 97 h 114"/>
                  <a:gd name="T30" fmla="*/ 40 w 73"/>
                  <a:gd name="T31" fmla="*/ 96 h 114"/>
                  <a:gd name="T32" fmla="*/ 44 w 73"/>
                  <a:gd name="T33" fmla="*/ 95 h 114"/>
                  <a:gd name="T34" fmla="*/ 46 w 73"/>
                  <a:gd name="T35" fmla="*/ 93 h 114"/>
                  <a:gd name="T36" fmla="*/ 48 w 73"/>
                  <a:gd name="T37" fmla="*/ 90 h 114"/>
                  <a:gd name="T38" fmla="*/ 51 w 73"/>
                  <a:gd name="T39" fmla="*/ 83 h 114"/>
                  <a:gd name="T40" fmla="*/ 52 w 73"/>
                  <a:gd name="T41" fmla="*/ 71 h 114"/>
                  <a:gd name="T42" fmla="*/ 52 w 73"/>
                  <a:gd name="T43" fmla="*/ 42 h 114"/>
                  <a:gd name="T44" fmla="*/ 51 w 73"/>
                  <a:gd name="T45" fmla="*/ 31 h 114"/>
                  <a:gd name="T46" fmla="*/ 48 w 73"/>
                  <a:gd name="T47" fmla="*/ 23 h 114"/>
                  <a:gd name="T48" fmla="*/ 45 w 73"/>
                  <a:gd name="T49" fmla="*/ 20 h 114"/>
                  <a:gd name="T50" fmla="*/ 41 w 73"/>
                  <a:gd name="T51" fmla="*/ 18 h 114"/>
                  <a:gd name="T52" fmla="*/ 36 w 73"/>
                  <a:gd name="T53" fmla="*/ 18 h 114"/>
                  <a:gd name="T54" fmla="*/ 36 w 73"/>
                  <a:gd name="T55" fmla="*/ 18 h 114"/>
                  <a:gd name="T56" fmla="*/ 36 w 73"/>
                  <a:gd name="T57" fmla="*/ 0 h 114"/>
                  <a:gd name="T58" fmla="*/ 36 w 73"/>
                  <a:gd name="T59" fmla="*/ 0 h 114"/>
                  <a:gd name="T60" fmla="*/ 47 w 73"/>
                  <a:gd name="T61" fmla="*/ 1 h 114"/>
                  <a:gd name="T62" fmla="*/ 56 w 73"/>
                  <a:gd name="T63" fmla="*/ 5 h 114"/>
                  <a:gd name="T64" fmla="*/ 64 w 73"/>
                  <a:gd name="T65" fmla="*/ 11 h 114"/>
                  <a:gd name="T66" fmla="*/ 69 w 73"/>
                  <a:gd name="T67" fmla="*/ 20 h 114"/>
                  <a:gd name="T68" fmla="*/ 72 w 73"/>
                  <a:gd name="T69" fmla="*/ 31 h 114"/>
                  <a:gd name="T70" fmla="*/ 73 w 73"/>
                  <a:gd name="T71" fmla="*/ 44 h 114"/>
                  <a:gd name="T72" fmla="*/ 73 w 73"/>
                  <a:gd name="T73" fmla="*/ 69 h 114"/>
                  <a:gd name="T74" fmla="*/ 72 w 73"/>
                  <a:gd name="T75" fmla="*/ 83 h 114"/>
                  <a:gd name="T76" fmla="*/ 69 w 73"/>
                  <a:gd name="T77" fmla="*/ 93 h 114"/>
                  <a:gd name="T78" fmla="*/ 64 w 73"/>
                  <a:gd name="T79" fmla="*/ 102 h 114"/>
                  <a:gd name="T80" fmla="*/ 56 w 73"/>
                  <a:gd name="T81" fmla="*/ 108 h 114"/>
                  <a:gd name="T82" fmla="*/ 48 w 73"/>
                  <a:gd name="T83" fmla="*/ 113 h 114"/>
                  <a:gd name="T84" fmla="*/ 37 w 73"/>
                  <a:gd name="T85" fmla="*/ 114 h 114"/>
                  <a:gd name="T86" fmla="*/ 36 w 73"/>
                  <a:gd name="T87" fmla="*/ 114 h 114"/>
                  <a:gd name="T88" fmla="*/ 26 w 73"/>
                  <a:gd name="T89" fmla="*/ 113 h 114"/>
                  <a:gd name="T90" fmla="*/ 17 w 73"/>
                  <a:gd name="T91" fmla="*/ 108 h 114"/>
                  <a:gd name="T92" fmla="*/ 9 w 73"/>
                  <a:gd name="T93" fmla="*/ 102 h 114"/>
                  <a:gd name="T94" fmla="*/ 4 w 73"/>
                  <a:gd name="T95" fmla="*/ 93 h 114"/>
                  <a:gd name="T96" fmla="*/ 1 w 73"/>
                  <a:gd name="T97" fmla="*/ 83 h 114"/>
                  <a:gd name="T98" fmla="*/ 0 w 73"/>
                  <a:gd name="T99" fmla="*/ 69 h 114"/>
                  <a:gd name="T100" fmla="*/ 0 w 73"/>
                  <a:gd name="T101" fmla="*/ 44 h 114"/>
                  <a:gd name="T102" fmla="*/ 1 w 73"/>
                  <a:gd name="T103" fmla="*/ 31 h 114"/>
                  <a:gd name="T104" fmla="*/ 4 w 73"/>
                  <a:gd name="T105" fmla="*/ 20 h 114"/>
                  <a:gd name="T106" fmla="*/ 9 w 73"/>
                  <a:gd name="T107" fmla="*/ 11 h 114"/>
                  <a:gd name="T108" fmla="*/ 17 w 73"/>
                  <a:gd name="T109" fmla="*/ 5 h 114"/>
                  <a:gd name="T110" fmla="*/ 25 w 73"/>
                  <a:gd name="T111" fmla="*/ 1 h 114"/>
                  <a:gd name="T112" fmla="*/ 36 w 73"/>
                  <a:gd name="T1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" h="114">
                    <a:moveTo>
                      <a:pt x="36" y="18"/>
                    </a:moveTo>
                    <a:lnTo>
                      <a:pt x="33" y="18"/>
                    </a:lnTo>
                    <a:lnTo>
                      <a:pt x="30" y="19"/>
                    </a:lnTo>
                    <a:lnTo>
                      <a:pt x="27" y="21"/>
                    </a:lnTo>
                    <a:lnTo>
                      <a:pt x="25" y="23"/>
                    </a:lnTo>
                    <a:lnTo>
                      <a:pt x="22" y="31"/>
                    </a:lnTo>
                    <a:lnTo>
                      <a:pt x="21" y="42"/>
                    </a:lnTo>
                    <a:lnTo>
                      <a:pt x="21" y="71"/>
                    </a:lnTo>
                    <a:lnTo>
                      <a:pt x="22" y="83"/>
                    </a:lnTo>
                    <a:lnTo>
                      <a:pt x="25" y="90"/>
                    </a:lnTo>
                    <a:lnTo>
                      <a:pt x="27" y="93"/>
                    </a:lnTo>
                    <a:lnTo>
                      <a:pt x="30" y="95"/>
                    </a:lnTo>
                    <a:lnTo>
                      <a:pt x="33" y="96"/>
                    </a:lnTo>
                    <a:lnTo>
                      <a:pt x="36" y="97"/>
                    </a:lnTo>
                    <a:lnTo>
                      <a:pt x="37" y="97"/>
                    </a:lnTo>
                    <a:lnTo>
                      <a:pt x="40" y="96"/>
                    </a:lnTo>
                    <a:lnTo>
                      <a:pt x="44" y="95"/>
                    </a:lnTo>
                    <a:lnTo>
                      <a:pt x="46" y="93"/>
                    </a:lnTo>
                    <a:lnTo>
                      <a:pt x="48" y="90"/>
                    </a:lnTo>
                    <a:lnTo>
                      <a:pt x="51" y="83"/>
                    </a:lnTo>
                    <a:lnTo>
                      <a:pt x="52" y="71"/>
                    </a:lnTo>
                    <a:lnTo>
                      <a:pt x="52" y="42"/>
                    </a:lnTo>
                    <a:lnTo>
                      <a:pt x="51" y="31"/>
                    </a:lnTo>
                    <a:lnTo>
                      <a:pt x="48" y="23"/>
                    </a:lnTo>
                    <a:lnTo>
                      <a:pt x="45" y="20"/>
                    </a:lnTo>
                    <a:lnTo>
                      <a:pt x="41" y="18"/>
                    </a:lnTo>
                    <a:lnTo>
                      <a:pt x="36" y="18"/>
                    </a:lnTo>
                    <a:lnTo>
                      <a:pt x="36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47" y="1"/>
                    </a:lnTo>
                    <a:lnTo>
                      <a:pt x="56" y="5"/>
                    </a:lnTo>
                    <a:lnTo>
                      <a:pt x="64" y="11"/>
                    </a:lnTo>
                    <a:lnTo>
                      <a:pt x="69" y="20"/>
                    </a:lnTo>
                    <a:lnTo>
                      <a:pt x="72" y="31"/>
                    </a:lnTo>
                    <a:lnTo>
                      <a:pt x="73" y="44"/>
                    </a:lnTo>
                    <a:lnTo>
                      <a:pt x="73" y="69"/>
                    </a:lnTo>
                    <a:lnTo>
                      <a:pt x="72" y="83"/>
                    </a:lnTo>
                    <a:lnTo>
                      <a:pt x="69" y="93"/>
                    </a:lnTo>
                    <a:lnTo>
                      <a:pt x="64" y="102"/>
                    </a:lnTo>
                    <a:lnTo>
                      <a:pt x="56" y="108"/>
                    </a:lnTo>
                    <a:lnTo>
                      <a:pt x="48" y="113"/>
                    </a:lnTo>
                    <a:lnTo>
                      <a:pt x="37" y="114"/>
                    </a:lnTo>
                    <a:lnTo>
                      <a:pt x="36" y="114"/>
                    </a:lnTo>
                    <a:lnTo>
                      <a:pt x="26" y="113"/>
                    </a:lnTo>
                    <a:lnTo>
                      <a:pt x="17" y="108"/>
                    </a:lnTo>
                    <a:lnTo>
                      <a:pt x="9" y="102"/>
                    </a:lnTo>
                    <a:lnTo>
                      <a:pt x="4" y="93"/>
                    </a:lnTo>
                    <a:lnTo>
                      <a:pt x="1" y="83"/>
                    </a:lnTo>
                    <a:lnTo>
                      <a:pt x="0" y="69"/>
                    </a:lnTo>
                    <a:lnTo>
                      <a:pt x="0" y="44"/>
                    </a:lnTo>
                    <a:lnTo>
                      <a:pt x="1" y="31"/>
                    </a:lnTo>
                    <a:lnTo>
                      <a:pt x="4" y="20"/>
                    </a:lnTo>
                    <a:lnTo>
                      <a:pt x="9" y="11"/>
                    </a:lnTo>
                    <a:lnTo>
                      <a:pt x="17" y="5"/>
                    </a:lnTo>
                    <a:lnTo>
                      <a:pt x="25" y="1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Freeform 60">
                <a:extLst>
                  <a:ext uri="{FF2B5EF4-FFF2-40B4-BE49-F238E27FC236}">
                    <a16:creationId xmlns:a16="http://schemas.microsoft.com/office/drawing/2014/main" id="{1CD20F3D-B4D4-412F-AF97-6DB59AF8C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5687" y="4922838"/>
                <a:ext cx="57150" cy="63500"/>
              </a:xfrm>
              <a:custGeom>
                <a:avLst/>
                <a:gdLst>
                  <a:gd name="T0" fmla="*/ 18 w 36"/>
                  <a:gd name="T1" fmla="*/ 0 h 40"/>
                  <a:gd name="T2" fmla="*/ 22 w 36"/>
                  <a:gd name="T3" fmla="*/ 0 h 40"/>
                  <a:gd name="T4" fmla="*/ 27 w 36"/>
                  <a:gd name="T5" fmla="*/ 2 h 40"/>
                  <a:gd name="T6" fmla="*/ 31 w 36"/>
                  <a:gd name="T7" fmla="*/ 4 h 40"/>
                  <a:gd name="T8" fmla="*/ 33 w 36"/>
                  <a:gd name="T9" fmla="*/ 8 h 40"/>
                  <a:gd name="T10" fmla="*/ 35 w 36"/>
                  <a:gd name="T11" fmla="*/ 12 h 40"/>
                  <a:gd name="T12" fmla="*/ 36 w 36"/>
                  <a:gd name="T13" fmla="*/ 17 h 40"/>
                  <a:gd name="T14" fmla="*/ 36 w 36"/>
                  <a:gd name="T15" fmla="*/ 24 h 40"/>
                  <a:gd name="T16" fmla="*/ 35 w 36"/>
                  <a:gd name="T17" fmla="*/ 28 h 40"/>
                  <a:gd name="T18" fmla="*/ 33 w 36"/>
                  <a:gd name="T19" fmla="*/ 33 h 40"/>
                  <a:gd name="T20" fmla="*/ 31 w 36"/>
                  <a:gd name="T21" fmla="*/ 36 h 40"/>
                  <a:gd name="T22" fmla="*/ 28 w 36"/>
                  <a:gd name="T23" fmla="*/ 38 h 40"/>
                  <a:gd name="T24" fmla="*/ 22 w 36"/>
                  <a:gd name="T25" fmla="*/ 40 h 40"/>
                  <a:gd name="T26" fmla="*/ 18 w 36"/>
                  <a:gd name="T27" fmla="*/ 40 h 40"/>
                  <a:gd name="T28" fmla="*/ 13 w 36"/>
                  <a:gd name="T29" fmla="*/ 40 h 40"/>
                  <a:gd name="T30" fmla="*/ 8 w 36"/>
                  <a:gd name="T31" fmla="*/ 38 h 40"/>
                  <a:gd name="T32" fmla="*/ 4 w 36"/>
                  <a:gd name="T33" fmla="*/ 36 h 40"/>
                  <a:gd name="T34" fmla="*/ 2 w 36"/>
                  <a:gd name="T35" fmla="*/ 33 h 40"/>
                  <a:gd name="T36" fmla="*/ 0 w 36"/>
                  <a:gd name="T37" fmla="*/ 28 h 40"/>
                  <a:gd name="T38" fmla="*/ 0 w 36"/>
                  <a:gd name="T39" fmla="*/ 24 h 40"/>
                  <a:gd name="T40" fmla="*/ 0 w 36"/>
                  <a:gd name="T41" fmla="*/ 17 h 40"/>
                  <a:gd name="T42" fmla="*/ 0 w 36"/>
                  <a:gd name="T43" fmla="*/ 12 h 40"/>
                  <a:gd name="T44" fmla="*/ 2 w 36"/>
                  <a:gd name="T45" fmla="*/ 8 h 40"/>
                  <a:gd name="T46" fmla="*/ 4 w 36"/>
                  <a:gd name="T47" fmla="*/ 5 h 40"/>
                  <a:gd name="T48" fmla="*/ 8 w 36"/>
                  <a:gd name="T49" fmla="*/ 2 h 40"/>
                  <a:gd name="T50" fmla="*/ 13 w 36"/>
                  <a:gd name="T51" fmla="*/ 0 h 40"/>
                  <a:gd name="T52" fmla="*/ 18 w 36"/>
                  <a:gd name="T5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40">
                    <a:moveTo>
                      <a:pt x="18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31" y="4"/>
                    </a:lnTo>
                    <a:lnTo>
                      <a:pt x="33" y="8"/>
                    </a:lnTo>
                    <a:lnTo>
                      <a:pt x="35" y="12"/>
                    </a:lnTo>
                    <a:lnTo>
                      <a:pt x="36" y="17"/>
                    </a:lnTo>
                    <a:lnTo>
                      <a:pt x="36" y="24"/>
                    </a:lnTo>
                    <a:lnTo>
                      <a:pt x="35" y="28"/>
                    </a:lnTo>
                    <a:lnTo>
                      <a:pt x="33" y="33"/>
                    </a:lnTo>
                    <a:lnTo>
                      <a:pt x="31" y="36"/>
                    </a:lnTo>
                    <a:lnTo>
                      <a:pt x="28" y="38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3" y="40"/>
                    </a:lnTo>
                    <a:lnTo>
                      <a:pt x="8" y="38"/>
                    </a:lnTo>
                    <a:lnTo>
                      <a:pt x="4" y="36"/>
                    </a:lnTo>
                    <a:lnTo>
                      <a:pt x="2" y="33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Freeform 61">
                <a:extLst>
                  <a:ext uri="{FF2B5EF4-FFF2-40B4-BE49-F238E27FC236}">
                    <a16:creationId xmlns:a16="http://schemas.microsoft.com/office/drawing/2014/main" id="{73E6FFD6-42E3-4909-880C-5B86C3F21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8125" y="4902200"/>
                <a:ext cx="120650" cy="127000"/>
              </a:xfrm>
              <a:custGeom>
                <a:avLst/>
                <a:gdLst>
                  <a:gd name="T0" fmla="*/ 28 w 76"/>
                  <a:gd name="T1" fmla="*/ 0 h 80"/>
                  <a:gd name="T2" fmla="*/ 50 w 76"/>
                  <a:gd name="T3" fmla="*/ 0 h 80"/>
                  <a:gd name="T4" fmla="*/ 50 w 76"/>
                  <a:gd name="T5" fmla="*/ 30 h 80"/>
                  <a:gd name="T6" fmla="*/ 76 w 76"/>
                  <a:gd name="T7" fmla="*/ 30 h 80"/>
                  <a:gd name="T8" fmla="*/ 76 w 76"/>
                  <a:gd name="T9" fmla="*/ 49 h 80"/>
                  <a:gd name="T10" fmla="*/ 50 w 76"/>
                  <a:gd name="T11" fmla="*/ 49 h 80"/>
                  <a:gd name="T12" fmla="*/ 50 w 76"/>
                  <a:gd name="T13" fmla="*/ 80 h 80"/>
                  <a:gd name="T14" fmla="*/ 28 w 76"/>
                  <a:gd name="T15" fmla="*/ 80 h 80"/>
                  <a:gd name="T16" fmla="*/ 28 w 76"/>
                  <a:gd name="T17" fmla="*/ 49 h 80"/>
                  <a:gd name="T18" fmla="*/ 0 w 76"/>
                  <a:gd name="T19" fmla="*/ 49 h 80"/>
                  <a:gd name="T20" fmla="*/ 0 w 76"/>
                  <a:gd name="T21" fmla="*/ 30 h 80"/>
                  <a:gd name="T22" fmla="*/ 28 w 76"/>
                  <a:gd name="T23" fmla="*/ 30 h 80"/>
                  <a:gd name="T24" fmla="*/ 28 w 76"/>
                  <a:gd name="T2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0">
                    <a:moveTo>
                      <a:pt x="28" y="0"/>
                    </a:moveTo>
                    <a:lnTo>
                      <a:pt x="50" y="0"/>
                    </a:lnTo>
                    <a:lnTo>
                      <a:pt x="50" y="30"/>
                    </a:lnTo>
                    <a:lnTo>
                      <a:pt x="76" y="30"/>
                    </a:lnTo>
                    <a:lnTo>
                      <a:pt x="76" y="49"/>
                    </a:lnTo>
                    <a:lnTo>
                      <a:pt x="50" y="49"/>
                    </a:lnTo>
                    <a:lnTo>
                      <a:pt x="50" y="80"/>
                    </a:lnTo>
                    <a:lnTo>
                      <a:pt x="28" y="80"/>
                    </a:lnTo>
                    <a:lnTo>
                      <a:pt x="28" y="49"/>
                    </a:lnTo>
                    <a:lnTo>
                      <a:pt x="0" y="49"/>
                    </a:lnTo>
                    <a:lnTo>
                      <a:pt x="0" y="30"/>
                    </a:lnTo>
                    <a:lnTo>
                      <a:pt x="28" y="3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Freeform 62">
                <a:extLst>
                  <a:ext uri="{FF2B5EF4-FFF2-40B4-BE49-F238E27FC236}">
                    <a16:creationId xmlns:a16="http://schemas.microsoft.com/office/drawing/2014/main" id="{D110C3F3-B4D8-4120-BD98-F71DFF9943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51837" y="4927600"/>
                <a:ext cx="109538" cy="79375"/>
              </a:xfrm>
              <a:custGeom>
                <a:avLst/>
                <a:gdLst>
                  <a:gd name="T0" fmla="*/ 0 w 69"/>
                  <a:gd name="T1" fmla="*/ 32 h 50"/>
                  <a:gd name="T2" fmla="*/ 69 w 69"/>
                  <a:gd name="T3" fmla="*/ 32 h 50"/>
                  <a:gd name="T4" fmla="*/ 69 w 69"/>
                  <a:gd name="T5" fmla="*/ 50 h 50"/>
                  <a:gd name="T6" fmla="*/ 0 w 69"/>
                  <a:gd name="T7" fmla="*/ 50 h 50"/>
                  <a:gd name="T8" fmla="*/ 0 w 69"/>
                  <a:gd name="T9" fmla="*/ 32 h 50"/>
                  <a:gd name="T10" fmla="*/ 0 w 69"/>
                  <a:gd name="T11" fmla="*/ 0 h 50"/>
                  <a:gd name="T12" fmla="*/ 69 w 69"/>
                  <a:gd name="T13" fmla="*/ 0 h 50"/>
                  <a:gd name="T14" fmla="*/ 69 w 69"/>
                  <a:gd name="T15" fmla="*/ 17 h 50"/>
                  <a:gd name="T16" fmla="*/ 0 w 69"/>
                  <a:gd name="T17" fmla="*/ 17 h 50"/>
                  <a:gd name="T18" fmla="*/ 0 w 6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50">
                    <a:moveTo>
                      <a:pt x="0" y="32"/>
                    </a:moveTo>
                    <a:lnTo>
                      <a:pt x="69" y="32"/>
                    </a:lnTo>
                    <a:lnTo>
                      <a:pt x="69" y="50"/>
                    </a:lnTo>
                    <a:lnTo>
                      <a:pt x="0" y="50"/>
                    </a:lnTo>
                    <a:lnTo>
                      <a:pt x="0" y="32"/>
                    </a:lnTo>
                    <a:close/>
                    <a:moveTo>
                      <a:pt x="0" y="0"/>
                    </a:moveTo>
                    <a:lnTo>
                      <a:pt x="69" y="0"/>
                    </a:lnTo>
                    <a:lnTo>
                      <a:pt x="69" y="17"/>
                    </a:lnTo>
                    <a:lnTo>
                      <a:pt x="0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C98A3D39-8999-4CC8-8ADD-0B69E8B7AB4D}"/>
                </a:ext>
              </a:extLst>
            </p:cNvPr>
            <p:cNvGrpSpPr/>
            <p:nvPr/>
          </p:nvGrpSpPr>
          <p:grpSpPr>
            <a:xfrm>
              <a:off x="9099549" y="2667000"/>
              <a:ext cx="1879600" cy="965200"/>
              <a:chOff x="8837612" y="1447800"/>
              <a:chExt cx="1879600" cy="965200"/>
            </a:xfrm>
          </p:grpSpPr>
          <p:sp>
            <p:nvSpPr>
              <p:cNvPr id="206" name="Freeform 63">
                <a:extLst>
                  <a:ext uri="{FF2B5EF4-FFF2-40B4-BE49-F238E27FC236}">
                    <a16:creationId xmlns:a16="http://schemas.microsoft.com/office/drawing/2014/main" id="{D495EA8B-F972-47C7-A8E4-473C54DC3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879600" cy="965200"/>
              </a:xfrm>
              <a:custGeom>
                <a:avLst/>
                <a:gdLst>
                  <a:gd name="T0" fmla="*/ 0 w 1184"/>
                  <a:gd name="T1" fmla="*/ 0 h 608"/>
                  <a:gd name="T2" fmla="*/ 151 w 1184"/>
                  <a:gd name="T3" fmla="*/ 5 h 608"/>
                  <a:gd name="T4" fmla="*/ 1165 w 1184"/>
                  <a:gd name="T5" fmla="*/ 496 h 608"/>
                  <a:gd name="T6" fmla="*/ 1176 w 1184"/>
                  <a:gd name="T7" fmla="*/ 503 h 608"/>
                  <a:gd name="T8" fmla="*/ 1182 w 1184"/>
                  <a:gd name="T9" fmla="*/ 514 h 608"/>
                  <a:gd name="T10" fmla="*/ 1184 w 1184"/>
                  <a:gd name="T11" fmla="*/ 527 h 608"/>
                  <a:gd name="T12" fmla="*/ 1180 w 1184"/>
                  <a:gd name="T13" fmla="*/ 540 h 608"/>
                  <a:gd name="T14" fmla="*/ 1157 w 1184"/>
                  <a:gd name="T15" fmla="*/ 590 h 608"/>
                  <a:gd name="T16" fmla="*/ 1148 w 1184"/>
                  <a:gd name="T17" fmla="*/ 599 h 608"/>
                  <a:gd name="T18" fmla="*/ 1137 w 1184"/>
                  <a:gd name="T19" fmla="*/ 606 h 608"/>
                  <a:gd name="T20" fmla="*/ 1125 w 1184"/>
                  <a:gd name="T21" fmla="*/ 608 h 608"/>
                  <a:gd name="T22" fmla="*/ 1112 w 1184"/>
                  <a:gd name="T23" fmla="*/ 605 h 608"/>
                  <a:gd name="T24" fmla="*/ 98 w 1184"/>
                  <a:gd name="T25" fmla="*/ 115 h 608"/>
                  <a:gd name="T26" fmla="*/ 0 w 1184"/>
                  <a:gd name="T27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84" h="608">
                    <a:moveTo>
                      <a:pt x="0" y="0"/>
                    </a:moveTo>
                    <a:lnTo>
                      <a:pt x="151" y="5"/>
                    </a:lnTo>
                    <a:lnTo>
                      <a:pt x="1165" y="496"/>
                    </a:lnTo>
                    <a:lnTo>
                      <a:pt x="1176" y="503"/>
                    </a:lnTo>
                    <a:lnTo>
                      <a:pt x="1182" y="514"/>
                    </a:lnTo>
                    <a:lnTo>
                      <a:pt x="1184" y="527"/>
                    </a:lnTo>
                    <a:lnTo>
                      <a:pt x="1180" y="540"/>
                    </a:lnTo>
                    <a:lnTo>
                      <a:pt x="1157" y="590"/>
                    </a:lnTo>
                    <a:lnTo>
                      <a:pt x="1148" y="599"/>
                    </a:lnTo>
                    <a:lnTo>
                      <a:pt x="1137" y="606"/>
                    </a:lnTo>
                    <a:lnTo>
                      <a:pt x="1125" y="608"/>
                    </a:lnTo>
                    <a:lnTo>
                      <a:pt x="1112" y="605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7" name="Freeform 64">
                <a:extLst>
                  <a:ext uri="{FF2B5EF4-FFF2-40B4-BE49-F238E27FC236}">
                    <a16:creationId xmlns:a16="http://schemas.microsoft.com/office/drawing/2014/main" id="{7F7D8B92-86D0-4C0C-ACF3-B506FA076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854200" cy="965200"/>
              </a:xfrm>
              <a:custGeom>
                <a:avLst/>
                <a:gdLst>
                  <a:gd name="T0" fmla="*/ 0 w 1168"/>
                  <a:gd name="T1" fmla="*/ 0 h 608"/>
                  <a:gd name="T2" fmla="*/ 129 w 1168"/>
                  <a:gd name="T3" fmla="*/ 63 h 608"/>
                  <a:gd name="T4" fmla="*/ 1168 w 1168"/>
                  <a:gd name="T5" fmla="*/ 564 h 608"/>
                  <a:gd name="T6" fmla="*/ 1157 w 1168"/>
                  <a:gd name="T7" fmla="*/ 590 h 608"/>
                  <a:gd name="T8" fmla="*/ 1148 w 1168"/>
                  <a:gd name="T9" fmla="*/ 599 h 608"/>
                  <a:gd name="T10" fmla="*/ 1137 w 1168"/>
                  <a:gd name="T11" fmla="*/ 606 h 608"/>
                  <a:gd name="T12" fmla="*/ 1125 w 1168"/>
                  <a:gd name="T13" fmla="*/ 608 h 608"/>
                  <a:gd name="T14" fmla="*/ 1112 w 1168"/>
                  <a:gd name="T15" fmla="*/ 605 h 608"/>
                  <a:gd name="T16" fmla="*/ 98 w 1168"/>
                  <a:gd name="T17" fmla="*/ 115 h 608"/>
                  <a:gd name="T18" fmla="*/ 0 w 1168"/>
                  <a:gd name="T19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8" h="608">
                    <a:moveTo>
                      <a:pt x="0" y="0"/>
                    </a:moveTo>
                    <a:lnTo>
                      <a:pt x="129" y="63"/>
                    </a:lnTo>
                    <a:lnTo>
                      <a:pt x="1168" y="564"/>
                    </a:lnTo>
                    <a:lnTo>
                      <a:pt x="1157" y="590"/>
                    </a:lnTo>
                    <a:lnTo>
                      <a:pt x="1148" y="599"/>
                    </a:lnTo>
                    <a:lnTo>
                      <a:pt x="1137" y="606"/>
                    </a:lnTo>
                    <a:lnTo>
                      <a:pt x="1125" y="608"/>
                    </a:lnTo>
                    <a:lnTo>
                      <a:pt x="1112" y="605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8" name="Freeform 66">
                <a:extLst>
                  <a:ext uri="{FF2B5EF4-FFF2-40B4-BE49-F238E27FC236}">
                    <a16:creationId xmlns:a16="http://schemas.microsoft.com/office/drawing/2014/main" id="{E1E3AB3E-E549-4BD4-9CA0-36541DFC2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746250" cy="925512"/>
              </a:xfrm>
              <a:custGeom>
                <a:avLst/>
                <a:gdLst>
                  <a:gd name="T0" fmla="*/ 0 w 1100"/>
                  <a:gd name="T1" fmla="*/ 0 h 583"/>
                  <a:gd name="T2" fmla="*/ 129 w 1100"/>
                  <a:gd name="T3" fmla="*/ 63 h 583"/>
                  <a:gd name="T4" fmla="*/ 1100 w 1100"/>
                  <a:gd name="T5" fmla="*/ 531 h 583"/>
                  <a:gd name="T6" fmla="*/ 1085 w 1100"/>
                  <a:gd name="T7" fmla="*/ 559 h 583"/>
                  <a:gd name="T8" fmla="*/ 1068 w 1100"/>
                  <a:gd name="T9" fmla="*/ 583 h 583"/>
                  <a:gd name="T10" fmla="*/ 98 w 1100"/>
                  <a:gd name="T11" fmla="*/ 115 h 583"/>
                  <a:gd name="T12" fmla="*/ 0 w 1100"/>
                  <a:gd name="T13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00" h="583">
                    <a:moveTo>
                      <a:pt x="0" y="0"/>
                    </a:moveTo>
                    <a:lnTo>
                      <a:pt x="129" y="63"/>
                    </a:lnTo>
                    <a:lnTo>
                      <a:pt x="1100" y="531"/>
                    </a:lnTo>
                    <a:lnTo>
                      <a:pt x="1085" y="559"/>
                    </a:lnTo>
                    <a:lnTo>
                      <a:pt x="1068" y="583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E7A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9" name="Freeform 67">
                <a:extLst>
                  <a:ext uri="{FF2B5EF4-FFF2-40B4-BE49-F238E27FC236}">
                    <a16:creationId xmlns:a16="http://schemas.microsoft.com/office/drawing/2014/main" id="{683643C5-9948-4C78-B51A-17F10044C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724025" cy="898525"/>
              </a:xfrm>
              <a:custGeom>
                <a:avLst/>
                <a:gdLst>
                  <a:gd name="T0" fmla="*/ 0 w 1086"/>
                  <a:gd name="T1" fmla="*/ 0 h 566"/>
                  <a:gd name="T2" fmla="*/ 151 w 1086"/>
                  <a:gd name="T3" fmla="*/ 5 h 566"/>
                  <a:gd name="T4" fmla="*/ 1086 w 1086"/>
                  <a:gd name="T5" fmla="*/ 457 h 566"/>
                  <a:gd name="T6" fmla="*/ 1072 w 1086"/>
                  <a:gd name="T7" fmla="*/ 497 h 566"/>
                  <a:gd name="T8" fmla="*/ 1055 w 1086"/>
                  <a:gd name="T9" fmla="*/ 534 h 566"/>
                  <a:gd name="T10" fmla="*/ 1034 w 1086"/>
                  <a:gd name="T11" fmla="*/ 566 h 566"/>
                  <a:gd name="T12" fmla="*/ 98 w 1086"/>
                  <a:gd name="T13" fmla="*/ 115 h 566"/>
                  <a:gd name="T14" fmla="*/ 0 w 1086"/>
                  <a:gd name="T15" fmla="*/ 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6" h="566">
                    <a:moveTo>
                      <a:pt x="0" y="0"/>
                    </a:moveTo>
                    <a:lnTo>
                      <a:pt x="151" y="5"/>
                    </a:lnTo>
                    <a:lnTo>
                      <a:pt x="1086" y="457"/>
                    </a:lnTo>
                    <a:lnTo>
                      <a:pt x="1072" y="497"/>
                    </a:lnTo>
                    <a:lnTo>
                      <a:pt x="1055" y="534"/>
                    </a:lnTo>
                    <a:lnTo>
                      <a:pt x="1034" y="566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60000"/>
                  <a:lumOff val="4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0" name="Freeform 68">
                <a:extLst>
                  <a:ext uri="{FF2B5EF4-FFF2-40B4-BE49-F238E27FC236}">
                    <a16:creationId xmlns:a16="http://schemas.microsoft.com/office/drawing/2014/main" id="{2E501446-4743-4231-99FC-C92CAE025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1690688" cy="898525"/>
              </a:xfrm>
              <a:custGeom>
                <a:avLst/>
                <a:gdLst>
                  <a:gd name="T0" fmla="*/ 0 w 1065"/>
                  <a:gd name="T1" fmla="*/ 0 h 566"/>
                  <a:gd name="T2" fmla="*/ 129 w 1065"/>
                  <a:gd name="T3" fmla="*/ 63 h 566"/>
                  <a:gd name="T4" fmla="*/ 1065 w 1065"/>
                  <a:gd name="T5" fmla="*/ 514 h 566"/>
                  <a:gd name="T6" fmla="*/ 1050 w 1065"/>
                  <a:gd name="T7" fmla="*/ 542 h 566"/>
                  <a:gd name="T8" fmla="*/ 1034 w 1065"/>
                  <a:gd name="T9" fmla="*/ 566 h 566"/>
                  <a:gd name="T10" fmla="*/ 98 w 1065"/>
                  <a:gd name="T11" fmla="*/ 115 h 566"/>
                  <a:gd name="T12" fmla="*/ 0 w 1065"/>
                  <a:gd name="T13" fmla="*/ 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5" h="566">
                    <a:moveTo>
                      <a:pt x="0" y="0"/>
                    </a:moveTo>
                    <a:lnTo>
                      <a:pt x="129" y="63"/>
                    </a:lnTo>
                    <a:lnTo>
                      <a:pt x="1065" y="514"/>
                    </a:lnTo>
                    <a:lnTo>
                      <a:pt x="1050" y="542"/>
                    </a:lnTo>
                    <a:lnTo>
                      <a:pt x="1034" y="566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75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Freeform 69">
                <a:extLst>
                  <a:ext uri="{FF2B5EF4-FFF2-40B4-BE49-F238E27FC236}">
                    <a16:creationId xmlns:a16="http://schemas.microsoft.com/office/drawing/2014/main" id="{DB7244AA-5312-444D-BFF0-5201BCF5A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239713" cy="182562"/>
              </a:xfrm>
              <a:custGeom>
                <a:avLst/>
                <a:gdLst>
                  <a:gd name="T0" fmla="*/ 0 w 151"/>
                  <a:gd name="T1" fmla="*/ 0 h 115"/>
                  <a:gd name="T2" fmla="*/ 151 w 151"/>
                  <a:gd name="T3" fmla="*/ 5 h 115"/>
                  <a:gd name="T4" fmla="*/ 142 w 151"/>
                  <a:gd name="T5" fmla="*/ 34 h 115"/>
                  <a:gd name="T6" fmla="*/ 129 w 151"/>
                  <a:gd name="T7" fmla="*/ 63 h 115"/>
                  <a:gd name="T8" fmla="*/ 114 w 151"/>
                  <a:gd name="T9" fmla="*/ 89 h 115"/>
                  <a:gd name="T10" fmla="*/ 98 w 151"/>
                  <a:gd name="T11" fmla="*/ 115 h 115"/>
                  <a:gd name="T12" fmla="*/ 0 w 151"/>
                  <a:gd name="T13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1" h="115">
                    <a:moveTo>
                      <a:pt x="0" y="0"/>
                    </a:moveTo>
                    <a:lnTo>
                      <a:pt x="151" y="5"/>
                    </a:lnTo>
                    <a:lnTo>
                      <a:pt x="142" y="34"/>
                    </a:lnTo>
                    <a:lnTo>
                      <a:pt x="129" y="63"/>
                    </a:lnTo>
                    <a:lnTo>
                      <a:pt x="114" y="89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>
                  <a:lumMod val="60000"/>
                  <a:lumOff val="4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Freeform 70">
                <a:extLst>
                  <a:ext uri="{FF2B5EF4-FFF2-40B4-BE49-F238E27FC236}">
                    <a16:creationId xmlns:a16="http://schemas.microsoft.com/office/drawing/2014/main" id="{1791E351-A946-4489-9AC3-F95B0A8C6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204788" cy="182562"/>
              </a:xfrm>
              <a:custGeom>
                <a:avLst/>
                <a:gdLst>
                  <a:gd name="T0" fmla="*/ 0 w 129"/>
                  <a:gd name="T1" fmla="*/ 0 h 115"/>
                  <a:gd name="T2" fmla="*/ 129 w 129"/>
                  <a:gd name="T3" fmla="*/ 63 h 115"/>
                  <a:gd name="T4" fmla="*/ 114 w 129"/>
                  <a:gd name="T5" fmla="*/ 89 h 115"/>
                  <a:gd name="T6" fmla="*/ 98 w 129"/>
                  <a:gd name="T7" fmla="*/ 115 h 115"/>
                  <a:gd name="T8" fmla="*/ 0 w 129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15">
                    <a:moveTo>
                      <a:pt x="0" y="0"/>
                    </a:moveTo>
                    <a:lnTo>
                      <a:pt x="129" y="63"/>
                    </a:lnTo>
                    <a:lnTo>
                      <a:pt x="114" y="89"/>
                    </a:lnTo>
                    <a:lnTo>
                      <a:pt x="98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Freeform 71">
                <a:extLst>
                  <a:ext uri="{FF2B5EF4-FFF2-40B4-BE49-F238E27FC236}">
                    <a16:creationId xmlns:a16="http://schemas.microsoft.com/office/drawing/2014/main" id="{6D8BED6A-54CE-4DDB-B6C5-001FEC066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7612" y="1447800"/>
                <a:ext cx="79375" cy="60325"/>
              </a:xfrm>
              <a:custGeom>
                <a:avLst/>
                <a:gdLst>
                  <a:gd name="T0" fmla="*/ 0 w 50"/>
                  <a:gd name="T1" fmla="*/ 0 h 38"/>
                  <a:gd name="T2" fmla="*/ 50 w 50"/>
                  <a:gd name="T3" fmla="*/ 2 h 38"/>
                  <a:gd name="T4" fmla="*/ 43 w 50"/>
                  <a:gd name="T5" fmla="*/ 20 h 38"/>
                  <a:gd name="T6" fmla="*/ 32 w 50"/>
                  <a:gd name="T7" fmla="*/ 38 h 38"/>
                  <a:gd name="T8" fmla="*/ 0 w 50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8">
                    <a:moveTo>
                      <a:pt x="0" y="0"/>
                    </a:moveTo>
                    <a:lnTo>
                      <a:pt x="50" y="2"/>
                    </a:lnTo>
                    <a:lnTo>
                      <a:pt x="43" y="20"/>
                    </a:lnTo>
                    <a:lnTo>
                      <a:pt x="3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69702E3F-FECD-457D-BFE2-449FC065E0A0}"/>
              </a:ext>
            </a:extLst>
          </p:cNvPr>
          <p:cNvGrpSpPr/>
          <p:nvPr/>
        </p:nvGrpSpPr>
        <p:grpSpPr>
          <a:xfrm>
            <a:off x="32781" y="2429269"/>
            <a:ext cx="1108564" cy="1061352"/>
            <a:chOff x="5789613" y="1071563"/>
            <a:chExt cx="4570412" cy="4799012"/>
          </a:xfrm>
        </p:grpSpPr>
        <p:sp>
          <p:nvSpPr>
            <p:cNvPr id="263" name="Freeform 199">
              <a:extLst>
                <a:ext uri="{FF2B5EF4-FFF2-40B4-BE49-F238E27FC236}">
                  <a16:creationId xmlns:a16="http://schemas.microsoft.com/office/drawing/2014/main" id="{2979063B-10B2-4EB6-8F1A-22233A9D67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613" y="1282700"/>
              <a:ext cx="4570412" cy="4587875"/>
            </a:xfrm>
            <a:custGeom>
              <a:avLst/>
              <a:gdLst>
                <a:gd name="T0" fmla="*/ 2824 w 5758"/>
                <a:gd name="T1" fmla="*/ 5781 h 5781"/>
                <a:gd name="T2" fmla="*/ 2923 w 5758"/>
                <a:gd name="T3" fmla="*/ 5612 h 5781"/>
                <a:gd name="T4" fmla="*/ 3392 w 5758"/>
                <a:gd name="T5" fmla="*/ 5669 h 5781"/>
                <a:gd name="T6" fmla="*/ 2346 w 5758"/>
                <a:gd name="T7" fmla="*/ 5565 h 5781"/>
                <a:gd name="T8" fmla="*/ 2125 w 5758"/>
                <a:gd name="T9" fmla="*/ 5680 h 5781"/>
                <a:gd name="T10" fmla="*/ 3478 w 5758"/>
                <a:gd name="T11" fmla="*/ 5548 h 5781"/>
                <a:gd name="T12" fmla="*/ 3584 w 5758"/>
                <a:gd name="T13" fmla="*/ 5695 h 5781"/>
                <a:gd name="T14" fmla="*/ 1656 w 5758"/>
                <a:gd name="T15" fmla="*/ 5323 h 5781"/>
                <a:gd name="T16" fmla="*/ 1549 w 5758"/>
                <a:gd name="T17" fmla="*/ 5456 h 5781"/>
                <a:gd name="T18" fmla="*/ 4332 w 5758"/>
                <a:gd name="T19" fmla="*/ 5334 h 5781"/>
                <a:gd name="T20" fmla="*/ 4029 w 5758"/>
                <a:gd name="T21" fmla="*/ 5462 h 5781"/>
                <a:gd name="T22" fmla="*/ 995 w 5758"/>
                <a:gd name="T23" fmla="*/ 4873 h 5781"/>
                <a:gd name="T24" fmla="*/ 1132 w 5758"/>
                <a:gd name="T25" fmla="*/ 5146 h 5781"/>
                <a:gd name="T26" fmla="*/ 941 w 5758"/>
                <a:gd name="T27" fmla="*/ 4882 h 5781"/>
                <a:gd name="T28" fmla="*/ 4729 w 5758"/>
                <a:gd name="T29" fmla="*/ 5110 h 5781"/>
                <a:gd name="T30" fmla="*/ 4696 w 5758"/>
                <a:gd name="T31" fmla="*/ 4917 h 5781"/>
                <a:gd name="T32" fmla="*/ 711 w 5758"/>
                <a:gd name="T33" fmla="*/ 4534 h 5781"/>
                <a:gd name="T34" fmla="*/ 496 w 5758"/>
                <a:gd name="T35" fmla="*/ 4521 h 5781"/>
                <a:gd name="T36" fmla="*/ 5273 w 5758"/>
                <a:gd name="T37" fmla="*/ 4506 h 5781"/>
                <a:gd name="T38" fmla="*/ 5059 w 5758"/>
                <a:gd name="T39" fmla="*/ 4519 h 5781"/>
                <a:gd name="T40" fmla="*/ 332 w 5758"/>
                <a:gd name="T41" fmla="*/ 3843 h 5781"/>
                <a:gd name="T42" fmla="*/ 244 w 5758"/>
                <a:gd name="T43" fmla="*/ 4063 h 5781"/>
                <a:gd name="T44" fmla="*/ 5528 w 5758"/>
                <a:gd name="T45" fmla="*/ 3754 h 5781"/>
                <a:gd name="T46" fmla="*/ 5480 w 5758"/>
                <a:gd name="T47" fmla="*/ 4075 h 5781"/>
                <a:gd name="T48" fmla="*/ 5451 w 5758"/>
                <a:gd name="T49" fmla="*/ 3791 h 5781"/>
                <a:gd name="T50" fmla="*/ 200 w 5758"/>
                <a:gd name="T51" fmla="*/ 3351 h 5781"/>
                <a:gd name="T52" fmla="*/ 15 w 5758"/>
                <a:gd name="T53" fmla="*/ 3241 h 5781"/>
                <a:gd name="T54" fmla="*/ 5742 w 5758"/>
                <a:gd name="T55" fmla="*/ 3276 h 5781"/>
                <a:gd name="T56" fmla="*/ 5575 w 5758"/>
                <a:gd name="T57" fmla="*/ 3254 h 5781"/>
                <a:gd name="T58" fmla="*/ 179 w 5758"/>
                <a:gd name="T59" fmla="*/ 2561 h 5781"/>
                <a:gd name="T60" fmla="*/ 169 w 5758"/>
                <a:gd name="T61" fmla="*/ 2672 h 5781"/>
                <a:gd name="T62" fmla="*/ 0 w 5758"/>
                <a:gd name="T63" fmla="*/ 2678 h 5781"/>
                <a:gd name="T64" fmla="*/ 13 w 5758"/>
                <a:gd name="T65" fmla="*/ 2559 h 5781"/>
                <a:gd name="T66" fmla="*/ 5746 w 5758"/>
                <a:gd name="T67" fmla="*/ 2540 h 5781"/>
                <a:gd name="T68" fmla="*/ 5590 w 5758"/>
                <a:gd name="T69" fmla="*/ 2663 h 5781"/>
                <a:gd name="T70" fmla="*/ 346 w 5758"/>
                <a:gd name="T71" fmla="*/ 1869 h 5781"/>
                <a:gd name="T72" fmla="*/ 308 w 5758"/>
                <a:gd name="T73" fmla="*/ 2005 h 5781"/>
                <a:gd name="T74" fmla="*/ 128 w 5758"/>
                <a:gd name="T75" fmla="*/ 2067 h 5781"/>
                <a:gd name="T76" fmla="*/ 161 w 5758"/>
                <a:gd name="T77" fmla="*/ 1917 h 5781"/>
                <a:gd name="T78" fmla="*/ 5557 w 5758"/>
                <a:gd name="T79" fmla="*/ 1816 h 5781"/>
                <a:gd name="T80" fmla="*/ 5520 w 5758"/>
                <a:gd name="T81" fmla="*/ 2108 h 5781"/>
                <a:gd name="T82" fmla="*/ 5473 w 5758"/>
                <a:gd name="T83" fmla="*/ 1789 h 5781"/>
                <a:gd name="T84" fmla="*/ 5313 w 5758"/>
                <a:gd name="T85" fmla="*/ 1491 h 5781"/>
                <a:gd name="T86" fmla="*/ 5126 w 5758"/>
                <a:gd name="T87" fmla="*/ 1213 h 5781"/>
                <a:gd name="T88" fmla="*/ 4910 w 5758"/>
                <a:gd name="T89" fmla="*/ 837 h 5781"/>
                <a:gd name="T90" fmla="*/ 4683 w 5758"/>
                <a:gd name="T91" fmla="*/ 853 h 5781"/>
                <a:gd name="T92" fmla="*/ 4346 w 5758"/>
                <a:gd name="T93" fmla="*/ 400 h 5781"/>
                <a:gd name="T94" fmla="*/ 4176 w 5758"/>
                <a:gd name="T95" fmla="*/ 496 h 5781"/>
                <a:gd name="T96" fmla="*/ 1826 w 5758"/>
                <a:gd name="T97" fmla="*/ 362 h 5781"/>
                <a:gd name="T98" fmla="*/ 1711 w 5758"/>
                <a:gd name="T99" fmla="*/ 431 h 5781"/>
                <a:gd name="T100" fmla="*/ 1551 w 5758"/>
                <a:gd name="T101" fmla="*/ 459 h 5781"/>
                <a:gd name="T102" fmla="*/ 1625 w 5758"/>
                <a:gd name="T103" fmla="*/ 287 h 5781"/>
                <a:gd name="T104" fmla="*/ 1720 w 5758"/>
                <a:gd name="T105" fmla="*/ 243 h 5781"/>
                <a:gd name="T106" fmla="*/ 3800 w 5758"/>
                <a:gd name="T107" fmla="*/ 208 h 5781"/>
                <a:gd name="T108" fmla="*/ 3506 w 5758"/>
                <a:gd name="T109" fmla="*/ 233 h 5781"/>
                <a:gd name="T110" fmla="*/ 2432 w 5758"/>
                <a:gd name="T111" fmla="*/ 200 h 5781"/>
                <a:gd name="T112" fmla="*/ 2315 w 5758"/>
                <a:gd name="T113" fmla="*/ 226 h 5781"/>
                <a:gd name="T114" fmla="*/ 2145 w 5758"/>
                <a:gd name="T115" fmla="*/ 164 h 5781"/>
                <a:gd name="T116" fmla="*/ 2286 w 5758"/>
                <a:gd name="T117" fmla="*/ 61 h 5781"/>
                <a:gd name="T118" fmla="*/ 2892 w 5758"/>
                <a:gd name="T119" fmla="*/ 0 h 5781"/>
                <a:gd name="T120" fmla="*/ 3079 w 5758"/>
                <a:gd name="T121" fmla="*/ 171 h 5781"/>
                <a:gd name="T122" fmla="*/ 2846 w 5758"/>
                <a:gd name="T123" fmla="*/ 13 h 5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58" h="5781">
                  <a:moveTo>
                    <a:pt x="2974" y="5779"/>
                  </a:moveTo>
                  <a:lnTo>
                    <a:pt x="2973" y="5779"/>
                  </a:lnTo>
                  <a:lnTo>
                    <a:pt x="2954" y="5779"/>
                  </a:lnTo>
                  <a:lnTo>
                    <a:pt x="2936" y="5781"/>
                  </a:lnTo>
                  <a:lnTo>
                    <a:pt x="2923" y="5781"/>
                  </a:lnTo>
                  <a:lnTo>
                    <a:pt x="2918" y="5781"/>
                  </a:lnTo>
                  <a:lnTo>
                    <a:pt x="2899" y="5781"/>
                  </a:lnTo>
                  <a:lnTo>
                    <a:pt x="2879" y="5781"/>
                  </a:lnTo>
                  <a:lnTo>
                    <a:pt x="2923" y="5781"/>
                  </a:lnTo>
                  <a:lnTo>
                    <a:pt x="2974" y="5779"/>
                  </a:lnTo>
                  <a:close/>
                  <a:moveTo>
                    <a:pt x="2806" y="5612"/>
                  </a:moveTo>
                  <a:lnTo>
                    <a:pt x="2810" y="5612"/>
                  </a:lnTo>
                  <a:lnTo>
                    <a:pt x="2828" y="5612"/>
                  </a:lnTo>
                  <a:lnTo>
                    <a:pt x="2844" y="5612"/>
                  </a:lnTo>
                  <a:lnTo>
                    <a:pt x="2863" y="5614"/>
                  </a:lnTo>
                  <a:lnTo>
                    <a:pt x="2879" y="5614"/>
                  </a:lnTo>
                  <a:lnTo>
                    <a:pt x="2879" y="5781"/>
                  </a:lnTo>
                  <a:lnTo>
                    <a:pt x="2861" y="5781"/>
                  </a:lnTo>
                  <a:lnTo>
                    <a:pt x="2843" y="5781"/>
                  </a:lnTo>
                  <a:lnTo>
                    <a:pt x="2824" y="5781"/>
                  </a:lnTo>
                  <a:lnTo>
                    <a:pt x="2806" y="5779"/>
                  </a:lnTo>
                  <a:lnTo>
                    <a:pt x="2800" y="5779"/>
                  </a:lnTo>
                  <a:lnTo>
                    <a:pt x="2775" y="5775"/>
                  </a:lnTo>
                  <a:lnTo>
                    <a:pt x="2753" y="5763"/>
                  </a:lnTo>
                  <a:lnTo>
                    <a:pt x="2734" y="5744"/>
                  </a:lnTo>
                  <a:lnTo>
                    <a:pt x="2723" y="5722"/>
                  </a:lnTo>
                  <a:lnTo>
                    <a:pt x="2720" y="5698"/>
                  </a:lnTo>
                  <a:lnTo>
                    <a:pt x="2723" y="5673"/>
                  </a:lnTo>
                  <a:lnTo>
                    <a:pt x="2734" y="5649"/>
                  </a:lnTo>
                  <a:lnTo>
                    <a:pt x="2753" y="5629"/>
                  </a:lnTo>
                  <a:lnTo>
                    <a:pt x="2778" y="5616"/>
                  </a:lnTo>
                  <a:lnTo>
                    <a:pt x="2806" y="5612"/>
                  </a:lnTo>
                  <a:close/>
                  <a:moveTo>
                    <a:pt x="2967" y="5612"/>
                  </a:moveTo>
                  <a:lnTo>
                    <a:pt x="2951" y="5612"/>
                  </a:lnTo>
                  <a:lnTo>
                    <a:pt x="2932" y="5612"/>
                  </a:lnTo>
                  <a:lnTo>
                    <a:pt x="2923" y="5612"/>
                  </a:lnTo>
                  <a:lnTo>
                    <a:pt x="2916" y="5612"/>
                  </a:lnTo>
                  <a:lnTo>
                    <a:pt x="2897" y="5614"/>
                  </a:lnTo>
                  <a:lnTo>
                    <a:pt x="2879" y="5614"/>
                  </a:lnTo>
                  <a:lnTo>
                    <a:pt x="2923" y="5612"/>
                  </a:lnTo>
                  <a:lnTo>
                    <a:pt x="2967" y="5612"/>
                  </a:lnTo>
                  <a:lnTo>
                    <a:pt x="2989" y="5614"/>
                  </a:lnTo>
                  <a:lnTo>
                    <a:pt x="3007" y="5621"/>
                  </a:lnTo>
                  <a:lnTo>
                    <a:pt x="3029" y="5636"/>
                  </a:lnTo>
                  <a:lnTo>
                    <a:pt x="3044" y="5656"/>
                  </a:lnTo>
                  <a:lnTo>
                    <a:pt x="3053" y="5680"/>
                  </a:lnTo>
                  <a:lnTo>
                    <a:pt x="3053" y="5702"/>
                  </a:lnTo>
                  <a:lnTo>
                    <a:pt x="3050" y="5726"/>
                  </a:lnTo>
                  <a:lnTo>
                    <a:pt x="3039" y="5746"/>
                  </a:lnTo>
                  <a:lnTo>
                    <a:pt x="3022" y="5763"/>
                  </a:lnTo>
                  <a:lnTo>
                    <a:pt x="3000" y="5774"/>
                  </a:lnTo>
                  <a:lnTo>
                    <a:pt x="2974" y="5779"/>
                  </a:lnTo>
                  <a:lnTo>
                    <a:pt x="2967" y="5612"/>
                  </a:lnTo>
                  <a:close/>
                  <a:moveTo>
                    <a:pt x="3451" y="5554"/>
                  </a:moveTo>
                  <a:lnTo>
                    <a:pt x="3485" y="5717"/>
                  </a:lnTo>
                  <a:lnTo>
                    <a:pt x="3465" y="5719"/>
                  </a:lnTo>
                  <a:lnTo>
                    <a:pt x="3445" y="5715"/>
                  </a:lnTo>
                  <a:lnTo>
                    <a:pt x="3427" y="5708"/>
                  </a:lnTo>
                  <a:lnTo>
                    <a:pt x="3405" y="5691"/>
                  </a:lnTo>
                  <a:lnTo>
                    <a:pt x="3392" y="5669"/>
                  </a:lnTo>
                  <a:lnTo>
                    <a:pt x="3385" y="5647"/>
                  </a:lnTo>
                  <a:lnTo>
                    <a:pt x="3387" y="5621"/>
                  </a:lnTo>
                  <a:lnTo>
                    <a:pt x="3394" y="5599"/>
                  </a:lnTo>
                  <a:lnTo>
                    <a:pt x="3407" y="5579"/>
                  </a:lnTo>
                  <a:lnTo>
                    <a:pt x="3425" y="5563"/>
                  </a:lnTo>
                  <a:lnTo>
                    <a:pt x="3451" y="5554"/>
                  </a:lnTo>
                  <a:close/>
                  <a:moveTo>
                    <a:pt x="2136" y="5515"/>
                  </a:moveTo>
                  <a:lnTo>
                    <a:pt x="2165" y="5519"/>
                  </a:lnTo>
                  <a:lnTo>
                    <a:pt x="2169" y="5519"/>
                  </a:lnTo>
                  <a:lnTo>
                    <a:pt x="2183" y="5524"/>
                  </a:lnTo>
                  <a:lnTo>
                    <a:pt x="2200" y="5528"/>
                  </a:lnTo>
                  <a:lnTo>
                    <a:pt x="2216" y="5532"/>
                  </a:lnTo>
                  <a:lnTo>
                    <a:pt x="2233" y="5535"/>
                  </a:lnTo>
                  <a:lnTo>
                    <a:pt x="2249" y="5539"/>
                  </a:lnTo>
                  <a:lnTo>
                    <a:pt x="2266" y="5544"/>
                  </a:lnTo>
                  <a:lnTo>
                    <a:pt x="2282" y="5548"/>
                  </a:lnTo>
                  <a:lnTo>
                    <a:pt x="2299" y="5552"/>
                  </a:lnTo>
                  <a:lnTo>
                    <a:pt x="2315" y="5555"/>
                  </a:lnTo>
                  <a:lnTo>
                    <a:pt x="2322" y="5555"/>
                  </a:lnTo>
                  <a:lnTo>
                    <a:pt x="2346" y="5565"/>
                  </a:lnTo>
                  <a:lnTo>
                    <a:pt x="2366" y="5581"/>
                  </a:lnTo>
                  <a:lnTo>
                    <a:pt x="2381" y="5601"/>
                  </a:lnTo>
                  <a:lnTo>
                    <a:pt x="2386" y="5623"/>
                  </a:lnTo>
                  <a:lnTo>
                    <a:pt x="2388" y="5649"/>
                  </a:lnTo>
                  <a:lnTo>
                    <a:pt x="2381" y="5671"/>
                  </a:lnTo>
                  <a:lnTo>
                    <a:pt x="2368" y="5693"/>
                  </a:lnTo>
                  <a:lnTo>
                    <a:pt x="2348" y="5709"/>
                  </a:lnTo>
                  <a:lnTo>
                    <a:pt x="2330" y="5719"/>
                  </a:lnTo>
                  <a:lnTo>
                    <a:pt x="2310" y="5722"/>
                  </a:lnTo>
                  <a:lnTo>
                    <a:pt x="2288" y="5720"/>
                  </a:lnTo>
                  <a:lnTo>
                    <a:pt x="2280" y="5719"/>
                  </a:lnTo>
                  <a:lnTo>
                    <a:pt x="2264" y="5715"/>
                  </a:lnTo>
                  <a:lnTo>
                    <a:pt x="2245" y="5711"/>
                  </a:lnTo>
                  <a:lnTo>
                    <a:pt x="2227" y="5708"/>
                  </a:lnTo>
                  <a:lnTo>
                    <a:pt x="2211" y="5702"/>
                  </a:lnTo>
                  <a:lnTo>
                    <a:pt x="2192" y="5698"/>
                  </a:lnTo>
                  <a:lnTo>
                    <a:pt x="2176" y="5695"/>
                  </a:lnTo>
                  <a:lnTo>
                    <a:pt x="2158" y="5689"/>
                  </a:lnTo>
                  <a:lnTo>
                    <a:pt x="2141" y="5686"/>
                  </a:lnTo>
                  <a:lnTo>
                    <a:pt x="2125" y="5680"/>
                  </a:lnTo>
                  <a:lnTo>
                    <a:pt x="2121" y="5680"/>
                  </a:lnTo>
                  <a:lnTo>
                    <a:pt x="2099" y="5671"/>
                  </a:lnTo>
                  <a:lnTo>
                    <a:pt x="2081" y="5656"/>
                  </a:lnTo>
                  <a:lnTo>
                    <a:pt x="2066" y="5631"/>
                  </a:lnTo>
                  <a:lnTo>
                    <a:pt x="2059" y="5605"/>
                  </a:lnTo>
                  <a:lnTo>
                    <a:pt x="2060" y="5579"/>
                  </a:lnTo>
                  <a:lnTo>
                    <a:pt x="2071" y="5555"/>
                  </a:lnTo>
                  <a:lnTo>
                    <a:pt x="2088" y="5535"/>
                  </a:lnTo>
                  <a:lnTo>
                    <a:pt x="2110" y="5522"/>
                  </a:lnTo>
                  <a:lnTo>
                    <a:pt x="2136" y="5515"/>
                  </a:lnTo>
                  <a:close/>
                  <a:moveTo>
                    <a:pt x="3608" y="5515"/>
                  </a:moveTo>
                  <a:lnTo>
                    <a:pt x="3592" y="5519"/>
                  </a:lnTo>
                  <a:lnTo>
                    <a:pt x="3575" y="5524"/>
                  </a:lnTo>
                  <a:lnTo>
                    <a:pt x="3559" y="5528"/>
                  </a:lnTo>
                  <a:lnTo>
                    <a:pt x="3548" y="5532"/>
                  </a:lnTo>
                  <a:lnTo>
                    <a:pt x="3544" y="5532"/>
                  </a:lnTo>
                  <a:lnTo>
                    <a:pt x="3528" y="5535"/>
                  </a:lnTo>
                  <a:lnTo>
                    <a:pt x="3511" y="5539"/>
                  </a:lnTo>
                  <a:lnTo>
                    <a:pt x="3495" y="5544"/>
                  </a:lnTo>
                  <a:lnTo>
                    <a:pt x="3478" y="5548"/>
                  </a:lnTo>
                  <a:lnTo>
                    <a:pt x="3462" y="5552"/>
                  </a:lnTo>
                  <a:lnTo>
                    <a:pt x="3451" y="5554"/>
                  </a:lnTo>
                  <a:lnTo>
                    <a:pt x="3548" y="5530"/>
                  </a:lnTo>
                  <a:lnTo>
                    <a:pt x="3608" y="5515"/>
                  </a:lnTo>
                  <a:close/>
                  <a:moveTo>
                    <a:pt x="3630" y="5511"/>
                  </a:moveTo>
                  <a:lnTo>
                    <a:pt x="3650" y="5513"/>
                  </a:lnTo>
                  <a:lnTo>
                    <a:pt x="3676" y="5524"/>
                  </a:lnTo>
                  <a:lnTo>
                    <a:pt x="3694" y="5541"/>
                  </a:lnTo>
                  <a:lnTo>
                    <a:pt x="3707" y="5559"/>
                  </a:lnTo>
                  <a:lnTo>
                    <a:pt x="3713" y="5583"/>
                  </a:lnTo>
                  <a:lnTo>
                    <a:pt x="3714" y="5605"/>
                  </a:lnTo>
                  <a:lnTo>
                    <a:pt x="3709" y="5629"/>
                  </a:lnTo>
                  <a:lnTo>
                    <a:pt x="3696" y="5649"/>
                  </a:lnTo>
                  <a:lnTo>
                    <a:pt x="3678" y="5665"/>
                  </a:lnTo>
                  <a:lnTo>
                    <a:pt x="3654" y="5676"/>
                  </a:lnTo>
                  <a:lnTo>
                    <a:pt x="3652" y="5676"/>
                  </a:lnTo>
                  <a:lnTo>
                    <a:pt x="3636" y="5680"/>
                  </a:lnTo>
                  <a:lnTo>
                    <a:pt x="3619" y="5686"/>
                  </a:lnTo>
                  <a:lnTo>
                    <a:pt x="3601" y="5689"/>
                  </a:lnTo>
                  <a:lnTo>
                    <a:pt x="3584" y="5695"/>
                  </a:lnTo>
                  <a:lnTo>
                    <a:pt x="3566" y="5698"/>
                  </a:lnTo>
                  <a:lnTo>
                    <a:pt x="3550" y="5702"/>
                  </a:lnTo>
                  <a:lnTo>
                    <a:pt x="3548" y="5704"/>
                  </a:lnTo>
                  <a:lnTo>
                    <a:pt x="3531" y="5708"/>
                  </a:lnTo>
                  <a:lnTo>
                    <a:pt x="3515" y="5711"/>
                  </a:lnTo>
                  <a:lnTo>
                    <a:pt x="3496" y="5715"/>
                  </a:lnTo>
                  <a:lnTo>
                    <a:pt x="3485" y="5717"/>
                  </a:lnTo>
                  <a:lnTo>
                    <a:pt x="3548" y="5616"/>
                  </a:lnTo>
                  <a:lnTo>
                    <a:pt x="3608" y="5515"/>
                  </a:lnTo>
                  <a:lnTo>
                    <a:pt x="3608" y="5515"/>
                  </a:lnTo>
                  <a:lnTo>
                    <a:pt x="3630" y="5511"/>
                  </a:lnTo>
                  <a:close/>
                  <a:moveTo>
                    <a:pt x="1537" y="5264"/>
                  </a:moveTo>
                  <a:lnTo>
                    <a:pt x="1564" y="5273"/>
                  </a:lnTo>
                  <a:lnTo>
                    <a:pt x="1570" y="5277"/>
                  </a:lnTo>
                  <a:lnTo>
                    <a:pt x="1584" y="5284"/>
                  </a:lnTo>
                  <a:lnTo>
                    <a:pt x="1599" y="5293"/>
                  </a:lnTo>
                  <a:lnTo>
                    <a:pt x="1614" y="5301"/>
                  </a:lnTo>
                  <a:lnTo>
                    <a:pt x="1626" y="5308"/>
                  </a:lnTo>
                  <a:lnTo>
                    <a:pt x="1641" y="5315"/>
                  </a:lnTo>
                  <a:lnTo>
                    <a:pt x="1656" y="5323"/>
                  </a:lnTo>
                  <a:lnTo>
                    <a:pt x="1672" y="5330"/>
                  </a:lnTo>
                  <a:lnTo>
                    <a:pt x="1687" y="5337"/>
                  </a:lnTo>
                  <a:lnTo>
                    <a:pt x="1701" y="5345"/>
                  </a:lnTo>
                  <a:lnTo>
                    <a:pt x="1709" y="5348"/>
                  </a:lnTo>
                  <a:lnTo>
                    <a:pt x="1729" y="5363"/>
                  </a:lnTo>
                  <a:lnTo>
                    <a:pt x="1744" y="5381"/>
                  </a:lnTo>
                  <a:lnTo>
                    <a:pt x="1755" y="5409"/>
                  </a:lnTo>
                  <a:lnTo>
                    <a:pt x="1755" y="5436"/>
                  </a:lnTo>
                  <a:lnTo>
                    <a:pt x="1747" y="5460"/>
                  </a:lnTo>
                  <a:lnTo>
                    <a:pt x="1733" y="5480"/>
                  </a:lnTo>
                  <a:lnTo>
                    <a:pt x="1714" y="5497"/>
                  </a:lnTo>
                  <a:lnTo>
                    <a:pt x="1691" y="5506"/>
                  </a:lnTo>
                  <a:lnTo>
                    <a:pt x="1663" y="5508"/>
                  </a:lnTo>
                  <a:lnTo>
                    <a:pt x="1636" y="5500"/>
                  </a:lnTo>
                  <a:lnTo>
                    <a:pt x="1628" y="5497"/>
                  </a:lnTo>
                  <a:lnTo>
                    <a:pt x="1612" y="5488"/>
                  </a:lnTo>
                  <a:lnTo>
                    <a:pt x="1597" y="5480"/>
                  </a:lnTo>
                  <a:lnTo>
                    <a:pt x="1581" y="5473"/>
                  </a:lnTo>
                  <a:lnTo>
                    <a:pt x="1566" y="5466"/>
                  </a:lnTo>
                  <a:lnTo>
                    <a:pt x="1549" y="5456"/>
                  </a:lnTo>
                  <a:lnTo>
                    <a:pt x="1535" y="5449"/>
                  </a:lnTo>
                  <a:lnTo>
                    <a:pt x="1518" y="5440"/>
                  </a:lnTo>
                  <a:lnTo>
                    <a:pt x="1504" y="5433"/>
                  </a:lnTo>
                  <a:lnTo>
                    <a:pt x="1489" y="5423"/>
                  </a:lnTo>
                  <a:lnTo>
                    <a:pt x="1484" y="5422"/>
                  </a:lnTo>
                  <a:lnTo>
                    <a:pt x="1463" y="5407"/>
                  </a:lnTo>
                  <a:lnTo>
                    <a:pt x="1451" y="5389"/>
                  </a:lnTo>
                  <a:lnTo>
                    <a:pt x="1441" y="5367"/>
                  </a:lnTo>
                  <a:lnTo>
                    <a:pt x="1440" y="5337"/>
                  </a:lnTo>
                  <a:lnTo>
                    <a:pt x="1449" y="5312"/>
                  </a:lnTo>
                  <a:lnTo>
                    <a:pt x="1463" y="5290"/>
                  </a:lnTo>
                  <a:lnTo>
                    <a:pt x="1484" y="5273"/>
                  </a:lnTo>
                  <a:lnTo>
                    <a:pt x="1509" y="5264"/>
                  </a:lnTo>
                  <a:lnTo>
                    <a:pt x="1537" y="5264"/>
                  </a:lnTo>
                  <a:close/>
                  <a:moveTo>
                    <a:pt x="4255" y="5256"/>
                  </a:moveTo>
                  <a:lnTo>
                    <a:pt x="4278" y="5262"/>
                  </a:lnTo>
                  <a:lnTo>
                    <a:pt x="4300" y="5275"/>
                  </a:lnTo>
                  <a:lnTo>
                    <a:pt x="4315" y="5291"/>
                  </a:lnTo>
                  <a:lnTo>
                    <a:pt x="4326" y="5312"/>
                  </a:lnTo>
                  <a:lnTo>
                    <a:pt x="4332" y="5334"/>
                  </a:lnTo>
                  <a:lnTo>
                    <a:pt x="4332" y="5356"/>
                  </a:lnTo>
                  <a:lnTo>
                    <a:pt x="4324" y="5378"/>
                  </a:lnTo>
                  <a:lnTo>
                    <a:pt x="4310" y="5398"/>
                  </a:lnTo>
                  <a:lnTo>
                    <a:pt x="4289" y="5414"/>
                  </a:lnTo>
                  <a:lnTo>
                    <a:pt x="4286" y="5416"/>
                  </a:lnTo>
                  <a:lnTo>
                    <a:pt x="4271" y="5423"/>
                  </a:lnTo>
                  <a:lnTo>
                    <a:pt x="4256" y="5433"/>
                  </a:lnTo>
                  <a:lnTo>
                    <a:pt x="4240" y="5440"/>
                  </a:lnTo>
                  <a:lnTo>
                    <a:pt x="4225" y="5449"/>
                  </a:lnTo>
                  <a:lnTo>
                    <a:pt x="4209" y="5456"/>
                  </a:lnTo>
                  <a:lnTo>
                    <a:pt x="4194" y="5466"/>
                  </a:lnTo>
                  <a:lnTo>
                    <a:pt x="4178" y="5473"/>
                  </a:lnTo>
                  <a:lnTo>
                    <a:pt x="4163" y="5480"/>
                  </a:lnTo>
                  <a:lnTo>
                    <a:pt x="4147" y="5488"/>
                  </a:lnTo>
                  <a:lnTo>
                    <a:pt x="4137" y="5493"/>
                  </a:lnTo>
                  <a:lnTo>
                    <a:pt x="4114" y="5500"/>
                  </a:lnTo>
                  <a:lnTo>
                    <a:pt x="4088" y="5500"/>
                  </a:lnTo>
                  <a:lnTo>
                    <a:pt x="4064" y="5493"/>
                  </a:lnTo>
                  <a:lnTo>
                    <a:pt x="4044" y="5480"/>
                  </a:lnTo>
                  <a:lnTo>
                    <a:pt x="4029" y="5462"/>
                  </a:lnTo>
                  <a:lnTo>
                    <a:pt x="4020" y="5442"/>
                  </a:lnTo>
                  <a:lnTo>
                    <a:pt x="4017" y="5420"/>
                  </a:lnTo>
                  <a:lnTo>
                    <a:pt x="4018" y="5398"/>
                  </a:lnTo>
                  <a:lnTo>
                    <a:pt x="4028" y="5376"/>
                  </a:lnTo>
                  <a:lnTo>
                    <a:pt x="4042" y="5357"/>
                  </a:lnTo>
                  <a:lnTo>
                    <a:pt x="4062" y="5343"/>
                  </a:lnTo>
                  <a:lnTo>
                    <a:pt x="4073" y="5337"/>
                  </a:lnTo>
                  <a:lnTo>
                    <a:pt x="4088" y="5330"/>
                  </a:lnTo>
                  <a:lnTo>
                    <a:pt x="4103" y="5323"/>
                  </a:lnTo>
                  <a:lnTo>
                    <a:pt x="4117" y="5315"/>
                  </a:lnTo>
                  <a:lnTo>
                    <a:pt x="4132" y="5308"/>
                  </a:lnTo>
                  <a:lnTo>
                    <a:pt x="4147" y="5301"/>
                  </a:lnTo>
                  <a:lnTo>
                    <a:pt x="4161" y="5293"/>
                  </a:lnTo>
                  <a:lnTo>
                    <a:pt x="4176" y="5284"/>
                  </a:lnTo>
                  <a:lnTo>
                    <a:pt x="4191" y="5277"/>
                  </a:lnTo>
                  <a:lnTo>
                    <a:pt x="4205" y="5269"/>
                  </a:lnTo>
                  <a:lnTo>
                    <a:pt x="4207" y="5267"/>
                  </a:lnTo>
                  <a:lnTo>
                    <a:pt x="4229" y="5258"/>
                  </a:lnTo>
                  <a:lnTo>
                    <a:pt x="4255" y="5256"/>
                  </a:lnTo>
                  <a:close/>
                  <a:moveTo>
                    <a:pt x="995" y="4873"/>
                  </a:moveTo>
                  <a:lnTo>
                    <a:pt x="1018" y="4881"/>
                  </a:lnTo>
                  <a:lnTo>
                    <a:pt x="1038" y="4893"/>
                  </a:lnTo>
                  <a:lnTo>
                    <a:pt x="1038" y="4895"/>
                  </a:lnTo>
                  <a:lnTo>
                    <a:pt x="1051" y="4906"/>
                  </a:lnTo>
                  <a:lnTo>
                    <a:pt x="1064" y="4917"/>
                  </a:lnTo>
                  <a:lnTo>
                    <a:pt x="1075" y="4928"/>
                  </a:lnTo>
                  <a:lnTo>
                    <a:pt x="1088" y="4939"/>
                  </a:lnTo>
                  <a:lnTo>
                    <a:pt x="1101" y="4950"/>
                  </a:lnTo>
                  <a:lnTo>
                    <a:pt x="1112" y="4959"/>
                  </a:lnTo>
                  <a:lnTo>
                    <a:pt x="1125" y="4970"/>
                  </a:lnTo>
                  <a:lnTo>
                    <a:pt x="1137" y="4981"/>
                  </a:lnTo>
                  <a:lnTo>
                    <a:pt x="1150" y="4992"/>
                  </a:lnTo>
                  <a:lnTo>
                    <a:pt x="1161" y="5002"/>
                  </a:lnTo>
                  <a:lnTo>
                    <a:pt x="1178" y="5020"/>
                  </a:lnTo>
                  <a:lnTo>
                    <a:pt x="1189" y="5042"/>
                  </a:lnTo>
                  <a:lnTo>
                    <a:pt x="1192" y="5069"/>
                  </a:lnTo>
                  <a:lnTo>
                    <a:pt x="1187" y="5095"/>
                  </a:lnTo>
                  <a:lnTo>
                    <a:pt x="1174" y="5117"/>
                  </a:lnTo>
                  <a:lnTo>
                    <a:pt x="1154" y="5135"/>
                  </a:lnTo>
                  <a:lnTo>
                    <a:pt x="1132" y="5146"/>
                  </a:lnTo>
                  <a:lnTo>
                    <a:pt x="1106" y="5150"/>
                  </a:lnTo>
                  <a:lnTo>
                    <a:pt x="1081" y="5145"/>
                  </a:lnTo>
                  <a:lnTo>
                    <a:pt x="1055" y="5130"/>
                  </a:lnTo>
                  <a:lnTo>
                    <a:pt x="1044" y="5121"/>
                  </a:lnTo>
                  <a:lnTo>
                    <a:pt x="1029" y="5110"/>
                  </a:lnTo>
                  <a:lnTo>
                    <a:pt x="1017" y="5099"/>
                  </a:lnTo>
                  <a:lnTo>
                    <a:pt x="1004" y="5088"/>
                  </a:lnTo>
                  <a:lnTo>
                    <a:pt x="991" y="5077"/>
                  </a:lnTo>
                  <a:lnTo>
                    <a:pt x="978" y="5064"/>
                  </a:lnTo>
                  <a:lnTo>
                    <a:pt x="965" y="5053"/>
                  </a:lnTo>
                  <a:lnTo>
                    <a:pt x="952" y="5042"/>
                  </a:lnTo>
                  <a:lnTo>
                    <a:pt x="940" y="5031"/>
                  </a:lnTo>
                  <a:lnTo>
                    <a:pt x="927" y="5018"/>
                  </a:lnTo>
                  <a:lnTo>
                    <a:pt x="925" y="5018"/>
                  </a:lnTo>
                  <a:lnTo>
                    <a:pt x="907" y="4994"/>
                  </a:lnTo>
                  <a:lnTo>
                    <a:pt x="899" y="4969"/>
                  </a:lnTo>
                  <a:lnTo>
                    <a:pt x="899" y="4943"/>
                  </a:lnTo>
                  <a:lnTo>
                    <a:pt x="907" y="4919"/>
                  </a:lnTo>
                  <a:lnTo>
                    <a:pt x="921" y="4899"/>
                  </a:lnTo>
                  <a:lnTo>
                    <a:pt x="941" y="4882"/>
                  </a:lnTo>
                  <a:lnTo>
                    <a:pt x="965" y="4873"/>
                  </a:lnTo>
                  <a:lnTo>
                    <a:pt x="995" y="4873"/>
                  </a:lnTo>
                  <a:close/>
                  <a:moveTo>
                    <a:pt x="4777" y="4862"/>
                  </a:moveTo>
                  <a:lnTo>
                    <a:pt x="4802" y="4864"/>
                  </a:lnTo>
                  <a:lnTo>
                    <a:pt x="4826" y="4871"/>
                  </a:lnTo>
                  <a:lnTo>
                    <a:pt x="4846" y="4886"/>
                  </a:lnTo>
                  <a:lnTo>
                    <a:pt x="4863" y="4908"/>
                  </a:lnTo>
                  <a:lnTo>
                    <a:pt x="4872" y="4934"/>
                  </a:lnTo>
                  <a:lnTo>
                    <a:pt x="4870" y="4961"/>
                  </a:lnTo>
                  <a:lnTo>
                    <a:pt x="4861" y="4985"/>
                  </a:lnTo>
                  <a:lnTo>
                    <a:pt x="4844" y="5007"/>
                  </a:lnTo>
                  <a:lnTo>
                    <a:pt x="4833" y="5018"/>
                  </a:lnTo>
                  <a:lnTo>
                    <a:pt x="4821" y="5031"/>
                  </a:lnTo>
                  <a:lnTo>
                    <a:pt x="4808" y="5042"/>
                  </a:lnTo>
                  <a:lnTo>
                    <a:pt x="4795" y="5053"/>
                  </a:lnTo>
                  <a:lnTo>
                    <a:pt x="4782" y="5064"/>
                  </a:lnTo>
                  <a:lnTo>
                    <a:pt x="4769" y="5077"/>
                  </a:lnTo>
                  <a:lnTo>
                    <a:pt x="4756" y="5088"/>
                  </a:lnTo>
                  <a:lnTo>
                    <a:pt x="4742" y="5099"/>
                  </a:lnTo>
                  <a:lnTo>
                    <a:pt x="4729" y="5110"/>
                  </a:lnTo>
                  <a:lnTo>
                    <a:pt x="4716" y="5121"/>
                  </a:lnTo>
                  <a:lnTo>
                    <a:pt x="4716" y="5121"/>
                  </a:lnTo>
                  <a:lnTo>
                    <a:pt x="4692" y="5135"/>
                  </a:lnTo>
                  <a:lnTo>
                    <a:pt x="4669" y="5141"/>
                  </a:lnTo>
                  <a:lnTo>
                    <a:pt x="4643" y="5139"/>
                  </a:lnTo>
                  <a:lnTo>
                    <a:pt x="4619" y="5130"/>
                  </a:lnTo>
                  <a:lnTo>
                    <a:pt x="4601" y="5113"/>
                  </a:lnTo>
                  <a:lnTo>
                    <a:pt x="4586" y="5091"/>
                  </a:lnTo>
                  <a:lnTo>
                    <a:pt x="4579" y="5064"/>
                  </a:lnTo>
                  <a:lnTo>
                    <a:pt x="4581" y="5038"/>
                  </a:lnTo>
                  <a:lnTo>
                    <a:pt x="4592" y="5013"/>
                  </a:lnTo>
                  <a:lnTo>
                    <a:pt x="4608" y="4992"/>
                  </a:lnTo>
                  <a:lnTo>
                    <a:pt x="4610" y="4992"/>
                  </a:lnTo>
                  <a:lnTo>
                    <a:pt x="4623" y="4981"/>
                  </a:lnTo>
                  <a:lnTo>
                    <a:pt x="4634" y="4970"/>
                  </a:lnTo>
                  <a:lnTo>
                    <a:pt x="4647" y="4959"/>
                  </a:lnTo>
                  <a:lnTo>
                    <a:pt x="4659" y="4950"/>
                  </a:lnTo>
                  <a:lnTo>
                    <a:pt x="4672" y="4939"/>
                  </a:lnTo>
                  <a:lnTo>
                    <a:pt x="4683" y="4928"/>
                  </a:lnTo>
                  <a:lnTo>
                    <a:pt x="4696" y="4917"/>
                  </a:lnTo>
                  <a:lnTo>
                    <a:pt x="4709" y="4906"/>
                  </a:lnTo>
                  <a:lnTo>
                    <a:pt x="4720" y="4895"/>
                  </a:lnTo>
                  <a:lnTo>
                    <a:pt x="4731" y="4884"/>
                  </a:lnTo>
                  <a:lnTo>
                    <a:pt x="4753" y="4870"/>
                  </a:lnTo>
                  <a:lnTo>
                    <a:pt x="4777" y="4862"/>
                  </a:lnTo>
                  <a:close/>
                  <a:moveTo>
                    <a:pt x="551" y="4363"/>
                  </a:moveTo>
                  <a:lnTo>
                    <a:pt x="575" y="4369"/>
                  </a:lnTo>
                  <a:lnTo>
                    <a:pt x="597" y="4380"/>
                  </a:lnTo>
                  <a:lnTo>
                    <a:pt x="617" y="4400"/>
                  </a:lnTo>
                  <a:lnTo>
                    <a:pt x="625" y="4413"/>
                  </a:lnTo>
                  <a:lnTo>
                    <a:pt x="634" y="4426"/>
                  </a:lnTo>
                  <a:lnTo>
                    <a:pt x="643" y="4440"/>
                  </a:lnTo>
                  <a:lnTo>
                    <a:pt x="652" y="4453"/>
                  </a:lnTo>
                  <a:lnTo>
                    <a:pt x="663" y="4466"/>
                  </a:lnTo>
                  <a:lnTo>
                    <a:pt x="672" y="4481"/>
                  </a:lnTo>
                  <a:lnTo>
                    <a:pt x="681" y="4494"/>
                  </a:lnTo>
                  <a:lnTo>
                    <a:pt x="690" y="4506"/>
                  </a:lnTo>
                  <a:lnTo>
                    <a:pt x="701" y="4519"/>
                  </a:lnTo>
                  <a:lnTo>
                    <a:pt x="711" y="4532"/>
                  </a:lnTo>
                  <a:lnTo>
                    <a:pt x="711" y="4534"/>
                  </a:lnTo>
                  <a:lnTo>
                    <a:pt x="723" y="4556"/>
                  </a:lnTo>
                  <a:lnTo>
                    <a:pt x="729" y="4578"/>
                  </a:lnTo>
                  <a:lnTo>
                    <a:pt x="727" y="4602"/>
                  </a:lnTo>
                  <a:lnTo>
                    <a:pt x="718" y="4624"/>
                  </a:lnTo>
                  <a:lnTo>
                    <a:pt x="705" y="4642"/>
                  </a:lnTo>
                  <a:lnTo>
                    <a:pt x="687" y="4657"/>
                  </a:lnTo>
                  <a:lnTo>
                    <a:pt x="663" y="4666"/>
                  </a:lnTo>
                  <a:lnTo>
                    <a:pt x="639" y="4668"/>
                  </a:lnTo>
                  <a:lnTo>
                    <a:pt x="615" y="4662"/>
                  </a:lnTo>
                  <a:lnTo>
                    <a:pt x="595" y="4651"/>
                  </a:lnTo>
                  <a:lnTo>
                    <a:pt x="579" y="4635"/>
                  </a:lnTo>
                  <a:lnTo>
                    <a:pt x="577" y="4633"/>
                  </a:lnTo>
                  <a:lnTo>
                    <a:pt x="566" y="4620"/>
                  </a:lnTo>
                  <a:lnTo>
                    <a:pt x="557" y="4605"/>
                  </a:lnTo>
                  <a:lnTo>
                    <a:pt x="546" y="4593"/>
                  </a:lnTo>
                  <a:lnTo>
                    <a:pt x="537" y="4578"/>
                  </a:lnTo>
                  <a:lnTo>
                    <a:pt x="526" y="4563"/>
                  </a:lnTo>
                  <a:lnTo>
                    <a:pt x="516" y="4550"/>
                  </a:lnTo>
                  <a:lnTo>
                    <a:pt x="506" y="4536"/>
                  </a:lnTo>
                  <a:lnTo>
                    <a:pt x="496" y="4521"/>
                  </a:lnTo>
                  <a:lnTo>
                    <a:pt x="485" y="4506"/>
                  </a:lnTo>
                  <a:lnTo>
                    <a:pt x="478" y="4495"/>
                  </a:lnTo>
                  <a:lnTo>
                    <a:pt x="471" y="4481"/>
                  </a:lnTo>
                  <a:lnTo>
                    <a:pt x="465" y="4464"/>
                  </a:lnTo>
                  <a:lnTo>
                    <a:pt x="465" y="4435"/>
                  </a:lnTo>
                  <a:lnTo>
                    <a:pt x="473" y="4411"/>
                  </a:lnTo>
                  <a:lnTo>
                    <a:pt x="485" y="4391"/>
                  </a:lnTo>
                  <a:lnTo>
                    <a:pt x="506" y="4376"/>
                  </a:lnTo>
                  <a:lnTo>
                    <a:pt x="527" y="4367"/>
                  </a:lnTo>
                  <a:lnTo>
                    <a:pt x="551" y="4363"/>
                  </a:lnTo>
                  <a:close/>
                  <a:moveTo>
                    <a:pt x="5205" y="4354"/>
                  </a:moveTo>
                  <a:lnTo>
                    <a:pt x="5235" y="4354"/>
                  </a:lnTo>
                  <a:lnTo>
                    <a:pt x="5262" y="4363"/>
                  </a:lnTo>
                  <a:lnTo>
                    <a:pt x="5282" y="4380"/>
                  </a:lnTo>
                  <a:lnTo>
                    <a:pt x="5297" y="4402"/>
                  </a:lnTo>
                  <a:lnTo>
                    <a:pt x="5304" y="4428"/>
                  </a:lnTo>
                  <a:lnTo>
                    <a:pt x="5302" y="4455"/>
                  </a:lnTo>
                  <a:lnTo>
                    <a:pt x="5289" y="4483"/>
                  </a:lnTo>
                  <a:lnTo>
                    <a:pt x="5284" y="4492"/>
                  </a:lnTo>
                  <a:lnTo>
                    <a:pt x="5273" y="4506"/>
                  </a:lnTo>
                  <a:lnTo>
                    <a:pt x="5264" y="4521"/>
                  </a:lnTo>
                  <a:lnTo>
                    <a:pt x="5255" y="4536"/>
                  </a:lnTo>
                  <a:lnTo>
                    <a:pt x="5244" y="4550"/>
                  </a:lnTo>
                  <a:lnTo>
                    <a:pt x="5235" y="4563"/>
                  </a:lnTo>
                  <a:lnTo>
                    <a:pt x="5224" y="4578"/>
                  </a:lnTo>
                  <a:lnTo>
                    <a:pt x="5214" y="4593"/>
                  </a:lnTo>
                  <a:lnTo>
                    <a:pt x="5203" y="4605"/>
                  </a:lnTo>
                  <a:lnTo>
                    <a:pt x="5192" y="4620"/>
                  </a:lnTo>
                  <a:lnTo>
                    <a:pt x="5191" y="4624"/>
                  </a:lnTo>
                  <a:lnTo>
                    <a:pt x="5170" y="4642"/>
                  </a:lnTo>
                  <a:lnTo>
                    <a:pt x="5148" y="4653"/>
                  </a:lnTo>
                  <a:lnTo>
                    <a:pt x="5123" y="4657"/>
                  </a:lnTo>
                  <a:lnTo>
                    <a:pt x="5097" y="4653"/>
                  </a:lnTo>
                  <a:lnTo>
                    <a:pt x="5073" y="4640"/>
                  </a:lnTo>
                  <a:lnTo>
                    <a:pt x="5055" y="4622"/>
                  </a:lnTo>
                  <a:lnTo>
                    <a:pt x="5044" y="4598"/>
                  </a:lnTo>
                  <a:lnTo>
                    <a:pt x="5040" y="4572"/>
                  </a:lnTo>
                  <a:lnTo>
                    <a:pt x="5044" y="4547"/>
                  </a:lnTo>
                  <a:lnTo>
                    <a:pt x="5057" y="4523"/>
                  </a:lnTo>
                  <a:lnTo>
                    <a:pt x="5059" y="4519"/>
                  </a:lnTo>
                  <a:lnTo>
                    <a:pt x="5068" y="4506"/>
                  </a:lnTo>
                  <a:lnTo>
                    <a:pt x="5079" y="4494"/>
                  </a:lnTo>
                  <a:lnTo>
                    <a:pt x="5088" y="4481"/>
                  </a:lnTo>
                  <a:lnTo>
                    <a:pt x="5097" y="4466"/>
                  </a:lnTo>
                  <a:lnTo>
                    <a:pt x="5106" y="4453"/>
                  </a:lnTo>
                  <a:lnTo>
                    <a:pt x="5115" y="4440"/>
                  </a:lnTo>
                  <a:lnTo>
                    <a:pt x="5126" y="4426"/>
                  </a:lnTo>
                  <a:lnTo>
                    <a:pt x="5136" y="4413"/>
                  </a:lnTo>
                  <a:lnTo>
                    <a:pt x="5145" y="4400"/>
                  </a:lnTo>
                  <a:lnTo>
                    <a:pt x="5150" y="4389"/>
                  </a:lnTo>
                  <a:lnTo>
                    <a:pt x="5165" y="4373"/>
                  </a:lnTo>
                  <a:lnTo>
                    <a:pt x="5183" y="4360"/>
                  </a:lnTo>
                  <a:lnTo>
                    <a:pt x="5205" y="4354"/>
                  </a:lnTo>
                  <a:close/>
                  <a:moveTo>
                    <a:pt x="249" y="3767"/>
                  </a:moveTo>
                  <a:lnTo>
                    <a:pt x="273" y="3771"/>
                  </a:lnTo>
                  <a:lnTo>
                    <a:pt x="293" y="3782"/>
                  </a:lnTo>
                  <a:lnTo>
                    <a:pt x="311" y="3799"/>
                  </a:lnTo>
                  <a:lnTo>
                    <a:pt x="324" y="3822"/>
                  </a:lnTo>
                  <a:lnTo>
                    <a:pt x="326" y="3826"/>
                  </a:lnTo>
                  <a:lnTo>
                    <a:pt x="332" y="3843"/>
                  </a:lnTo>
                  <a:lnTo>
                    <a:pt x="337" y="3857"/>
                  </a:lnTo>
                  <a:lnTo>
                    <a:pt x="342" y="3874"/>
                  </a:lnTo>
                  <a:lnTo>
                    <a:pt x="350" y="3888"/>
                  </a:lnTo>
                  <a:lnTo>
                    <a:pt x="355" y="3905"/>
                  </a:lnTo>
                  <a:lnTo>
                    <a:pt x="361" y="3920"/>
                  </a:lnTo>
                  <a:lnTo>
                    <a:pt x="368" y="3934"/>
                  </a:lnTo>
                  <a:lnTo>
                    <a:pt x="374" y="3951"/>
                  </a:lnTo>
                  <a:lnTo>
                    <a:pt x="381" y="3965"/>
                  </a:lnTo>
                  <a:lnTo>
                    <a:pt x="385" y="3973"/>
                  </a:lnTo>
                  <a:lnTo>
                    <a:pt x="388" y="3987"/>
                  </a:lnTo>
                  <a:lnTo>
                    <a:pt x="390" y="4004"/>
                  </a:lnTo>
                  <a:lnTo>
                    <a:pt x="388" y="4030"/>
                  </a:lnTo>
                  <a:lnTo>
                    <a:pt x="379" y="4052"/>
                  </a:lnTo>
                  <a:lnTo>
                    <a:pt x="364" y="4068"/>
                  </a:lnTo>
                  <a:lnTo>
                    <a:pt x="346" y="4081"/>
                  </a:lnTo>
                  <a:lnTo>
                    <a:pt x="326" y="4088"/>
                  </a:lnTo>
                  <a:lnTo>
                    <a:pt x="304" y="4090"/>
                  </a:lnTo>
                  <a:lnTo>
                    <a:pt x="282" y="4086"/>
                  </a:lnTo>
                  <a:lnTo>
                    <a:pt x="262" y="4077"/>
                  </a:lnTo>
                  <a:lnTo>
                    <a:pt x="244" y="4063"/>
                  </a:lnTo>
                  <a:lnTo>
                    <a:pt x="231" y="4041"/>
                  </a:lnTo>
                  <a:lnTo>
                    <a:pt x="227" y="4031"/>
                  </a:lnTo>
                  <a:lnTo>
                    <a:pt x="220" y="4015"/>
                  </a:lnTo>
                  <a:lnTo>
                    <a:pt x="212" y="3998"/>
                  </a:lnTo>
                  <a:lnTo>
                    <a:pt x="207" y="3984"/>
                  </a:lnTo>
                  <a:lnTo>
                    <a:pt x="200" y="3967"/>
                  </a:lnTo>
                  <a:lnTo>
                    <a:pt x="194" y="3951"/>
                  </a:lnTo>
                  <a:lnTo>
                    <a:pt x="187" y="3934"/>
                  </a:lnTo>
                  <a:lnTo>
                    <a:pt x="181" y="3918"/>
                  </a:lnTo>
                  <a:lnTo>
                    <a:pt x="174" y="3901"/>
                  </a:lnTo>
                  <a:lnTo>
                    <a:pt x="169" y="3885"/>
                  </a:lnTo>
                  <a:lnTo>
                    <a:pt x="167" y="3879"/>
                  </a:lnTo>
                  <a:lnTo>
                    <a:pt x="161" y="3859"/>
                  </a:lnTo>
                  <a:lnTo>
                    <a:pt x="163" y="3837"/>
                  </a:lnTo>
                  <a:lnTo>
                    <a:pt x="170" y="3811"/>
                  </a:lnTo>
                  <a:lnTo>
                    <a:pt x="185" y="3791"/>
                  </a:lnTo>
                  <a:lnTo>
                    <a:pt x="205" y="3778"/>
                  </a:lnTo>
                  <a:lnTo>
                    <a:pt x="227" y="3769"/>
                  </a:lnTo>
                  <a:lnTo>
                    <a:pt x="249" y="3767"/>
                  </a:lnTo>
                  <a:close/>
                  <a:moveTo>
                    <a:pt x="5528" y="3754"/>
                  </a:moveTo>
                  <a:lnTo>
                    <a:pt x="5551" y="3760"/>
                  </a:lnTo>
                  <a:lnTo>
                    <a:pt x="5572" y="3773"/>
                  </a:lnTo>
                  <a:lnTo>
                    <a:pt x="5588" y="3791"/>
                  </a:lnTo>
                  <a:lnTo>
                    <a:pt x="5599" y="3813"/>
                  </a:lnTo>
                  <a:lnTo>
                    <a:pt x="5603" y="3839"/>
                  </a:lnTo>
                  <a:lnTo>
                    <a:pt x="5597" y="3866"/>
                  </a:lnTo>
                  <a:lnTo>
                    <a:pt x="5597" y="3868"/>
                  </a:lnTo>
                  <a:lnTo>
                    <a:pt x="5592" y="3885"/>
                  </a:lnTo>
                  <a:lnTo>
                    <a:pt x="5584" y="3901"/>
                  </a:lnTo>
                  <a:lnTo>
                    <a:pt x="5579" y="3918"/>
                  </a:lnTo>
                  <a:lnTo>
                    <a:pt x="5573" y="3934"/>
                  </a:lnTo>
                  <a:lnTo>
                    <a:pt x="5566" y="3951"/>
                  </a:lnTo>
                  <a:lnTo>
                    <a:pt x="5561" y="3967"/>
                  </a:lnTo>
                  <a:lnTo>
                    <a:pt x="5553" y="3984"/>
                  </a:lnTo>
                  <a:lnTo>
                    <a:pt x="5546" y="3998"/>
                  </a:lnTo>
                  <a:lnTo>
                    <a:pt x="5540" y="4015"/>
                  </a:lnTo>
                  <a:lnTo>
                    <a:pt x="5535" y="4026"/>
                  </a:lnTo>
                  <a:lnTo>
                    <a:pt x="5522" y="4048"/>
                  </a:lnTo>
                  <a:lnTo>
                    <a:pt x="5504" y="4064"/>
                  </a:lnTo>
                  <a:lnTo>
                    <a:pt x="5480" y="4075"/>
                  </a:lnTo>
                  <a:lnTo>
                    <a:pt x="5456" y="4077"/>
                  </a:lnTo>
                  <a:lnTo>
                    <a:pt x="5430" y="4074"/>
                  </a:lnTo>
                  <a:lnTo>
                    <a:pt x="5407" y="4061"/>
                  </a:lnTo>
                  <a:lnTo>
                    <a:pt x="5388" y="4041"/>
                  </a:lnTo>
                  <a:lnTo>
                    <a:pt x="5377" y="4015"/>
                  </a:lnTo>
                  <a:lnTo>
                    <a:pt x="5374" y="3989"/>
                  </a:lnTo>
                  <a:lnTo>
                    <a:pt x="5381" y="3962"/>
                  </a:lnTo>
                  <a:lnTo>
                    <a:pt x="5385" y="3951"/>
                  </a:lnTo>
                  <a:lnTo>
                    <a:pt x="5392" y="3934"/>
                  </a:lnTo>
                  <a:lnTo>
                    <a:pt x="5398" y="3920"/>
                  </a:lnTo>
                  <a:lnTo>
                    <a:pt x="5405" y="3905"/>
                  </a:lnTo>
                  <a:lnTo>
                    <a:pt x="5410" y="3888"/>
                  </a:lnTo>
                  <a:lnTo>
                    <a:pt x="5416" y="3874"/>
                  </a:lnTo>
                  <a:lnTo>
                    <a:pt x="5423" y="3857"/>
                  </a:lnTo>
                  <a:lnTo>
                    <a:pt x="5429" y="3843"/>
                  </a:lnTo>
                  <a:lnTo>
                    <a:pt x="5434" y="3826"/>
                  </a:lnTo>
                  <a:lnTo>
                    <a:pt x="5440" y="3811"/>
                  </a:lnTo>
                  <a:lnTo>
                    <a:pt x="5440" y="3810"/>
                  </a:lnTo>
                  <a:lnTo>
                    <a:pt x="5445" y="3800"/>
                  </a:lnTo>
                  <a:lnTo>
                    <a:pt x="5451" y="3791"/>
                  </a:lnTo>
                  <a:lnTo>
                    <a:pt x="5458" y="3782"/>
                  </a:lnTo>
                  <a:lnTo>
                    <a:pt x="5480" y="3764"/>
                  </a:lnTo>
                  <a:lnTo>
                    <a:pt x="5504" y="3754"/>
                  </a:lnTo>
                  <a:lnTo>
                    <a:pt x="5528" y="3754"/>
                  </a:lnTo>
                  <a:close/>
                  <a:moveTo>
                    <a:pt x="93" y="3116"/>
                  </a:moveTo>
                  <a:lnTo>
                    <a:pt x="115" y="3120"/>
                  </a:lnTo>
                  <a:lnTo>
                    <a:pt x="137" y="3129"/>
                  </a:lnTo>
                  <a:lnTo>
                    <a:pt x="156" y="3144"/>
                  </a:lnTo>
                  <a:lnTo>
                    <a:pt x="170" y="3164"/>
                  </a:lnTo>
                  <a:lnTo>
                    <a:pt x="178" y="3190"/>
                  </a:lnTo>
                  <a:lnTo>
                    <a:pt x="178" y="3202"/>
                  </a:lnTo>
                  <a:lnTo>
                    <a:pt x="179" y="3221"/>
                  </a:lnTo>
                  <a:lnTo>
                    <a:pt x="183" y="3237"/>
                  </a:lnTo>
                  <a:lnTo>
                    <a:pt x="185" y="3254"/>
                  </a:lnTo>
                  <a:lnTo>
                    <a:pt x="187" y="3272"/>
                  </a:lnTo>
                  <a:lnTo>
                    <a:pt x="189" y="3289"/>
                  </a:lnTo>
                  <a:lnTo>
                    <a:pt x="192" y="3305"/>
                  </a:lnTo>
                  <a:lnTo>
                    <a:pt x="194" y="3322"/>
                  </a:lnTo>
                  <a:lnTo>
                    <a:pt x="198" y="3338"/>
                  </a:lnTo>
                  <a:lnTo>
                    <a:pt x="200" y="3351"/>
                  </a:lnTo>
                  <a:lnTo>
                    <a:pt x="200" y="3368"/>
                  </a:lnTo>
                  <a:lnTo>
                    <a:pt x="200" y="3382"/>
                  </a:lnTo>
                  <a:lnTo>
                    <a:pt x="190" y="3408"/>
                  </a:lnTo>
                  <a:lnTo>
                    <a:pt x="176" y="3426"/>
                  </a:lnTo>
                  <a:lnTo>
                    <a:pt x="158" y="3439"/>
                  </a:lnTo>
                  <a:lnTo>
                    <a:pt x="137" y="3446"/>
                  </a:lnTo>
                  <a:lnTo>
                    <a:pt x="115" y="3450"/>
                  </a:lnTo>
                  <a:lnTo>
                    <a:pt x="93" y="3446"/>
                  </a:lnTo>
                  <a:lnTo>
                    <a:pt x="73" y="3437"/>
                  </a:lnTo>
                  <a:lnTo>
                    <a:pt x="57" y="3424"/>
                  </a:lnTo>
                  <a:lnTo>
                    <a:pt x="42" y="3404"/>
                  </a:lnTo>
                  <a:lnTo>
                    <a:pt x="35" y="3380"/>
                  </a:lnTo>
                  <a:lnTo>
                    <a:pt x="31" y="3366"/>
                  </a:lnTo>
                  <a:lnTo>
                    <a:pt x="29" y="3349"/>
                  </a:lnTo>
                  <a:lnTo>
                    <a:pt x="26" y="3331"/>
                  </a:lnTo>
                  <a:lnTo>
                    <a:pt x="24" y="3313"/>
                  </a:lnTo>
                  <a:lnTo>
                    <a:pt x="22" y="3294"/>
                  </a:lnTo>
                  <a:lnTo>
                    <a:pt x="18" y="3276"/>
                  </a:lnTo>
                  <a:lnTo>
                    <a:pt x="16" y="3259"/>
                  </a:lnTo>
                  <a:lnTo>
                    <a:pt x="15" y="3241"/>
                  </a:lnTo>
                  <a:lnTo>
                    <a:pt x="11" y="3223"/>
                  </a:lnTo>
                  <a:lnTo>
                    <a:pt x="11" y="3210"/>
                  </a:lnTo>
                  <a:lnTo>
                    <a:pt x="11" y="3190"/>
                  </a:lnTo>
                  <a:lnTo>
                    <a:pt x="15" y="3171"/>
                  </a:lnTo>
                  <a:lnTo>
                    <a:pt x="29" y="3146"/>
                  </a:lnTo>
                  <a:lnTo>
                    <a:pt x="48" y="3129"/>
                  </a:lnTo>
                  <a:lnTo>
                    <a:pt x="70" y="3120"/>
                  </a:lnTo>
                  <a:lnTo>
                    <a:pt x="93" y="3116"/>
                  </a:lnTo>
                  <a:close/>
                  <a:moveTo>
                    <a:pt x="5663" y="3102"/>
                  </a:moveTo>
                  <a:lnTo>
                    <a:pt x="5685" y="3103"/>
                  </a:lnTo>
                  <a:lnTo>
                    <a:pt x="5707" y="3113"/>
                  </a:lnTo>
                  <a:lnTo>
                    <a:pt x="5725" y="3125"/>
                  </a:lnTo>
                  <a:lnTo>
                    <a:pt x="5740" y="3144"/>
                  </a:lnTo>
                  <a:lnTo>
                    <a:pt x="5749" y="3168"/>
                  </a:lnTo>
                  <a:lnTo>
                    <a:pt x="5751" y="3195"/>
                  </a:lnTo>
                  <a:lnTo>
                    <a:pt x="5749" y="3204"/>
                  </a:lnTo>
                  <a:lnTo>
                    <a:pt x="5747" y="3223"/>
                  </a:lnTo>
                  <a:lnTo>
                    <a:pt x="5746" y="3241"/>
                  </a:lnTo>
                  <a:lnTo>
                    <a:pt x="5744" y="3259"/>
                  </a:lnTo>
                  <a:lnTo>
                    <a:pt x="5742" y="3276"/>
                  </a:lnTo>
                  <a:lnTo>
                    <a:pt x="5738" y="3294"/>
                  </a:lnTo>
                  <a:lnTo>
                    <a:pt x="5736" y="3313"/>
                  </a:lnTo>
                  <a:lnTo>
                    <a:pt x="5733" y="3331"/>
                  </a:lnTo>
                  <a:lnTo>
                    <a:pt x="5731" y="3349"/>
                  </a:lnTo>
                  <a:lnTo>
                    <a:pt x="5727" y="3366"/>
                  </a:lnTo>
                  <a:lnTo>
                    <a:pt x="5720" y="3391"/>
                  </a:lnTo>
                  <a:lnTo>
                    <a:pt x="5703" y="3412"/>
                  </a:lnTo>
                  <a:lnTo>
                    <a:pt x="5683" y="3426"/>
                  </a:lnTo>
                  <a:lnTo>
                    <a:pt x="5659" y="3435"/>
                  </a:lnTo>
                  <a:lnTo>
                    <a:pt x="5632" y="3435"/>
                  </a:lnTo>
                  <a:lnTo>
                    <a:pt x="5606" y="3426"/>
                  </a:lnTo>
                  <a:lnTo>
                    <a:pt x="5586" y="3412"/>
                  </a:lnTo>
                  <a:lnTo>
                    <a:pt x="5570" y="3390"/>
                  </a:lnTo>
                  <a:lnTo>
                    <a:pt x="5562" y="3366"/>
                  </a:lnTo>
                  <a:lnTo>
                    <a:pt x="5562" y="3338"/>
                  </a:lnTo>
                  <a:lnTo>
                    <a:pt x="5566" y="3322"/>
                  </a:lnTo>
                  <a:lnTo>
                    <a:pt x="5568" y="3305"/>
                  </a:lnTo>
                  <a:lnTo>
                    <a:pt x="5570" y="3289"/>
                  </a:lnTo>
                  <a:lnTo>
                    <a:pt x="5573" y="3272"/>
                  </a:lnTo>
                  <a:lnTo>
                    <a:pt x="5575" y="3254"/>
                  </a:lnTo>
                  <a:lnTo>
                    <a:pt x="5577" y="3237"/>
                  </a:lnTo>
                  <a:lnTo>
                    <a:pt x="5579" y="3221"/>
                  </a:lnTo>
                  <a:lnTo>
                    <a:pt x="5581" y="3202"/>
                  </a:lnTo>
                  <a:lnTo>
                    <a:pt x="5583" y="3186"/>
                  </a:lnTo>
                  <a:lnTo>
                    <a:pt x="5584" y="3177"/>
                  </a:lnTo>
                  <a:lnTo>
                    <a:pt x="5590" y="3157"/>
                  </a:lnTo>
                  <a:lnTo>
                    <a:pt x="5599" y="3138"/>
                  </a:lnTo>
                  <a:lnTo>
                    <a:pt x="5617" y="3118"/>
                  </a:lnTo>
                  <a:lnTo>
                    <a:pt x="5639" y="3107"/>
                  </a:lnTo>
                  <a:lnTo>
                    <a:pt x="5663" y="3102"/>
                  </a:lnTo>
                  <a:close/>
                  <a:moveTo>
                    <a:pt x="110" y="2449"/>
                  </a:moveTo>
                  <a:lnTo>
                    <a:pt x="134" y="2454"/>
                  </a:lnTo>
                  <a:lnTo>
                    <a:pt x="156" y="2469"/>
                  </a:lnTo>
                  <a:lnTo>
                    <a:pt x="172" y="2489"/>
                  </a:lnTo>
                  <a:lnTo>
                    <a:pt x="181" y="2513"/>
                  </a:lnTo>
                  <a:lnTo>
                    <a:pt x="183" y="2542"/>
                  </a:lnTo>
                  <a:lnTo>
                    <a:pt x="183" y="2544"/>
                  </a:lnTo>
                  <a:lnTo>
                    <a:pt x="181" y="2550"/>
                  </a:lnTo>
                  <a:lnTo>
                    <a:pt x="181" y="2555"/>
                  </a:lnTo>
                  <a:lnTo>
                    <a:pt x="179" y="2561"/>
                  </a:lnTo>
                  <a:lnTo>
                    <a:pt x="179" y="2566"/>
                  </a:lnTo>
                  <a:lnTo>
                    <a:pt x="179" y="2572"/>
                  </a:lnTo>
                  <a:lnTo>
                    <a:pt x="178" y="2577"/>
                  </a:lnTo>
                  <a:lnTo>
                    <a:pt x="178" y="2583"/>
                  </a:lnTo>
                  <a:lnTo>
                    <a:pt x="178" y="2588"/>
                  </a:lnTo>
                  <a:lnTo>
                    <a:pt x="176" y="2594"/>
                  </a:lnTo>
                  <a:lnTo>
                    <a:pt x="176" y="2599"/>
                  </a:lnTo>
                  <a:lnTo>
                    <a:pt x="176" y="2605"/>
                  </a:lnTo>
                  <a:lnTo>
                    <a:pt x="174" y="2610"/>
                  </a:lnTo>
                  <a:lnTo>
                    <a:pt x="174" y="2616"/>
                  </a:lnTo>
                  <a:lnTo>
                    <a:pt x="174" y="2623"/>
                  </a:lnTo>
                  <a:lnTo>
                    <a:pt x="172" y="2628"/>
                  </a:lnTo>
                  <a:lnTo>
                    <a:pt x="172" y="2634"/>
                  </a:lnTo>
                  <a:lnTo>
                    <a:pt x="172" y="2639"/>
                  </a:lnTo>
                  <a:lnTo>
                    <a:pt x="172" y="2645"/>
                  </a:lnTo>
                  <a:lnTo>
                    <a:pt x="170" y="2650"/>
                  </a:lnTo>
                  <a:lnTo>
                    <a:pt x="170" y="2656"/>
                  </a:lnTo>
                  <a:lnTo>
                    <a:pt x="170" y="2661"/>
                  </a:lnTo>
                  <a:lnTo>
                    <a:pt x="170" y="2667"/>
                  </a:lnTo>
                  <a:lnTo>
                    <a:pt x="169" y="2672"/>
                  </a:lnTo>
                  <a:lnTo>
                    <a:pt x="169" y="2678"/>
                  </a:lnTo>
                  <a:lnTo>
                    <a:pt x="169" y="2683"/>
                  </a:lnTo>
                  <a:lnTo>
                    <a:pt x="169" y="2691"/>
                  </a:lnTo>
                  <a:lnTo>
                    <a:pt x="167" y="2696"/>
                  </a:lnTo>
                  <a:lnTo>
                    <a:pt x="167" y="2702"/>
                  </a:lnTo>
                  <a:lnTo>
                    <a:pt x="167" y="2704"/>
                  </a:lnTo>
                  <a:lnTo>
                    <a:pt x="161" y="2727"/>
                  </a:lnTo>
                  <a:lnTo>
                    <a:pt x="150" y="2748"/>
                  </a:lnTo>
                  <a:lnTo>
                    <a:pt x="132" y="2766"/>
                  </a:lnTo>
                  <a:lnTo>
                    <a:pt x="110" y="2777"/>
                  </a:lnTo>
                  <a:lnTo>
                    <a:pt x="86" y="2781"/>
                  </a:lnTo>
                  <a:lnTo>
                    <a:pt x="64" y="2779"/>
                  </a:lnTo>
                  <a:lnTo>
                    <a:pt x="44" y="2772"/>
                  </a:lnTo>
                  <a:lnTo>
                    <a:pt x="26" y="2759"/>
                  </a:lnTo>
                  <a:lnTo>
                    <a:pt x="11" y="2740"/>
                  </a:lnTo>
                  <a:lnTo>
                    <a:pt x="2" y="2718"/>
                  </a:lnTo>
                  <a:lnTo>
                    <a:pt x="0" y="2693"/>
                  </a:lnTo>
                  <a:lnTo>
                    <a:pt x="0" y="2691"/>
                  </a:lnTo>
                  <a:lnTo>
                    <a:pt x="0" y="2683"/>
                  </a:lnTo>
                  <a:lnTo>
                    <a:pt x="0" y="2678"/>
                  </a:lnTo>
                  <a:lnTo>
                    <a:pt x="2" y="2672"/>
                  </a:lnTo>
                  <a:lnTo>
                    <a:pt x="2" y="2665"/>
                  </a:lnTo>
                  <a:lnTo>
                    <a:pt x="2" y="2660"/>
                  </a:lnTo>
                  <a:lnTo>
                    <a:pt x="2" y="2654"/>
                  </a:lnTo>
                  <a:lnTo>
                    <a:pt x="4" y="2649"/>
                  </a:lnTo>
                  <a:lnTo>
                    <a:pt x="4" y="2641"/>
                  </a:lnTo>
                  <a:lnTo>
                    <a:pt x="4" y="2636"/>
                  </a:lnTo>
                  <a:lnTo>
                    <a:pt x="5" y="2630"/>
                  </a:lnTo>
                  <a:lnTo>
                    <a:pt x="5" y="2623"/>
                  </a:lnTo>
                  <a:lnTo>
                    <a:pt x="5" y="2617"/>
                  </a:lnTo>
                  <a:lnTo>
                    <a:pt x="5" y="2612"/>
                  </a:lnTo>
                  <a:lnTo>
                    <a:pt x="7" y="2606"/>
                  </a:lnTo>
                  <a:lnTo>
                    <a:pt x="7" y="2599"/>
                  </a:lnTo>
                  <a:lnTo>
                    <a:pt x="7" y="2594"/>
                  </a:lnTo>
                  <a:lnTo>
                    <a:pt x="9" y="2588"/>
                  </a:lnTo>
                  <a:lnTo>
                    <a:pt x="9" y="2583"/>
                  </a:lnTo>
                  <a:lnTo>
                    <a:pt x="9" y="2575"/>
                  </a:lnTo>
                  <a:lnTo>
                    <a:pt x="11" y="2570"/>
                  </a:lnTo>
                  <a:lnTo>
                    <a:pt x="11" y="2564"/>
                  </a:lnTo>
                  <a:lnTo>
                    <a:pt x="13" y="2559"/>
                  </a:lnTo>
                  <a:lnTo>
                    <a:pt x="13" y="2551"/>
                  </a:lnTo>
                  <a:lnTo>
                    <a:pt x="13" y="2546"/>
                  </a:lnTo>
                  <a:lnTo>
                    <a:pt x="15" y="2540"/>
                  </a:lnTo>
                  <a:lnTo>
                    <a:pt x="15" y="2535"/>
                  </a:lnTo>
                  <a:lnTo>
                    <a:pt x="15" y="2528"/>
                  </a:lnTo>
                  <a:lnTo>
                    <a:pt x="16" y="2522"/>
                  </a:lnTo>
                  <a:lnTo>
                    <a:pt x="16" y="2520"/>
                  </a:lnTo>
                  <a:lnTo>
                    <a:pt x="24" y="2496"/>
                  </a:lnTo>
                  <a:lnTo>
                    <a:pt x="38" y="2474"/>
                  </a:lnTo>
                  <a:lnTo>
                    <a:pt x="60" y="2456"/>
                  </a:lnTo>
                  <a:lnTo>
                    <a:pt x="86" y="2449"/>
                  </a:lnTo>
                  <a:lnTo>
                    <a:pt x="110" y="2449"/>
                  </a:lnTo>
                  <a:close/>
                  <a:moveTo>
                    <a:pt x="5661" y="2434"/>
                  </a:moveTo>
                  <a:lnTo>
                    <a:pt x="5683" y="2438"/>
                  </a:lnTo>
                  <a:lnTo>
                    <a:pt x="5703" y="2447"/>
                  </a:lnTo>
                  <a:lnTo>
                    <a:pt x="5722" y="2462"/>
                  </a:lnTo>
                  <a:lnTo>
                    <a:pt x="5735" y="2482"/>
                  </a:lnTo>
                  <a:lnTo>
                    <a:pt x="5742" y="2506"/>
                  </a:lnTo>
                  <a:lnTo>
                    <a:pt x="5744" y="2522"/>
                  </a:lnTo>
                  <a:lnTo>
                    <a:pt x="5746" y="2540"/>
                  </a:lnTo>
                  <a:lnTo>
                    <a:pt x="5747" y="2559"/>
                  </a:lnTo>
                  <a:lnTo>
                    <a:pt x="5749" y="2577"/>
                  </a:lnTo>
                  <a:lnTo>
                    <a:pt x="5751" y="2595"/>
                  </a:lnTo>
                  <a:lnTo>
                    <a:pt x="5753" y="2614"/>
                  </a:lnTo>
                  <a:lnTo>
                    <a:pt x="5755" y="2632"/>
                  </a:lnTo>
                  <a:lnTo>
                    <a:pt x="5757" y="2650"/>
                  </a:lnTo>
                  <a:lnTo>
                    <a:pt x="5758" y="2669"/>
                  </a:lnTo>
                  <a:lnTo>
                    <a:pt x="5758" y="2678"/>
                  </a:lnTo>
                  <a:lnTo>
                    <a:pt x="5757" y="2705"/>
                  </a:lnTo>
                  <a:lnTo>
                    <a:pt x="5744" y="2731"/>
                  </a:lnTo>
                  <a:lnTo>
                    <a:pt x="5725" y="2751"/>
                  </a:lnTo>
                  <a:lnTo>
                    <a:pt x="5703" y="2762"/>
                  </a:lnTo>
                  <a:lnTo>
                    <a:pt x="5678" y="2768"/>
                  </a:lnTo>
                  <a:lnTo>
                    <a:pt x="5654" y="2764"/>
                  </a:lnTo>
                  <a:lnTo>
                    <a:pt x="5630" y="2753"/>
                  </a:lnTo>
                  <a:lnTo>
                    <a:pt x="5612" y="2738"/>
                  </a:lnTo>
                  <a:lnTo>
                    <a:pt x="5599" y="2716"/>
                  </a:lnTo>
                  <a:lnTo>
                    <a:pt x="5592" y="2691"/>
                  </a:lnTo>
                  <a:lnTo>
                    <a:pt x="5592" y="2682"/>
                  </a:lnTo>
                  <a:lnTo>
                    <a:pt x="5590" y="2663"/>
                  </a:lnTo>
                  <a:lnTo>
                    <a:pt x="5588" y="2647"/>
                  </a:lnTo>
                  <a:lnTo>
                    <a:pt x="5586" y="2628"/>
                  </a:lnTo>
                  <a:lnTo>
                    <a:pt x="5584" y="2612"/>
                  </a:lnTo>
                  <a:lnTo>
                    <a:pt x="5583" y="2595"/>
                  </a:lnTo>
                  <a:lnTo>
                    <a:pt x="5581" y="2577"/>
                  </a:lnTo>
                  <a:lnTo>
                    <a:pt x="5579" y="2561"/>
                  </a:lnTo>
                  <a:lnTo>
                    <a:pt x="5577" y="2544"/>
                  </a:lnTo>
                  <a:lnTo>
                    <a:pt x="5575" y="2528"/>
                  </a:lnTo>
                  <a:lnTo>
                    <a:pt x="5575" y="2502"/>
                  </a:lnTo>
                  <a:lnTo>
                    <a:pt x="5584" y="2478"/>
                  </a:lnTo>
                  <a:lnTo>
                    <a:pt x="5599" y="2458"/>
                  </a:lnTo>
                  <a:lnTo>
                    <a:pt x="5617" y="2443"/>
                  </a:lnTo>
                  <a:lnTo>
                    <a:pt x="5639" y="2436"/>
                  </a:lnTo>
                  <a:lnTo>
                    <a:pt x="5661" y="2434"/>
                  </a:lnTo>
                  <a:close/>
                  <a:moveTo>
                    <a:pt x="260" y="1800"/>
                  </a:moveTo>
                  <a:lnTo>
                    <a:pt x="284" y="1801"/>
                  </a:lnTo>
                  <a:lnTo>
                    <a:pt x="306" y="1811"/>
                  </a:lnTo>
                  <a:lnTo>
                    <a:pt x="324" y="1827"/>
                  </a:lnTo>
                  <a:lnTo>
                    <a:pt x="339" y="1849"/>
                  </a:lnTo>
                  <a:lnTo>
                    <a:pt x="346" y="1869"/>
                  </a:lnTo>
                  <a:lnTo>
                    <a:pt x="346" y="1891"/>
                  </a:lnTo>
                  <a:lnTo>
                    <a:pt x="341" y="1913"/>
                  </a:lnTo>
                  <a:lnTo>
                    <a:pt x="339" y="1917"/>
                  </a:lnTo>
                  <a:lnTo>
                    <a:pt x="337" y="1922"/>
                  </a:lnTo>
                  <a:lnTo>
                    <a:pt x="335" y="1928"/>
                  </a:lnTo>
                  <a:lnTo>
                    <a:pt x="333" y="1933"/>
                  </a:lnTo>
                  <a:lnTo>
                    <a:pt x="332" y="1937"/>
                  </a:lnTo>
                  <a:lnTo>
                    <a:pt x="330" y="1943"/>
                  </a:lnTo>
                  <a:lnTo>
                    <a:pt x="328" y="1948"/>
                  </a:lnTo>
                  <a:lnTo>
                    <a:pt x="326" y="1954"/>
                  </a:lnTo>
                  <a:lnTo>
                    <a:pt x="324" y="1959"/>
                  </a:lnTo>
                  <a:lnTo>
                    <a:pt x="322" y="1963"/>
                  </a:lnTo>
                  <a:lnTo>
                    <a:pt x="321" y="1968"/>
                  </a:lnTo>
                  <a:lnTo>
                    <a:pt x="319" y="1974"/>
                  </a:lnTo>
                  <a:lnTo>
                    <a:pt x="317" y="1979"/>
                  </a:lnTo>
                  <a:lnTo>
                    <a:pt x="315" y="1985"/>
                  </a:lnTo>
                  <a:lnTo>
                    <a:pt x="313" y="1988"/>
                  </a:lnTo>
                  <a:lnTo>
                    <a:pt x="311" y="1994"/>
                  </a:lnTo>
                  <a:lnTo>
                    <a:pt x="310" y="1999"/>
                  </a:lnTo>
                  <a:lnTo>
                    <a:pt x="308" y="2005"/>
                  </a:lnTo>
                  <a:lnTo>
                    <a:pt x="306" y="2010"/>
                  </a:lnTo>
                  <a:lnTo>
                    <a:pt x="304" y="2014"/>
                  </a:lnTo>
                  <a:lnTo>
                    <a:pt x="302" y="2020"/>
                  </a:lnTo>
                  <a:lnTo>
                    <a:pt x="300" y="2025"/>
                  </a:lnTo>
                  <a:lnTo>
                    <a:pt x="299" y="2031"/>
                  </a:lnTo>
                  <a:lnTo>
                    <a:pt x="297" y="2036"/>
                  </a:lnTo>
                  <a:lnTo>
                    <a:pt x="295" y="2042"/>
                  </a:lnTo>
                  <a:lnTo>
                    <a:pt x="293" y="2045"/>
                  </a:lnTo>
                  <a:lnTo>
                    <a:pt x="291" y="2051"/>
                  </a:lnTo>
                  <a:lnTo>
                    <a:pt x="291" y="2056"/>
                  </a:lnTo>
                  <a:lnTo>
                    <a:pt x="289" y="2062"/>
                  </a:lnTo>
                  <a:lnTo>
                    <a:pt x="288" y="2065"/>
                  </a:lnTo>
                  <a:lnTo>
                    <a:pt x="275" y="2091"/>
                  </a:lnTo>
                  <a:lnTo>
                    <a:pt x="256" y="2108"/>
                  </a:lnTo>
                  <a:lnTo>
                    <a:pt x="234" y="2120"/>
                  </a:lnTo>
                  <a:lnTo>
                    <a:pt x="209" y="2124"/>
                  </a:lnTo>
                  <a:lnTo>
                    <a:pt x="183" y="2120"/>
                  </a:lnTo>
                  <a:lnTo>
                    <a:pt x="159" y="2109"/>
                  </a:lnTo>
                  <a:lnTo>
                    <a:pt x="141" y="2091"/>
                  </a:lnTo>
                  <a:lnTo>
                    <a:pt x="128" y="2067"/>
                  </a:lnTo>
                  <a:lnTo>
                    <a:pt x="125" y="2042"/>
                  </a:lnTo>
                  <a:lnTo>
                    <a:pt x="128" y="2016"/>
                  </a:lnTo>
                  <a:lnTo>
                    <a:pt x="130" y="2010"/>
                  </a:lnTo>
                  <a:lnTo>
                    <a:pt x="130" y="2005"/>
                  </a:lnTo>
                  <a:lnTo>
                    <a:pt x="132" y="1999"/>
                  </a:lnTo>
                  <a:lnTo>
                    <a:pt x="134" y="1994"/>
                  </a:lnTo>
                  <a:lnTo>
                    <a:pt x="136" y="1988"/>
                  </a:lnTo>
                  <a:lnTo>
                    <a:pt x="137" y="1983"/>
                  </a:lnTo>
                  <a:lnTo>
                    <a:pt x="139" y="1977"/>
                  </a:lnTo>
                  <a:lnTo>
                    <a:pt x="141" y="1972"/>
                  </a:lnTo>
                  <a:lnTo>
                    <a:pt x="143" y="1966"/>
                  </a:lnTo>
                  <a:lnTo>
                    <a:pt x="145" y="1961"/>
                  </a:lnTo>
                  <a:lnTo>
                    <a:pt x="147" y="1955"/>
                  </a:lnTo>
                  <a:lnTo>
                    <a:pt x="150" y="1950"/>
                  </a:lnTo>
                  <a:lnTo>
                    <a:pt x="152" y="1944"/>
                  </a:lnTo>
                  <a:lnTo>
                    <a:pt x="154" y="1939"/>
                  </a:lnTo>
                  <a:lnTo>
                    <a:pt x="156" y="1933"/>
                  </a:lnTo>
                  <a:lnTo>
                    <a:pt x="158" y="1928"/>
                  </a:lnTo>
                  <a:lnTo>
                    <a:pt x="159" y="1922"/>
                  </a:lnTo>
                  <a:lnTo>
                    <a:pt x="161" y="1917"/>
                  </a:lnTo>
                  <a:lnTo>
                    <a:pt x="163" y="1911"/>
                  </a:lnTo>
                  <a:lnTo>
                    <a:pt x="165" y="1906"/>
                  </a:lnTo>
                  <a:lnTo>
                    <a:pt x="167" y="1900"/>
                  </a:lnTo>
                  <a:lnTo>
                    <a:pt x="169" y="1895"/>
                  </a:lnTo>
                  <a:lnTo>
                    <a:pt x="170" y="1889"/>
                  </a:lnTo>
                  <a:lnTo>
                    <a:pt x="172" y="1884"/>
                  </a:lnTo>
                  <a:lnTo>
                    <a:pt x="174" y="1878"/>
                  </a:lnTo>
                  <a:lnTo>
                    <a:pt x="176" y="1873"/>
                  </a:lnTo>
                  <a:lnTo>
                    <a:pt x="179" y="1869"/>
                  </a:lnTo>
                  <a:lnTo>
                    <a:pt x="181" y="1864"/>
                  </a:lnTo>
                  <a:lnTo>
                    <a:pt x="183" y="1858"/>
                  </a:lnTo>
                  <a:lnTo>
                    <a:pt x="185" y="1853"/>
                  </a:lnTo>
                  <a:lnTo>
                    <a:pt x="198" y="1829"/>
                  </a:lnTo>
                  <a:lnTo>
                    <a:pt x="216" y="1812"/>
                  </a:lnTo>
                  <a:lnTo>
                    <a:pt x="238" y="1803"/>
                  </a:lnTo>
                  <a:lnTo>
                    <a:pt x="260" y="1800"/>
                  </a:lnTo>
                  <a:close/>
                  <a:moveTo>
                    <a:pt x="5496" y="1787"/>
                  </a:moveTo>
                  <a:lnTo>
                    <a:pt x="5518" y="1790"/>
                  </a:lnTo>
                  <a:lnTo>
                    <a:pt x="5539" y="1800"/>
                  </a:lnTo>
                  <a:lnTo>
                    <a:pt x="5557" y="1816"/>
                  </a:lnTo>
                  <a:lnTo>
                    <a:pt x="5570" y="1838"/>
                  </a:lnTo>
                  <a:lnTo>
                    <a:pt x="5573" y="1847"/>
                  </a:lnTo>
                  <a:lnTo>
                    <a:pt x="5579" y="1864"/>
                  </a:lnTo>
                  <a:lnTo>
                    <a:pt x="5584" y="1880"/>
                  </a:lnTo>
                  <a:lnTo>
                    <a:pt x="5592" y="1897"/>
                  </a:lnTo>
                  <a:lnTo>
                    <a:pt x="5597" y="1913"/>
                  </a:lnTo>
                  <a:lnTo>
                    <a:pt x="5603" y="1930"/>
                  </a:lnTo>
                  <a:lnTo>
                    <a:pt x="5610" y="1946"/>
                  </a:lnTo>
                  <a:lnTo>
                    <a:pt x="5615" y="1963"/>
                  </a:lnTo>
                  <a:lnTo>
                    <a:pt x="5621" y="1981"/>
                  </a:lnTo>
                  <a:lnTo>
                    <a:pt x="5626" y="1998"/>
                  </a:lnTo>
                  <a:lnTo>
                    <a:pt x="5626" y="2001"/>
                  </a:lnTo>
                  <a:lnTo>
                    <a:pt x="5630" y="2018"/>
                  </a:lnTo>
                  <a:lnTo>
                    <a:pt x="5632" y="2034"/>
                  </a:lnTo>
                  <a:lnTo>
                    <a:pt x="5625" y="2062"/>
                  </a:lnTo>
                  <a:lnTo>
                    <a:pt x="5610" y="2084"/>
                  </a:lnTo>
                  <a:lnTo>
                    <a:pt x="5592" y="2098"/>
                  </a:lnTo>
                  <a:lnTo>
                    <a:pt x="5570" y="2108"/>
                  </a:lnTo>
                  <a:lnTo>
                    <a:pt x="5544" y="2111"/>
                  </a:lnTo>
                  <a:lnTo>
                    <a:pt x="5520" y="2108"/>
                  </a:lnTo>
                  <a:lnTo>
                    <a:pt x="5500" y="2097"/>
                  </a:lnTo>
                  <a:lnTo>
                    <a:pt x="5482" y="2078"/>
                  </a:lnTo>
                  <a:lnTo>
                    <a:pt x="5469" y="2053"/>
                  </a:lnTo>
                  <a:lnTo>
                    <a:pt x="5467" y="2049"/>
                  </a:lnTo>
                  <a:lnTo>
                    <a:pt x="5462" y="2032"/>
                  </a:lnTo>
                  <a:lnTo>
                    <a:pt x="5456" y="2018"/>
                  </a:lnTo>
                  <a:lnTo>
                    <a:pt x="5451" y="2001"/>
                  </a:lnTo>
                  <a:lnTo>
                    <a:pt x="5445" y="1985"/>
                  </a:lnTo>
                  <a:lnTo>
                    <a:pt x="5440" y="1970"/>
                  </a:lnTo>
                  <a:lnTo>
                    <a:pt x="5434" y="1954"/>
                  </a:lnTo>
                  <a:lnTo>
                    <a:pt x="5429" y="1939"/>
                  </a:lnTo>
                  <a:lnTo>
                    <a:pt x="5423" y="1922"/>
                  </a:lnTo>
                  <a:lnTo>
                    <a:pt x="5416" y="1908"/>
                  </a:lnTo>
                  <a:lnTo>
                    <a:pt x="5414" y="1900"/>
                  </a:lnTo>
                  <a:lnTo>
                    <a:pt x="5409" y="1877"/>
                  </a:lnTo>
                  <a:lnTo>
                    <a:pt x="5409" y="1853"/>
                  </a:lnTo>
                  <a:lnTo>
                    <a:pt x="5418" y="1829"/>
                  </a:lnTo>
                  <a:lnTo>
                    <a:pt x="5432" y="1809"/>
                  </a:lnTo>
                  <a:lnTo>
                    <a:pt x="5451" y="1796"/>
                  </a:lnTo>
                  <a:lnTo>
                    <a:pt x="5473" y="1789"/>
                  </a:lnTo>
                  <a:lnTo>
                    <a:pt x="5496" y="1787"/>
                  </a:lnTo>
                  <a:close/>
                  <a:moveTo>
                    <a:pt x="5178" y="1196"/>
                  </a:moveTo>
                  <a:lnTo>
                    <a:pt x="5203" y="1202"/>
                  </a:lnTo>
                  <a:lnTo>
                    <a:pt x="5225" y="1213"/>
                  </a:lnTo>
                  <a:lnTo>
                    <a:pt x="5244" y="1231"/>
                  </a:lnTo>
                  <a:lnTo>
                    <a:pt x="5255" y="1246"/>
                  </a:lnTo>
                  <a:lnTo>
                    <a:pt x="5264" y="1260"/>
                  </a:lnTo>
                  <a:lnTo>
                    <a:pt x="5273" y="1275"/>
                  </a:lnTo>
                  <a:lnTo>
                    <a:pt x="5284" y="1288"/>
                  </a:lnTo>
                  <a:lnTo>
                    <a:pt x="5293" y="1303"/>
                  </a:lnTo>
                  <a:lnTo>
                    <a:pt x="5302" y="1317"/>
                  </a:lnTo>
                  <a:lnTo>
                    <a:pt x="5311" y="1332"/>
                  </a:lnTo>
                  <a:lnTo>
                    <a:pt x="5321" y="1347"/>
                  </a:lnTo>
                  <a:lnTo>
                    <a:pt x="5330" y="1361"/>
                  </a:lnTo>
                  <a:lnTo>
                    <a:pt x="5339" y="1376"/>
                  </a:lnTo>
                  <a:lnTo>
                    <a:pt x="5350" y="1402"/>
                  </a:lnTo>
                  <a:lnTo>
                    <a:pt x="5352" y="1427"/>
                  </a:lnTo>
                  <a:lnTo>
                    <a:pt x="5344" y="1451"/>
                  </a:lnTo>
                  <a:lnTo>
                    <a:pt x="5332" y="1473"/>
                  </a:lnTo>
                  <a:lnTo>
                    <a:pt x="5313" y="1491"/>
                  </a:lnTo>
                  <a:lnTo>
                    <a:pt x="5288" y="1502"/>
                  </a:lnTo>
                  <a:lnTo>
                    <a:pt x="5262" y="1504"/>
                  </a:lnTo>
                  <a:lnTo>
                    <a:pt x="5236" y="1497"/>
                  </a:lnTo>
                  <a:lnTo>
                    <a:pt x="5214" y="1484"/>
                  </a:lnTo>
                  <a:lnTo>
                    <a:pt x="5196" y="1464"/>
                  </a:lnTo>
                  <a:lnTo>
                    <a:pt x="5189" y="1451"/>
                  </a:lnTo>
                  <a:lnTo>
                    <a:pt x="5180" y="1436"/>
                  </a:lnTo>
                  <a:lnTo>
                    <a:pt x="5170" y="1424"/>
                  </a:lnTo>
                  <a:lnTo>
                    <a:pt x="5161" y="1409"/>
                  </a:lnTo>
                  <a:lnTo>
                    <a:pt x="5152" y="1396"/>
                  </a:lnTo>
                  <a:lnTo>
                    <a:pt x="5145" y="1381"/>
                  </a:lnTo>
                  <a:lnTo>
                    <a:pt x="5136" y="1369"/>
                  </a:lnTo>
                  <a:lnTo>
                    <a:pt x="5126" y="1354"/>
                  </a:lnTo>
                  <a:lnTo>
                    <a:pt x="5115" y="1341"/>
                  </a:lnTo>
                  <a:lnTo>
                    <a:pt x="5108" y="1328"/>
                  </a:lnTo>
                  <a:lnTo>
                    <a:pt x="5095" y="1304"/>
                  </a:lnTo>
                  <a:lnTo>
                    <a:pt x="5092" y="1277"/>
                  </a:lnTo>
                  <a:lnTo>
                    <a:pt x="5097" y="1253"/>
                  </a:lnTo>
                  <a:lnTo>
                    <a:pt x="5108" y="1231"/>
                  </a:lnTo>
                  <a:lnTo>
                    <a:pt x="5126" y="1213"/>
                  </a:lnTo>
                  <a:lnTo>
                    <a:pt x="5152" y="1200"/>
                  </a:lnTo>
                  <a:lnTo>
                    <a:pt x="5178" y="1196"/>
                  </a:lnTo>
                  <a:close/>
                  <a:moveTo>
                    <a:pt x="810" y="864"/>
                  </a:moveTo>
                  <a:lnTo>
                    <a:pt x="793" y="1772"/>
                  </a:lnTo>
                  <a:lnTo>
                    <a:pt x="35" y="1336"/>
                  </a:lnTo>
                  <a:lnTo>
                    <a:pt x="810" y="864"/>
                  </a:lnTo>
                  <a:close/>
                  <a:moveTo>
                    <a:pt x="4735" y="699"/>
                  </a:moveTo>
                  <a:lnTo>
                    <a:pt x="4762" y="705"/>
                  </a:lnTo>
                  <a:lnTo>
                    <a:pt x="4786" y="719"/>
                  </a:lnTo>
                  <a:lnTo>
                    <a:pt x="4795" y="728"/>
                  </a:lnTo>
                  <a:lnTo>
                    <a:pt x="4808" y="740"/>
                  </a:lnTo>
                  <a:lnTo>
                    <a:pt x="4821" y="751"/>
                  </a:lnTo>
                  <a:lnTo>
                    <a:pt x="4833" y="763"/>
                  </a:lnTo>
                  <a:lnTo>
                    <a:pt x="4846" y="774"/>
                  </a:lnTo>
                  <a:lnTo>
                    <a:pt x="4859" y="785"/>
                  </a:lnTo>
                  <a:lnTo>
                    <a:pt x="4872" y="798"/>
                  </a:lnTo>
                  <a:lnTo>
                    <a:pt x="4885" y="809"/>
                  </a:lnTo>
                  <a:lnTo>
                    <a:pt x="4896" y="822"/>
                  </a:lnTo>
                  <a:lnTo>
                    <a:pt x="4909" y="835"/>
                  </a:lnTo>
                  <a:lnTo>
                    <a:pt x="4910" y="837"/>
                  </a:lnTo>
                  <a:lnTo>
                    <a:pt x="4927" y="859"/>
                  </a:lnTo>
                  <a:lnTo>
                    <a:pt x="4936" y="884"/>
                  </a:lnTo>
                  <a:lnTo>
                    <a:pt x="4934" y="912"/>
                  </a:lnTo>
                  <a:lnTo>
                    <a:pt x="4927" y="938"/>
                  </a:lnTo>
                  <a:lnTo>
                    <a:pt x="4910" y="956"/>
                  </a:lnTo>
                  <a:lnTo>
                    <a:pt x="4890" y="971"/>
                  </a:lnTo>
                  <a:lnTo>
                    <a:pt x="4866" y="980"/>
                  </a:lnTo>
                  <a:lnTo>
                    <a:pt x="4841" y="980"/>
                  </a:lnTo>
                  <a:lnTo>
                    <a:pt x="4817" y="972"/>
                  </a:lnTo>
                  <a:lnTo>
                    <a:pt x="4793" y="956"/>
                  </a:lnTo>
                  <a:lnTo>
                    <a:pt x="4791" y="954"/>
                  </a:lnTo>
                  <a:lnTo>
                    <a:pt x="4780" y="941"/>
                  </a:lnTo>
                  <a:lnTo>
                    <a:pt x="4767" y="930"/>
                  </a:lnTo>
                  <a:lnTo>
                    <a:pt x="4756" y="919"/>
                  </a:lnTo>
                  <a:lnTo>
                    <a:pt x="4744" y="908"/>
                  </a:lnTo>
                  <a:lnTo>
                    <a:pt x="4733" y="897"/>
                  </a:lnTo>
                  <a:lnTo>
                    <a:pt x="4720" y="886"/>
                  </a:lnTo>
                  <a:lnTo>
                    <a:pt x="4709" y="875"/>
                  </a:lnTo>
                  <a:lnTo>
                    <a:pt x="4696" y="864"/>
                  </a:lnTo>
                  <a:lnTo>
                    <a:pt x="4683" y="853"/>
                  </a:lnTo>
                  <a:lnTo>
                    <a:pt x="4674" y="846"/>
                  </a:lnTo>
                  <a:lnTo>
                    <a:pt x="4658" y="824"/>
                  </a:lnTo>
                  <a:lnTo>
                    <a:pt x="4648" y="802"/>
                  </a:lnTo>
                  <a:lnTo>
                    <a:pt x="4647" y="776"/>
                  </a:lnTo>
                  <a:lnTo>
                    <a:pt x="4652" y="752"/>
                  </a:lnTo>
                  <a:lnTo>
                    <a:pt x="4663" y="730"/>
                  </a:lnTo>
                  <a:lnTo>
                    <a:pt x="4681" y="714"/>
                  </a:lnTo>
                  <a:lnTo>
                    <a:pt x="4705" y="701"/>
                  </a:lnTo>
                  <a:lnTo>
                    <a:pt x="4735" y="699"/>
                  </a:lnTo>
                  <a:close/>
                  <a:moveTo>
                    <a:pt x="4191" y="320"/>
                  </a:moveTo>
                  <a:lnTo>
                    <a:pt x="4218" y="329"/>
                  </a:lnTo>
                  <a:lnTo>
                    <a:pt x="4225" y="332"/>
                  </a:lnTo>
                  <a:lnTo>
                    <a:pt x="4240" y="340"/>
                  </a:lnTo>
                  <a:lnTo>
                    <a:pt x="4256" y="349"/>
                  </a:lnTo>
                  <a:lnTo>
                    <a:pt x="4271" y="358"/>
                  </a:lnTo>
                  <a:lnTo>
                    <a:pt x="4286" y="365"/>
                  </a:lnTo>
                  <a:lnTo>
                    <a:pt x="4302" y="375"/>
                  </a:lnTo>
                  <a:lnTo>
                    <a:pt x="4317" y="384"/>
                  </a:lnTo>
                  <a:lnTo>
                    <a:pt x="4332" y="391"/>
                  </a:lnTo>
                  <a:lnTo>
                    <a:pt x="4346" y="400"/>
                  </a:lnTo>
                  <a:lnTo>
                    <a:pt x="4363" y="409"/>
                  </a:lnTo>
                  <a:lnTo>
                    <a:pt x="4368" y="413"/>
                  </a:lnTo>
                  <a:lnTo>
                    <a:pt x="4385" y="426"/>
                  </a:lnTo>
                  <a:lnTo>
                    <a:pt x="4398" y="444"/>
                  </a:lnTo>
                  <a:lnTo>
                    <a:pt x="4408" y="472"/>
                  </a:lnTo>
                  <a:lnTo>
                    <a:pt x="4408" y="499"/>
                  </a:lnTo>
                  <a:lnTo>
                    <a:pt x="4399" y="525"/>
                  </a:lnTo>
                  <a:lnTo>
                    <a:pt x="4385" y="545"/>
                  </a:lnTo>
                  <a:lnTo>
                    <a:pt x="4363" y="560"/>
                  </a:lnTo>
                  <a:lnTo>
                    <a:pt x="4337" y="569"/>
                  </a:lnTo>
                  <a:lnTo>
                    <a:pt x="4311" y="567"/>
                  </a:lnTo>
                  <a:lnTo>
                    <a:pt x="4282" y="558"/>
                  </a:lnTo>
                  <a:lnTo>
                    <a:pt x="4277" y="552"/>
                  </a:lnTo>
                  <a:lnTo>
                    <a:pt x="4262" y="545"/>
                  </a:lnTo>
                  <a:lnTo>
                    <a:pt x="4247" y="536"/>
                  </a:lnTo>
                  <a:lnTo>
                    <a:pt x="4233" y="529"/>
                  </a:lnTo>
                  <a:lnTo>
                    <a:pt x="4220" y="519"/>
                  </a:lnTo>
                  <a:lnTo>
                    <a:pt x="4205" y="512"/>
                  </a:lnTo>
                  <a:lnTo>
                    <a:pt x="4191" y="505"/>
                  </a:lnTo>
                  <a:lnTo>
                    <a:pt x="4176" y="496"/>
                  </a:lnTo>
                  <a:lnTo>
                    <a:pt x="4161" y="488"/>
                  </a:lnTo>
                  <a:lnTo>
                    <a:pt x="4147" y="481"/>
                  </a:lnTo>
                  <a:lnTo>
                    <a:pt x="4141" y="477"/>
                  </a:lnTo>
                  <a:lnTo>
                    <a:pt x="4121" y="463"/>
                  </a:lnTo>
                  <a:lnTo>
                    <a:pt x="4106" y="442"/>
                  </a:lnTo>
                  <a:lnTo>
                    <a:pt x="4097" y="415"/>
                  </a:lnTo>
                  <a:lnTo>
                    <a:pt x="4097" y="389"/>
                  </a:lnTo>
                  <a:lnTo>
                    <a:pt x="4104" y="365"/>
                  </a:lnTo>
                  <a:lnTo>
                    <a:pt x="4121" y="345"/>
                  </a:lnTo>
                  <a:lnTo>
                    <a:pt x="4141" y="329"/>
                  </a:lnTo>
                  <a:lnTo>
                    <a:pt x="4165" y="321"/>
                  </a:lnTo>
                  <a:lnTo>
                    <a:pt x="4191" y="320"/>
                  </a:lnTo>
                  <a:close/>
                  <a:moveTo>
                    <a:pt x="1751" y="235"/>
                  </a:moveTo>
                  <a:lnTo>
                    <a:pt x="1780" y="241"/>
                  </a:lnTo>
                  <a:lnTo>
                    <a:pt x="1802" y="252"/>
                  </a:lnTo>
                  <a:lnTo>
                    <a:pt x="1821" y="270"/>
                  </a:lnTo>
                  <a:lnTo>
                    <a:pt x="1832" y="290"/>
                  </a:lnTo>
                  <a:lnTo>
                    <a:pt x="1837" y="314"/>
                  </a:lnTo>
                  <a:lnTo>
                    <a:pt x="1835" y="338"/>
                  </a:lnTo>
                  <a:lnTo>
                    <a:pt x="1826" y="362"/>
                  </a:lnTo>
                  <a:lnTo>
                    <a:pt x="1810" y="382"/>
                  </a:lnTo>
                  <a:lnTo>
                    <a:pt x="1788" y="397"/>
                  </a:lnTo>
                  <a:lnTo>
                    <a:pt x="1786" y="397"/>
                  </a:lnTo>
                  <a:lnTo>
                    <a:pt x="1782" y="398"/>
                  </a:lnTo>
                  <a:lnTo>
                    <a:pt x="1777" y="400"/>
                  </a:lnTo>
                  <a:lnTo>
                    <a:pt x="1773" y="402"/>
                  </a:lnTo>
                  <a:lnTo>
                    <a:pt x="1769" y="404"/>
                  </a:lnTo>
                  <a:lnTo>
                    <a:pt x="1764" y="406"/>
                  </a:lnTo>
                  <a:lnTo>
                    <a:pt x="1760" y="409"/>
                  </a:lnTo>
                  <a:lnTo>
                    <a:pt x="1755" y="411"/>
                  </a:lnTo>
                  <a:lnTo>
                    <a:pt x="1751" y="413"/>
                  </a:lnTo>
                  <a:lnTo>
                    <a:pt x="1745" y="415"/>
                  </a:lnTo>
                  <a:lnTo>
                    <a:pt x="1742" y="417"/>
                  </a:lnTo>
                  <a:lnTo>
                    <a:pt x="1736" y="419"/>
                  </a:lnTo>
                  <a:lnTo>
                    <a:pt x="1733" y="420"/>
                  </a:lnTo>
                  <a:lnTo>
                    <a:pt x="1729" y="422"/>
                  </a:lnTo>
                  <a:lnTo>
                    <a:pt x="1723" y="426"/>
                  </a:lnTo>
                  <a:lnTo>
                    <a:pt x="1720" y="428"/>
                  </a:lnTo>
                  <a:lnTo>
                    <a:pt x="1714" y="430"/>
                  </a:lnTo>
                  <a:lnTo>
                    <a:pt x="1711" y="431"/>
                  </a:lnTo>
                  <a:lnTo>
                    <a:pt x="1705" y="433"/>
                  </a:lnTo>
                  <a:lnTo>
                    <a:pt x="1701" y="435"/>
                  </a:lnTo>
                  <a:lnTo>
                    <a:pt x="1698" y="437"/>
                  </a:lnTo>
                  <a:lnTo>
                    <a:pt x="1692" y="441"/>
                  </a:lnTo>
                  <a:lnTo>
                    <a:pt x="1689" y="442"/>
                  </a:lnTo>
                  <a:lnTo>
                    <a:pt x="1683" y="444"/>
                  </a:lnTo>
                  <a:lnTo>
                    <a:pt x="1680" y="446"/>
                  </a:lnTo>
                  <a:lnTo>
                    <a:pt x="1676" y="448"/>
                  </a:lnTo>
                  <a:lnTo>
                    <a:pt x="1670" y="452"/>
                  </a:lnTo>
                  <a:lnTo>
                    <a:pt x="1667" y="453"/>
                  </a:lnTo>
                  <a:lnTo>
                    <a:pt x="1661" y="455"/>
                  </a:lnTo>
                  <a:lnTo>
                    <a:pt x="1658" y="457"/>
                  </a:lnTo>
                  <a:lnTo>
                    <a:pt x="1654" y="459"/>
                  </a:lnTo>
                  <a:lnTo>
                    <a:pt x="1648" y="463"/>
                  </a:lnTo>
                  <a:lnTo>
                    <a:pt x="1645" y="464"/>
                  </a:lnTo>
                  <a:lnTo>
                    <a:pt x="1641" y="466"/>
                  </a:lnTo>
                  <a:lnTo>
                    <a:pt x="1619" y="474"/>
                  </a:lnTo>
                  <a:lnTo>
                    <a:pt x="1599" y="475"/>
                  </a:lnTo>
                  <a:lnTo>
                    <a:pt x="1571" y="470"/>
                  </a:lnTo>
                  <a:lnTo>
                    <a:pt x="1551" y="459"/>
                  </a:lnTo>
                  <a:lnTo>
                    <a:pt x="1535" y="441"/>
                  </a:lnTo>
                  <a:lnTo>
                    <a:pt x="1524" y="420"/>
                  </a:lnTo>
                  <a:lnTo>
                    <a:pt x="1518" y="398"/>
                  </a:lnTo>
                  <a:lnTo>
                    <a:pt x="1520" y="375"/>
                  </a:lnTo>
                  <a:lnTo>
                    <a:pt x="1527" y="353"/>
                  </a:lnTo>
                  <a:lnTo>
                    <a:pt x="1542" y="332"/>
                  </a:lnTo>
                  <a:lnTo>
                    <a:pt x="1564" y="318"/>
                  </a:lnTo>
                  <a:lnTo>
                    <a:pt x="1568" y="314"/>
                  </a:lnTo>
                  <a:lnTo>
                    <a:pt x="1573" y="312"/>
                  </a:lnTo>
                  <a:lnTo>
                    <a:pt x="1577" y="310"/>
                  </a:lnTo>
                  <a:lnTo>
                    <a:pt x="1582" y="309"/>
                  </a:lnTo>
                  <a:lnTo>
                    <a:pt x="1586" y="305"/>
                  </a:lnTo>
                  <a:lnTo>
                    <a:pt x="1592" y="303"/>
                  </a:lnTo>
                  <a:lnTo>
                    <a:pt x="1597" y="301"/>
                  </a:lnTo>
                  <a:lnTo>
                    <a:pt x="1601" y="298"/>
                  </a:lnTo>
                  <a:lnTo>
                    <a:pt x="1606" y="296"/>
                  </a:lnTo>
                  <a:lnTo>
                    <a:pt x="1610" y="294"/>
                  </a:lnTo>
                  <a:lnTo>
                    <a:pt x="1615" y="292"/>
                  </a:lnTo>
                  <a:lnTo>
                    <a:pt x="1619" y="288"/>
                  </a:lnTo>
                  <a:lnTo>
                    <a:pt x="1625" y="287"/>
                  </a:lnTo>
                  <a:lnTo>
                    <a:pt x="1628" y="285"/>
                  </a:lnTo>
                  <a:lnTo>
                    <a:pt x="1634" y="283"/>
                  </a:lnTo>
                  <a:lnTo>
                    <a:pt x="1639" y="281"/>
                  </a:lnTo>
                  <a:lnTo>
                    <a:pt x="1643" y="277"/>
                  </a:lnTo>
                  <a:lnTo>
                    <a:pt x="1648" y="276"/>
                  </a:lnTo>
                  <a:lnTo>
                    <a:pt x="1652" y="274"/>
                  </a:lnTo>
                  <a:lnTo>
                    <a:pt x="1658" y="272"/>
                  </a:lnTo>
                  <a:lnTo>
                    <a:pt x="1661" y="268"/>
                  </a:lnTo>
                  <a:lnTo>
                    <a:pt x="1667" y="266"/>
                  </a:lnTo>
                  <a:lnTo>
                    <a:pt x="1672" y="265"/>
                  </a:lnTo>
                  <a:lnTo>
                    <a:pt x="1676" y="263"/>
                  </a:lnTo>
                  <a:lnTo>
                    <a:pt x="1681" y="261"/>
                  </a:lnTo>
                  <a:lnTo>
                    <a:pt x="1685" y="259"/>
                  </a:lnTo>
                  <a:lnTo>
                    <a:pt x="1691" y="255"/>
                  </a:lnTo>
                  <a:lnTo>
                    <a:pt x="1696" y="254"/>
                  </a:lnTo>
                  <a:lnTo>
                    <a:pt x="1700" y="252"/>
                  </a:lnTo>
                  <a:lnTo>
                    <a:pt x="1705" y="250"/>
                  </a:lnTo>
                  <a:lnTo>
                    <a:pt x="1709" y="248"/>
                  </a:lnTo>
                  <a:lnTo>
                    <a:pt x="1714" y="246"/>
                  </a:lnTo>
                  <a:lnTo>
                    <a:pt x="1720" y="243"/>
                  </a:lnTo>
                  <a:lnTo>
                    <a:pt x="1720" y="243"/>
                  </a:lnTo>
                  <a:lnTo>
                    <a:pt x="1734" y="237"/>
                  </a:lnTo>
                  <a:lnTo>
                    <a:pt x="1751" y="235"/>
                  </a:lnTo>
                  <a:close/>
                  <a:moveTo>
                    <a:pt x="3560" y="83"/>
                  </a:moveTo>
                  <a:lnTo>
                    <a:pt x="3575" y="85"/>
                  </a:lnTo>
                  <a:lnTo>
                    <a:pt x="3584" y="87"/>
                  </a:lnTo>
                  <a:lnTo>
                    <a:pt x="3601" y="90"/>
                  </a:lnTo>
                  <a:lnTo>
                    <a:pt x="3619" y="96"/>
                  </a:lnTo>
                  <a:lnTo>
                    <a:pt x="3636" y="99"/>
                  </a:lnTo>
                  <a:lnTo>
                    <a:pt x="3652" y="105"/>
                  </a:lnTo>
                  <a:lnTo>
                    <a:pt x="3670" y="110"/>
                  </a:lnTo>
                  <a:lnTo>
                    <a:pt x="3687" y="114"/>
                  </a:lnTo>
                  <a:lnTo>
                    <a:pt x="3703" y="120"/>
                  </a:lnTo>
                  <a:lnTo>
                    <a:pt x="3722" y="125"/>
                  </a:lnTo>
                  <a:lnTo>
                    <a:pt x="3738" y="131"/>
                  </a:lnTo>
                  <a:lnTo>
                    <a:pt x="3742" y="131"/>
                  </a:lnTo>
                  <a:lnTo>
                    <a:pt x="3762" y="142"/>
                  </a:lnTo>
                  <a:lnTo>
                    <a:pt x="3780" y="156"/>
                  </a:lnTo>
                  <a:lnTo>
                    <a:pt x="3795" y="182"/>
                  </a:lnTo>
                  <a:lnTo>
                    <a:pt x="3800" y="208"/>
                  </a:lnTo>
                  <a:lnTo>
                    <a:pt x="3797" y="233"/>
                  </a:lnTo>
                  <a:lnTo>
                    <a:pt x="3786" y="257"/>
                  </a:lnTo>
                  <a:lnTo>
                    <a:pt x="3769" y="276"/>
                  </a:lnTo>
                  <a:lnTo>
                    <a:pt x="3745" y="290"/>
                  </a:lnTo>
                  <a:lnTo>
                    <a:pt x="3720" y="296"/>
                  </a:lnTo>
                  <a:lnTo>
                    <a:pt x="3691" y="290"/>
                  </a:lnTo>
                  <a:lnTo>
                    <a:pt x="3689" y="290"/>
                  </a:lnTo>
                  <a:lnTo>
                    <a:pt x="3672" y="285"/>
                  </a:lnTo>
                  <a:lnTo>
                    <a:pt x="3656" y="281"/>
                  </a:lnTo>
                  <a:lnTo>
                    <a:pt x="3641" y="276"/>
                  </a:lnTo>
                  <a:lnTo>
                    <a:pt x="3625" y="270"/>
                  </a:lnTo>
                  <a:lnTo>
                    <a:pt x="3608" y="266"/>
                  </a:lnTo>
                  <a:lnTo>
                    <a:pt x="3592" y="263"/>
                  </a:lnTo>
                  <a:lnTo>
                    <a:pt x="3575" y="257"/>
                  </a:lnTo>
                  <a:lnTo>
                    <a:pt x="3559" y="254"/>
                  </a:lnTo>
                  <a:lnTo>
                    <a:pt x="3548" y="250"/>
                  </a:lnTo>
                  <a:lnTo>
                    <a:pt x="3544" y="250"/>
                  </a:lnTo>
                  <a:lnTo>
                    <a:pt x="3535" y="248"/>
                  </a:lnTo>
                  <a:lnTo>
                    <a:pt x="3520" y="243"/>
                  </a:lnTo>
                  <a:lnTo>
                    <a:pt x="3506" y="233"/>
                  </a:lnTo>
                  <a:lnTo>
                    <a:pt x="3485" y="213"/>
                  </a:lnTo>
                  <a:lnTo>
                    <a:pt x="3474" y="189"/>
                  </a:lnTo>
                  <a:lnTo>
                    <a:pt x="3471" y="165"/>
                  </a:lnTo>
                  <a:lnTo>
                    <a:pt x="3474" y="142"/>
                  </a:lnTo>
                  <a:lnTo>
                    <a:pt x="3485" y="120"/>
                  </a:lnTo>
                  <a:lnTo>
                    <a:pt x="3502" y="101"/>
                  </a:lnTo>
                  <a:lnTo>
                    <a:pt x="3522" y="88"/>
                  </a:lnTo>
                  <a:lnTo>
                    <a:pt x="3548" y="83"/>
                  </a:lnTo>
                  <a:lnTo>
                    <a:pt x="3560" y="83"/>
                  </a:lnTo>
                  <a:close/>
                  <a:moveTo>
                    <a:pt x="2394" y="43"/>
                  </a:moveTo>
                  <a:lnTo>
                    <a:pt x="2408" y="44"/>
                  </a:lnTo>
                  <a:lnTo>
                    <a:pt x="2434" y="54"/>
                  </a:lnTo>
                  <a:lnTo>
                    <a:pt x="2452" y="66"/>
                  </a:lnTo>
                  <a:lnTo>
                    <a:pt x="2465" y="85"/>
                  </a:lnTo>
                  <a:lnTo>
                    <a:pt x="2473" y="105"/>
                  </a:lnTo>
                  <a:lnTo>
                    <a:pt x="2476" y="127"/>
                  </a:lnTo>
                  <a:lnTo>
                    <a:pt x="2473" y="149"/>
                  </a:lnTo>
                  <a:lnTo>
                    <a:pt x="2463" y="169"/>
                  </a:lnTo>
                  <a:lnTo>
                    <a:pt x="2451" y="187"/>
                  </a:lnTo>
                  <a:lnTo>
                    <a:pt x="2432" y="200"/>
                  </a:lnTo>
                  <a:lnTo>
                    <a:pt x="2407" y="208"/>
                  </a:lnTo>
                  <a:lnTo>
                    <a:pt x="2405" y="209"/>
                  </a:lnTo>
                  <a:lnTo>
                    <a:pt x="2399" y="209"/>
                  </a:lnTo>
                  <a:lnTo>
                    <a:pt x="2394" y="211"/>
                  </a:lnTo>
                  <a:lnTo>
                    <a:pt x="2388" y="211"/>
                  </a:lnTo>
                  <a:lnTo>
                    <a:pt x="2385" y="213"/>
                  </a:lnTo>
                  <a:lnTo>
                    <a:pt x="2379" y="213"/>
                  </a:lnTo>
                  <a:lnTo>
                    <a:pt x="2374" y="215"/>
                  </a:lnTo>
                  <a:lnTo>
                    <a:pt x="2370" y="215"/>
                  </a:lnTo>
                  <a:lnTo>
                    <a:pt x="2365" y="217"/>
                  </a:lnTo>
                  <a:lnTo>
                    <a:pt x="2359" y="217"/>
                  </a:lnTo>
                  <a:lnTo>
                    <a:pt x="2355" y="219"/>
                  </a:lnTo>
                  <a:lnTo>
                    <a:pt x="2350" y="219"/>
                  </a:lnTo>
                  <a:lnTo>
                    <a:pt x="2344" y="220"/>
                  </a:lnTo>
                  <a:lnTo>
                    <a:pt x="2339" y="220"/>
                  </a:lnTo>
                  <a:lnTo>
                    <a:pt x="2335" y="222"/>
                  </a:lnTo>
                  <a:lnTo>
                    <a:pt x="2330" y="222"/>
                  </a:lnTo>
                  <a:lnTo>
                    <a:pt x="2324" y="224"/>
                  </a:lnTo>
                  <a:lnTo>
                    <a:pt x="2321" y="226"/>
                  </a:lnTo>
                  <a:lnTo>
                    <a:pt x="2315" y="226"/>
                  </a:lnTo>
                  <a:lnTo>
                    <a:pt x="2310" y="228"/>
                  </a:lnTo>
                  <a:lnTo>
                    <a:pt x="2306" y="228"/>
                  </a:lnTo>
                  <a:lnTo>
                    <a:pt x="2300" y="230"/>
                  </a:lnTo>
                  <a:lnTo>
                    <a:pt x="2295" y="230"/>
                  </a:lnTo>
                  <a:lnTo>
                    <a:pt x="2291" y="231"/>
                  </a:lnTo>
                  <a:lnTo>
                    <a:pt x="2286" y="233"/>
                  </a:lnTo>
                  <a:lnTo>
                    <a:pt x="2280" y="233"/>
                  </a:lnTo>
                  <a:lnTo>
                    <a:pt x="2277" y="235"/>
                  </a:lnTo>
                  <a:lnTo>
                    <a:pt x="2271" y="235"/>
                  </a:lnTo>
                  <a:lnTo>
                    <a:pt x="2266" y="237"/>
                  </a:lnTo>
                  <a:lnTo>
                    <a:pt x="2260" y="239"/>
                  </a:lnTo>
                  <a:lnTo>
                    <a:pt x="2256" y="239"/>
                  </a:lnTo>
                  <a:lnTo>
                    <a:pt x="2251" y="241"/>
                  </a:lnTo>
                  <a:lnTo>
                    <a:pt x="2247" y="241"/>
                  </a:lnTo>
                  <a:lnTo>
                    <a:pt x="2222" y="243"/>
                  </a:lnTo>
                  <a:lnTo>
                    <a:pt x="2194" y="237"/>
                  </a:lnTo>
                  <a:lnTo>
                    <a:pt x="2174" y="224"/>
                  </a:lnTo>
                  <a:lnTo>
                    <a:pt x="2158" y="206"/>
                  </a:lnTo>
                  <a:lnTo>
                    <a:pt x="2148" y="186"/>
                  </a:lnTo>
                  <a:lnTo>
                    <a:pt x="2145" y="164"/>
                  </a:lnTo>
                  <a:lnTo>
                    <a:pt x="2147" y="142"/>
                  </a:lnTo>
                  <a:lnTo>
                    <a:pt x="2154" y="120"/>
                  </a:lnTo>
                  <a:lnTo>
                    <a:pt x="2169" y="101"/>
                  </a:lnTo>
                  <a:lnTo>
                    <a:pt x="2185" y="88"/>
                  </a:lnTo>
                  <a:lnTo>
                    <a:pt x="2209" y="79"/>
                  </a:lnTo>
                  <a:lnTo>
                    <a:pt x="2212" y="77"/>
                  </a:lnTo>
                  <a:lnTo>
                    <a:pt x="2218" y="76"/>
                  </a:lnTo>
                  <a:lnTo>
                    <a:pt x="2223" y="76"/>
                  </a:lnTo>
                  <a:lnTo>
                    <a:pt x="2229" y="74"/>
                  </a:lnTo>
                  <a:lnTo>
                    <a:pt x="2233" y="72"/>
                  </a:lnTo>
                  <a:lnTo>
                    <a:pt x="2238" y="72"/>
                  </a:lnTo>
                  <a:lnTo>
                    <a:pt x="2244" y="70"/>
                  </a:lnTo>
                  <a:lnTo>
                    <a:pt x="2249" y="68"/>
                  </a:lnTo>
                  <a:lnTo>
                    <a:pt x="2255" y="68"/>
                  </a:lnTo>
                  <a:lnTo>
                    <a:pt x="2260" y="66"/>
                  </a:lnTo>
                  <a:lnTo>
                    <a:pt x="2266" y="66"/>
                  </a:lnTo>
                  <a:lnTo>
                    <a:pt x="2269" y="65"/>
                  </a:lnTo>
                  <a:lnTo>
                    <a:pt x="2275" y="63"/>
                  </a:lnTo>
                  <a:lnTo>
                    <a:pt x="2280" y="63"/>
                  </a:lnTo>
                  <a:lnTo>
                    <a:pt x="2286" y="61"/>
                  </a:lnTo>
                  <a:lnTo>
                    <a:pt x="2291" y="61"/>
                  </a:lnTo>
                  <a:lnTo>
                    <a:pt x="2297" y="59"/>
                  </a:lnTo>
                  <a:lnTo>
                    <a:pt x="2302" y="57"/>
                  </a:lnTo>
                  <a:lnTo>
                    <a:pt x="2306" y="57"/>
                  </a:lnTo>
                  <a:lnTo>
                    <a:pt x="2311" y="55"/>
                  </a:lnTo>
                  <a:lnTo>
                    <a:pt x="2317" y="55"/>
                  </a:lnTo>
                  <a:lnTo>
                    <a:pt x="2322" y="54"/>
                  </a:lnTo>
                  <a:lnTo>
                    <a:pt x="2328" y="54"/>
                  </a:lnTo>
                  <a:lnTo>
                    <a:pt x="2333" y="52"/>
                  </a:lnTo>
                  <a:lnTo>
                    <a:pt x="2339" y="50"/>
                  </a:lnTo>
                  <a:lnTo>
                    <a:pt x="2344" y="50"/>
                  </a:lnTo>
                  <a:lnTo>
                    <a:pt x="2348" y="48"/>
                  </a:lnTo>
                  <a:lnTo>
                    <a:pt x="2354" y="48"/>
                  </a:lnTo>
                  <a:lnTo>
                    <a:pt x="2359" y="46"/>
                  </a:lnTo>
                  <a:lnTo>
                    <a:pt x="2365" y="46"/>
                  </a:lnTo>
                  <a:lnTo>
                    <a:pt x="2370" y="44"/>
                  </a:lnTo>
                  <a:lnTo>
                    <a:pt x="2375" y="44"/>
                  </a:lnTo>
                  <a:lnTo>
                    <a:pt x="2377" y="43"/>
                  </a:lnTo>
                  <a:lnTo>
                    <a:pt x="2394" y="43"/>
                  </a:lnTo>
                  <a:close/>
                  <a:moveTo>
                    <a:pt x="2892" y="0"/>
                  </a:moveTo>
                  <a:lnTo>
                    <a:pt x="2899" y="0"/>
                  </a:lnTo>
                  <a:lnTo>
                    <a:pt x="2918" y="0"/>
                  </a:lnTo>
                  <a:lnTo>
                    <a:pt x="2923" y="0"/>
                  </a:lnTo>
                  <a:lnTo>
                    <a:pt x="2936" y="0"/>
                  </a:lnTo>
                  <a:lnTo>
                    <a:pt x="2954" y="0"/>
                  </a:lnTo>
                  <a:lnTo>
                    <a:pt x="2973" y="2"/>
                  </a:lnTo>
                  <a:lnTo>
                    <a:pt x="2991" y="2"/>
                  </a:lnTo>
                  <a:lnTo>
                    <a:pt x="3009" y="2"/>
                  </a:lnTo>
                  <a:lnTo>
                    <a:pt x="3028" y="4"/>
                  </a:lnTo>
                  <a:lnTo>
                    <a:pt x="3046" y="4"/>
                  </a:lnTo>
                  <a:lnTo>
                    <a:pt x="3064" y="6"/>
                  </a:lnTo>
                  <a:lnTo>
                    <a:pt x="3092" y="11"/>
                  </a:lnTo>
                  <a:lnTo>
                    <a:pt x="3115" y="26"/>
                  </a:lnTo>
                  <a:lnTo>
                    <a:pt x="3132" y="46"/>
                  </a:lnTo>
                  <a:lnTo>
                    <a:pt x="3141" y="70"/>
                  </a:lnTo>
                  <a:lnTo>
                    <a:pt x="3143" y="96"/>
                  </a:lnTo>
                  <a:lnTo>
                    <a:pt x="3137" y="121"/>
                  </a:lnTo>
                  <a:lnTo>
                    <a:pt x="3121" y="145"/>
                  </a:lnTo>
                  <a:lnTo>
                    <a:pt x="3103" y="162"/>
                  </a:lnTo>
                  <a:lnTo>
                    <a:pt x="3079" y="171"/>
                  </a:lnTo>
                  <a:lnTo>
                    <a:pt x="3055" y="173"/>
                  </a:lnTo>
                  <a:lnTo>
                    <a:pt x="3037" y="173"/>
                  </a:lnTo>
                  <a:lnTo>
                    <a:pt x="3020" y="171"/>
                  </a:lnTo>
                  <a:lnTo>
                    <a:pt x="3002" y="171"/>
                  </a:lnTo>
                  <a:lnTo>
                    <a:pt x="2985" y="169"/>
                  </a:lnTo>
                  <a:lnTo>
                    <a:pt x="2967" y="169"/>
                  </a:lnTo>
                  <a:lnTo>
                    <a:pt x="2951" y="169"/>
                  </a:lnTo>
                  <a:lnTo>
                    <a:pt x="2932" y="167"/>
                  </a:lnTo>
                  <a:lnTo>
                    <a:pt x="2923" y="167"/>
                  </a:lnTo>
                  <a:lnTo>
                    <a:pt x="2916" y="167"/>
                  </a:lnTo>
                  <a:lnTo>
                    <a:pt x="2897" y="167"/>
                  </a:lnTo>
                  <a:lnTo>
                    <a:pt x="2892" y="167"/>
                  </a:lnTo>
                  <a:lnTo>
                    <a:pt x="2865" y="164"/>
                  </a:lnTo>
                  <a:lnTo>
                    <a:pt x="2841" y="151"/>
                  </a:lnTo>
                  <a:lnTo>
                    <a:pt x="2822" y="131"/>
                  </a:lnTo>
                  <a:lnTo>
                    <a:pt x="2811" y="109"/>
                  </a:lnTo>
                  <a:lnTo>
                    <a:pt x="2808" y="81"/>
                  </a:lnTo>
                  <a:lnTo>
                    <a:pt x="2813" y="55"/>
                  </a:lnTo>
                  <a:lnTo>
                    <a:pt x="2828" y="32"/>
                  </a:lnTo>
                  <a:lnTo>
                    <a:pt x="2846" y="13"/>
                  </a:lnTo>
                  <a:lnTo>
                    <a:pt x="2868" y="4"/>
                  </a:lnTo>
                  <a:lnTo>
                    <a:pt x="2892" y="0"/>
                  </a:lnTo>
                  <a:close/>
                </a:path>
              </a:pathLst>
            </a:custGeom>
            <a:solidFill>
              <a:srgbClr val="FFFFFF">
                <a:alpha val="1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200">
              <a:extLst>
                <a:ext uri="{FF2B5EF4-FFF2-40B4-BE49-F238E27FC236}">
                  <a16:creationId xmlns:a16="http://schemas.microsoft.com/office/drawing/2014/main" id="{2FB0042B-CF28-4A4C-B32A-81ADD62E1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75" y="1812925"/>
              <a:ext cx="3521075" cy="3525838"/>
            </a:xfrm>
            <a:custGeom>
              <a:avLst/>
              <a:gdLst>
                <a:gd name="T0" fmla="*/ 2381 w 4438"/>
                <a:gd name="T1" fmla="*/ 5 h 4442"/>
                <a:gd name="T2" fmla="*/ 2665 w 4438"/>
                <a:gd name="T3" fmla="*/ 44 h 4442"/>
                <a:gd name="T4" fmla="*/ 2931 w 4438"/>
                <a:gd name="T5" fmla="*/ 115 h 4442"/>
                <a:gd name="T6" fmla="*/ 3031 w 4438"/>
                <a:gd name="T7" fmla="*/ 154 h 4442"/>
                <a:gd name="T8" fmla="*/ 3185 w 4438"/>
                <a:gd name="T9" fmla="*/ 220 h 4442"/>
                <a:gd name="T10" fmla="*/ 3440 w 4438"/>
                <a:gd name="T11" fmla="*/ 365 h 4442"/>
                <a:gd name="T12" fmla="*/ 3711 w 4438"/>
                <a:gd name="T13" fmla="*/ 576 h 4442"/>
                <a:gd name="T14" fmla="*/ 3914 w 4438"/>
                <a:gd name="T15" fmla="*/ 787 h 4442"/>
                <a:gd name="T16" fmla="*/ 4088 w 4438"/>
                <a:gd name="T17" fmla="*/ 1023 h 4442"/>
                <a:gd name="T18" fmla="*/ 4218 w 4438"/>
                <a:gd name="T19" fmla="*/ 1258 h 4442"/>
                <a:gd name="T20" fmla="*/ 4302 w 4438"/>
                <a:gd name="T21" fmla="*/ 1456 h 4442"/>
                <a:gd name="T22" fmla="*/ 4392 w 4438"/>
                <a:gd name="T23" fmla="*/ 1773 h 4442"/>
                <a:gd name="T24" fmla="*/ 4434 w 4438"/>
                <a:gd name="T25" fmla="*/ 2107 h 4442"/>
                <a:gd name="T26" fmla="*/ 4425 w 4438"/>
                <a:gd name="T27" fmla="*/ 2448 h 4442"/>
                <a:gd name="T28" fmla="*/ 4367 w 4438"/>
                <a:gd name="T29" fmla="*/ 2776 h 4442"/>
                <a:gd name="T30" fmla="*/ 4262 w 4438"/>
                <a:gd name="T31" fmla="*/ 3084 h 4442"/>
                <a:gd name="T32" fmla="*/ 4143 w 4438"/>
                <a:gd name="T33" fmla="*/ 3327 h 4442"/>
                <a:gd name="T34" fmla="*/ 3964 w 4438"/>
                <a:gd name="T35" fmla="*/ 3592 h 4442"/>
                <a:gd name="T36" fmla="*/ 3788 w 4438"/>
                <a:gd name="T37" fmla="*/ 3791 h 4442"/>
                <a:gd name="T38" fmla="*/ 3524 w 4438"/>
                <a:gd name="T39" fmla="*/ 4016 h 4442"/>
                <a:gd name="T40" fmla="*/ 3229 w 4438"/>
                <a:gd name="T41" fmla="*/ 4200 h 4442"/>
                <a:gd name="T42" fmla="*/ 2931 w 4438"/>
                <a:gd name="T43" fmla="*/ 4326 h 4442"/>
                <a:gd name="T44" fmla="*/ 2592 w 4438"/>
                <a:gd name="T45" fmla="*/ 4410 h 4442"/>
                <a:gd name="T46" fmla="*/ 2218 w 4438"/>
                <a:gd name="T47" fmla="*/ 4442 h 4442"/>
                <a:gd name="T48" fmla="*/ 1782 w 4438"/>
                <a:gd name="T49" fmla="*/ 4399 h 4442"/>
                <a:gd name="T50" fmla="*/ 1405 w 4438"/>
                <a:gd name="T51" fmla="*/ 4288 h 4442"/>
                <a:gd name="T52" fmla="*/ 1114 w 4438"/>
                <a:gd name="T53" fmla="*/ 4148 h 4442"/>
                <a:gd name="T54" fmla="*/ 817 w 4438"/>
                <a:gd name="T55" fmla="*/ 3943 h 4442"/>
                <a:gd name="T56" fmla="*/ 577 w 4438"/>
                <a:gd name="T57" fmla="*/ 3714 h 4442"/>
                <a:gd name="T58" fmla="*/ 410 w 4438"/>
                <a:gd name="T59" fmla="*/ 3506 h 4442"/>
                <a:gd name="T60" fmla="*/ 244 w 4438"/>
                <a:gd name="T61" fmla="*/ 3231 h 4442"/>
                <a:gd name="T62" fmla="*/ 136 w 4438"/>
                <a:gd name="T63" fmla="*/ 2984 h 4442"/>
                <a:gd name="T64" fmla="*/ 46 w 4438"/>
                <a:gd name="T65" fmla="*/ 2668 h 4442"/>
                <a:gd name="T66" fmla="*/ 4 w 4438"/>
                <a:gd name="T67" fmla="*/ 2334 h 4442"/>
                <a:gd name="T68" fmla="*/ 11 w 4438"/>
                <a:gd name="T69" fmla="*/ 1993 h 4442"/>
                <a:gd name="T70" fmla="*/ 70 w 4438"/>
                <a:gd name="T71" fmla="*/ 1665 h 4442"/>
                <a:gd name="T72" fmla="*/ 154 w 4438"/>
                <a:gd name="T73" fmla="*/ 1406 h 4442"/>
                <a:gd name="T74" fmla="*/ 244 w 4438"/>
                <a:gd name="T75" fmla="*/ 1208 h 4442"/>
                <a:gd name="T76" fmla="*/ 410 w 4438"/>
                <a:gd name="T77" fmla="*/ 935 h 4442"/>
                <a:gd name="T78" fmla="*/ 577 w 4438"/>
                <a:gd name="T79" fmla="*/ 726 h 4442"/>
                <a:gd name="T80" fmla="*/ 766 w 4438"/>
                <a:gd name="T81" fmla="*/ 543 h 4442"/>
                <a:gd name="T82" fmla="*/ 1114 w 4438"/>
                <a:gd name="T83" fmla="*/ 293 h 4442"/>
                <a:gd name="T84" fmla="*/ 1374 w 4438"/>
                <a:gd name="T85" fmla="*/ 167 h 4442"/>
                <a:gd name="T86" fmla="*/ 1630 w 4438"/>
                <a:gd name="T87" fmla="*/ 79 h 4442"/>
                <a:gd name="T88" fmla="*/ 2017 w 4438"/>
                <a:gd name="T89" fmla="*/ 9 h 4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38" h="4442">
                  <a:moveTo>
                    <a:pt x="2218" y="0"/>
                  </a:moveTo>
                  <a:lnTo>
                    <a:pt x="2258" y="0"/>
                  </a:lnTo>
                  <a:lnTo>
                    <a:pt x="2381" y="5"/>
                  </a:lnTo>
                  <a:lnTo>
                    <a:pt x="2500" y="16"/>
                  </a:lnTo>
                  <a:lnTo>
                    <a:pt x="2617" y="35"/>
                  </a:lnTo>
                  <a:lnTo>
                    <a:pt x="2665" y="44"/>
                  </a:lnTo>
                  <a:lnTo>
                    <a:pt x="2729" y="58"/>
                  </a:lnTo>
                  <a:lnTo>
                    <a:pt x="2830" y="84"/>
                  </a:lnTo>
                  <a:lnTo>
                    <a:pt x="2931" y="115"/>
                  </a:lnTo>
                  <a:lnTo>
                    <a:pt x="2947" y="123"/>
                  </a:lnTo>
                  <a:lnTo>
                    <a:pt x="3031" y="152"/>
                  </a:lnTo>
                  <a:lnTo>
                    <a:pt x="3031" y="154"/>
                  </a:lnTo>
                  <a:lnTo>
                    <a:pt x="3110" y="185"/>
                  </a:lnTo>
                  <a:lnTo>
                    <a:pt x="3132" y="196"/>
                  </a:lnTo>
                  <a:lnTo>
                    <a:pt x="3185" y="220"/>
                  </a:lnTo>
                  <a:lnTo>
                    <a:pt x="3229" y="242"/>
                  </a:lnTo>
                  <a:lnTo>
                    <a:pt x="3323" y="293"/>
                  </a:lnTo>
                  <a:lnTo>
                    <a:pt x="3440" y="365"/>
                  </a:lnTo>
                  <a:lnTo>
                    <a:pt x="3552" y="444"/>
                  </a:lnTo>
                  <a:lnTo>
                    <a:pt x="3632" y="508"/>
                  </a:lnTo>
                  <a:lnTo>
                    <a:pt x="3711" y="576"/>
                  </a:lnTo>
                  <a:lnTo>
                    <a:pt x="3788" y="649"/>
                  </a:lnTo>
                  <a:lnTo>
                    <a:pt x="3861" y="726"/>
                  </a:lnTo>
                  <a:lnTo>
                    <a:pt x="3914" y="787"/>
                  </a:lnTo>
                  <a:lnTo>
                    <a:pt x="3964" y="849"/>
                  </a:lnTo>
                  <a:lnTo>
                    <a:pt x="4028" y="935"/>
                  </a:lnTo>
                  <a:lnTo>
                    <a:pt x="4088" y="1023"/>
                  </a:lnTo>
                  <a:lnTo>
                    <a:pt x="4143" y="1115"/>
                  </a:lnTo>
                  <a:lnTo>
                    <a:pt x="4194" y="1208"/>
                  </a:lnTo>
                  <a:lnTo>
                    <a:pt x="4218" y="1258"/>
                  </a:lnTo>
                  <a:lnTo>
                    <a:pt x="4253" y="1331"/>
                  </a:lnTo>
                  <a:lnTo>
                    <a:pt x="4284" y="1406"/>
                  </a:lnTo>
                  <a:lnTo>
                    <a:pt x="4302" y="1456"/>
                  </a:lnTo>
                  <a:lnTo>
                    <a:pt x="4337" y="1560"/>
                  </a:lnTo>
                  <a:lnTo>
                    <a:pt x="4367" y="1665"/>
                  </a:lnTo>
                  <a:lnTo>
                    <a:pt x="4392" y="1773"/>
                  </a:lnTo>
                  <a:lnTo>
                    <a:pt x="4412" y="1881"/>
                  </a:lnTo>
                  <a:lnTo>
                    <a:pt x="4425" y="1993"/>
                  </a:lnTo>
                  <a:lnTo>
                    <a:pt x="4434" y="2107"/>
                  </a:lnTo>
                  <a:lnTo>
                    <a:pt x="4438" y="2221"/>
                  </a:lnTo>
                  <a:lnTo>
                    <a:pt x="4434" y="2334"/>
                  </a:lnTo>
                  <a:lnTo>
                    <a:pt x="4425" y="2448"/>
                  </a:lnTo>
                  <a:lnTo>
                    <a:pt x="4412" y="2558"/>
                  </a:lnTo>
                  <a:lnTo>
                    <a:pt x="4392" y="2668"/>
                  </a:lnTo>
                  <a:lnTo>
                    <a:pt x="4367" y="2776"/>
                  </a:lnTo>
                  <a:lnTo>
                    <a:pt x="4337" y="2881"/>
                  </a:lnTo>
                  <a:lnTo>
                    <a:pt x="4302" y="2984"/>
                  </a:lnTo>
                  <a:lnTo>
                    <a:pt x="4262" y="3084"/>
                  </a:lnTo>
                  <a:lnTo>
                    <a:pt x="4218" y="3184"/>
                  </a:lnTo>
                  <a:lnTo>
                    <a:pt x="4194" y="3231"/>
                  </a:lnTo>
                  <a:lnTo>
                    <a:pt x="4143" y="3327"/>
                  </a:lnTo>
                  <a:lnTo>
                    <a:pt x="4108" y="3383"/>
                  </a:lnTo>
                  <a:lnTo>
                    <a:pt x="4039" y="3490"/>
                  </a:lnTo>
                  <a:lnTo>
                    <a:pt x="3964" y="3592"/>
                  </a:lnTo>
                  <a:lnTo>
                    <a:pt x="3914" y="3655"/>
                  </a:lnTo>
                  <a:lnTo>
                    <a:pt x="3861" y="3714"/>
                  </a:lnTo>
                  <a:lnTo>
                    <a:pt x="3788" y="3791"/>
                  </a:lnTo>
                  <a:lnTo>
                    <a:pt x="3711" y="3864"/>
                  </a:lnTo>
                  <a:lnTo>
                    <a:pt x="3619" y="3943"/>
                  </a:lnTo>
                  <a:lnTo>
                    <a:pt x="3524" y="4016"/>
                  </a:lnTo>
                  <a:lnTo>
                    <a:pt x="3425" y="4084"/>
                  </a:lnTo>
                  <a:lnTo>
                    <a:pt x="3323" y="4148"/>
                  </a:lnTo>
                  <a:lnTo>
                    <a:pt x="3229" y="4200"/>
                  </a:lnTo>
                  <a:lnTo>
                    <a:pt x="3132" y="4245"/>
                  </a:lnTo>
                  <a:lnTo>
                    <a:pt x="3031" y="4288"/>
                  </a:lnTo>
                  <a:lnTo>
                    <a:pt x="2931" y="4326"/>
                  </a:lnTo>
                  <a:lnTo>
                    <a:pt x="2823" y="4359"/>
                  </a:lnTo>
                  <a:lnTo>
                    <a:pt x="2713" y="4387"/>
                  </a:lnTo>
                  <a:lnTo>
                    <a:pt x="2592" y="4410"/>
                  </a:lnTo>
                  <a:lnTo>
                    <a:pt x="2469" y="4427"/>
                  </a:lnTo>
                  <a:lnTo>
                    <a:pt x="2345" y="4438"/>
                  </a:lnTo>
                  <a:lnTo>
                    <a:pt x="2218" y="4442"/>
                  </a:lnTo>
                  <a:lnTo>
                    <a:pt x="2070" y="4436"/>
                  </a:lnTo>
                  <a:lnTo>
                    <a:pt x="1925" y="4423"/>
                  </a:lnTo>
                  <a:lnTo>
                    <a:pt x="1782" y="4399"/>
                  </a:lnTo>
                  <a:lnTo>
                    <a:pt x="1643" y="4366"/>
                  </a:lnTo>
                  <a:lnTo>
                    <a:pt x="1508" y="4324"/>
                  </a:lnTo>
                  <a:lnTo>
                    <a:pt x="1405" y="4288"/>
                  </a:lnTo>
                  <a:lnTo>
                    <a:pt x="1306" y="4245"/>
                  </a:lnTo>
                  <a:lnTo>
                    <a:pt x="1209" y="4200"/>
                  </a:lnTo>
                  <a:lnTo>
                    <a:pt x="1114" y="4148"/>
                  </a:lnTo>
                  <a:lnTo>
                    <a:pt x="1011" y="4084"/>
                  </a:lnTo>
                  <a:lnTo>
                    <a:pt x="912" y="4016"/>
                  </a:lnTo>
                  <a:lnTo>
                    <a:pt x="817" y="3943"/>
                  </a:lnTo>
                  <a:lnTo>
                    <a:pt x="727" y="3864"/>
                  </a:lnTo>
                  <a:lnTo>
                    <a:pt x="650" y="3791"/>
                  </a:lnTo>
                  <a:lnTo>
                    <a:pt x="577" y="3714"/>
                  </a:lnTo>
                  <a:lnTo>
                    <a:pt x="524" y="3653"/>
                  </a:lnTo>
                  <a:lnTo>
                    <a:pt x="473" y="3592"/>
                  </a:lnTo>
                  <a:lnTo>
                    <a:pt x="410" y="3506"/>
                  </a:lnTo>
                  <a:lnTo>
                    <a:pt x="350" y="3418"/>
                  </a:lnTo>
                  <a:lnTo>
                    <a:pt x="295" y="3327"/>
                  </a:lnTo>
                  <a:lnTo>
                    <a:pt x="244" y="3231"/>
                  </a:lnTo>
                  <a:lnTo>
                    <a:pt x="220" y="3184"/>
                  </a:lnTo>
                  <a:lnTo>
                    <a:pt x="174" y="3084"/>
                  </a:lnTo>
                  <a:lnTo>
                    <a:pt x="136" y="2984"/>
                  </a:lnTo>
                  <a:lnTo>
                    <a:pt x="101" y="2881"/>
                  </a:lnTo>
                  <a:lnTo>
                    <a:pt x="70" y="2776"/>
                  </a:lnTo>
                  <a:lnTo>
                    <a:pt x="46" y="2668"/>
                  </a:lnTo>
                  <a:lnTo>
                    <a:pt x="26" y="2558"/>
                  </a:lnTo>
                  <a:lnTo>
                    <a:pt x="11" y="2448"/>
                  </a:lnTo>
                  <a:lnTo>
                    <a:pt x="4" y="2334"/>
                  </a:lnTo>
                  <a:lnTo>
                    <a:pt x="0" y="2221"/>
                  </a:lnTo>
                  <a:lnTo>
                    <a:pt x="4" y="2105"/>
                  </a:lnTo>
                  <a:lnTo>
                    <a:pt x="11" y="1993"/>
                  </a:lnTo>
                  <a:lnTo>
                    <a:pt x="26" y="1881"/>
                  </a:lnTo>
                  <a:lnTo>
                    <a:pt x="46" y="1773"/>
                  </a:lnTo>
                  <a:lnTo>
                    <a:pt x="70" y="1665"/>
                  </a:lnTo>
                  <a:lnTo>
                    <a:pt x="99" y="1560"/>
                  </a:lnTo>
                  <a:lnTo>
                    <a:pt x="136" y="1456"/>
                  </a:lnTo>
                  <a:lnTo>
                    <a:pt x="154" y="1406"/>
                  </a:lnTo>
                  <a:lnTo>
                    <a:pt x="185" y="1331"/>
                  </a:lnTo>
                  <a:lnTo>
                    <a:pt x="218" y="1258"/>
                  </a:lnTo>
                  <a:lnTo>
                    <a:pt x="244" y="1208"/>
                  </a:lnTo>
                  <a:lnTo>
                    <a:pt x="293" y="1115"/>
                  </a:lnTo>
                  <a:lnTo>
                    <a:pt x="350" y="1023"/>
                  </a:lnTo>
                  <a:lnTo>
                    <a:pt x="410" y="935"/>
                  </a:lnTo>
                  <a:lnTo>
                    <a:pt x="473" y="849"/>
                  </a:lnTo>
                  <a:lnTo>
                    <a:pt x="524" y="787"/>
                  </a:lnTo>
                  <a:lnTo>
                    <a:pt x="577" y="726"/>
                  </a:lnTo>
                  <a:lnTo>
                    <a:pt x="650" y="649"/>
                  </a:lnTo>
                  <a:lnTo>
                    <a:pt x="727" y="576"/>
                  </a:lnTo>
                  <a:lnTo>
                    <a:pt x="766" y="543"/>
                  </a:lnTo>
                  <a:lnTo>
                    <a:pt x="876" y="453"/>
                  </a:lnTo>
                  <a:lnTo>
                    <a:pt x="993" y="368"/>
                  </a:lnTo>
                  <a:lnTo>
                    <a:pt x="1114" y="293"/>
                  </a:lnTo>
                  <a:lnTo>
                    <a:pt x="1209" y="242"/>
                  </a:lnTo>
                  <a:lnTo>
                    <a:pt x="1306" y="196"/>
                  </a:lnTo>
                  <a:lnTo>
                    <a:pt x="1374" y="167"/>
                  </a:lnTo>
                  <a:lnTo>
                    <a:pt x="1405" y="154"/>
                  </a:lnTo>
                  <a:lnTo>
                    <a:pt x="1508" y="115"/>
                  </a:lnTo>
                  <a:lnTo>
                    <a:pt x="1630" y="79"/>
                  </a:lnTo>
                  <a:lnTo>
                    <a:pt x="1757" y="47"/>
                  </a:lnTo>
                  <a:lnTo>
                    <a:pt x="1885" y="24"/>
                  </a:lnTo>
                  <a:lnTo>
                    <a:pt x="2017" y="9"/>
                  </a:lnTo>
                  <a:lnTo>
                    <a:pt x="2150" y="0"/>
                  </a:lnTo>
                  <a:lnTo>
                    <a:pt x="2218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201">
              <a:extLst>
                <a:ext uri="{FF2B5EF4-FFF2-40B4-BE49-F238E27FC236}">
                  <a16:creationId xmlns:a16="http://schemas.microsoft.com/office/drawing/2014/main" id="{7052C3AD-DE13-41C9-ABEF-B96D8894A9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5075" y="1812925"/>
              <a:ext cx="3521075" cy="3378200"/>
            </a:xfrm>
            <a:custGeom>
              <a:avLst/>
              <a:gdLst>
                <a:gd name="T0" fmla="*/ 727 w 4438"/>
                <a:gd name="T1" fmla="*/ 2560 h 4255"/>
                <a:gd name="T2" fmla="*/ 519 w 4438"/>
                <a:gd name="T3" fmla="*/ 2503 h 4255"/>
                <a:gd name="T4" fmla="*/ 246 w 4438"/>
                <a:gd name="T5" fmla="*/ 2661 h 4255"/>
                <a:gd name="T6" fmla="*/ 645 w 4438"/>
                <a:gd name="T7" fmla="*/ 2782 h 4255"/>
                <a:gd name="T8" fmla="*/ 1321 w 4438"/>
                <a:gd name="T9" fmla="*/ 3015 h 4255"/>
                <a:gd name="T10" fmla="*/ 1857 w 4438"/>
                <a:gd name="T11" fmla="*/ 3416 h 4255"/>
                <a:gd name="T12" fmla="*/ 1388 w 4438"/>
                <a:gd name="T13" fmla="*/ 4124 h 4255"/>
                <a:gd name="T14" fmla="*/ 475 w 4438"/>
                <a:gd name="T15" fmla="*/ 3556 h 4255"/>
                <a:gd name="T16" fmla="*/ 484 w 4438"/>
                <a:gd name="T17" fmla="*/ 3051 h 4255"/>
                <a:gd name="T18" fmla="*/ 150 w 4438"/>
                <a:gd name="T19" fmla="*/ 2740 h 4255"/>
                <a:gd name="T20" fmla="*/ 396 w 4438"/>
                <a:gd name="T21" fmla="*/ 2450 h 4255"/>
                <a:gd name="T22" fmla="*/ 478 w 4438"/>
                <a:gd name="T23" fmla="*/ 2375 h 4255"/>
                <a:gd name="T24" fmla="*/ 2390 w 4438"/>
                <a:gd name="T25" fmla="*/ 2166 h 4255"/>
                <a:gd name="T26" fmla="*/ 2469 w 4438"/>
                <a:gd name="T27" fmla="*/ 2030 h 4255"/>
                <a:gd name="T28" fmla="*/ 856 w 4438"/>
                <a:gd name="T29" fmla="*/ 1641 h 4255"/>
                <a:gd name="T30" fmla="*/ 1110 w 4438"/>
                <a:gd name="T31" fmla="*/ 1329 h 4255"/>
                <a:gd name="T32" fmla="*/ 1079 w 4438"/>
                <a:gd name="T33" fmla="*/ 1423 h 4255"/>
                <a:gd name="T34" fmla="*/ 3002 w 4438"/>
                <a:gd name="T35" fmla="*/ 1240 h 4255"/>
                <a:gd name="T36" fmla="*/ 2652 w 4438"/>
                <a:gd name="T37" fmla="*/ 1183 h 4255"/>
                <a:gd name="T38" fmla="*/ 2984 w 4438"/>
                <a:gd name="T39" fmla="*/ 1041 h 4255"/>
                <a:gd name="T40" fmla="*/ 2834 w 4438"/>
                <a:gd name="T41" fmla="*/ 1346 h 4255"/>
                <a:gd name="T42" fmla="*/ 2834 w 4438"/>
                <a:gd name="T43" fmla="*/ 990 h 4255"/>
                <a:gd name="T44" fmla="*/ 879 w 4438"/>
                <a:gd name="T45" fmla="*/ 902 h 4255"/>
                <a:gd name="T46" fmla="*/ 1163 w 4438"/>
                <a:gd name="T47" fmla="*/ 1289 h 4255"/>
                <a:gd name="T48" fmla="*/ 766 w 4438"/>
                <a:gd name="T49" fmla="*/ 1386 h 4255"/>
                <a:gd name="T50" fmla="*/ 594 w 4438"/>
                <a:gd name="T51" fmla="*/ 1768 h 4255"/>
                <a:gd name="T52" fmla="*/ 348 w 4438"/>
                <a:gd name="T53" fmla="*/ 2268 h 4255"/>
                <a:gd name="T54" fmla="*/ 280 w 4438"/>
                <a:gd name="T55" fmla="*/ 1139 h 4255"/>
                <a:gd name="T56" fmla="*/ 456 w 4438"/>
                <a:gd name="T57" fmla="*/ 1041 h 4255"/>
                <a:gd name="T58" fmla="*/ 4434 w 4438"/>
                <a:gd name="T59" fmla="*/ 2107 h 4255"/>
                <a:gd name="T60" fmla="*/ 4074 w 4438"/>
                <a:gd name="T61" fmla="*/ 2298 h 4255"/>
                <a:gd name="T62" fmla="*/ 3788 w 4438"/>
                <a:gd name="T63" fmla="*/ 3791 h 4255"/>
                <a:gd name="T64" fmla="*/ 3385 w 4438"/>
                <a:gd name="T65" fmla="*/ 3495 h 4255"/>
                <a:gd name="T66" fmla="*/ 3185 w 4438"/>
                <a:gd name="T67" fmla="*/ 3022 h 4255"/>
                <a:gd name="T68" fmla="*/ 2394 w 4438"/>
                <a:gd name="T69" fmla="*/ 2687 h 4255"/>
                <a:gd name="T70" fmla="*/ 2524 w 4438"/>
                <a:gd name="T71" fmla="*/ 2217 h 4255"/>
                <a:gd name="T72" fmla="*/ 3105 w 4438"/>
                <a:gd name="T73" fmla="*/ 1883 h 4255"/>
                <a:gd name="T74" fmla="*/ 3583 w 4438"/>
                <a:gd name="T75" fmla="*/ 2114 h 4255"/>
                <a:gd name="T76" fmla="*/ 4059 w 4438"/>
                <a:gd name="T77" fmla="*/ 1933 h 4255"/>
                <a:gd name="T78" fmla="*/ 4304 w 4438"/>
                <a:gd name="T79" fmla="*/ 1700 h 4255"/>
                <a:gd name="T80" fmla="*/ 4026 w 4438"/>
                <a:gd name="T81" fmla="*/ 1553 h 4255"/>
                <a:gd name="T82" fmla="*/ 3733 w 4438"/>
                <a:gd name="T83" fmla="*/ 1850 h 4255"/>
                <a:gd name="T84" fmla="*/ 3405 w 4438"/>
                <a:gd name="T85" fmla="*/ 1616 h 4255"/>
                <a:gd name="T86" fmla="*/ 3454 w 4438"/>
                <a:gd name="T87" fmla="*/ 1881 h 4255"/>
                <a:gd name="T88" fmla="*/ 3041 w 4438"/>
                <a:gd name="T89" fmla="*/ 1661 h 4255"/>
                <a:gd name="T90" fmla="*/ 2786 w 4438"/>
                <a:gd name="T91" fmla="*/ 1905 h 4255"/>
                <a:gd name="T92" fmla="*/ 2727 w 4438"/>
                <a:gd name="T93" fmla="*/ 1634 h 4255"/>
                <a:gd name="T94" fmla="*/ 3020 w 4438"/>
                <a:gd name="T95" fmla="*/ 1324 h 4255"/>
                <a:gd name="T96" fmla="*/ 3464 w 4438"/>
                <a:gd name="T97" fmla="*/ 1124 h 4255"/>
                <a:gd name="T98" fmla="*/ 3760 w 4438"/>
                <a:gd name="T99" fmla="*/ 996 h 4255"/>
                <a:gd name="T100" fmla="*/ 3650 w 4438"/>
                <a:gd name="T101" fmla="*/ 851 h 4255"/>
                <a:gd name="T102" fmla="*/ 2506 w 4438"/>
                <a:gd name="T103" fmla="*/ 623 h 4255"/>
                <a:gd name="T104" fmla="*/ 899 w 4438"/>
                <a:gd name="T105" fmla="*/ 508 h 4255"/>
                <a:gd name="T106" fmla="*/ 868 w 4438"/>
                <a:gd name="T107" fmla="*/ 799 h 4255"/>
                <a:gd name="T108" fmla="*/ 3661 w 4438"/>
                <a:gd name="T109" fmla="*/ 642 h 4255"/>
                <a:gd name="T110" fmla="*/ 3410 w 4438"/>
                <a:gd name="T111" fmla="*/ 1097 h 4255"/>
                <a:gd name="T112" fmla="*/ 3139 w 4438"/>
                <a:gd name="T113" fmla="*/ 871 h 4255"/>
                <a:gd name="T114" fmla="*/ 2716 w 4438"/>
                <a:gd name="T115" fmla="*/ 345 h 4255"/>
                <a:gd name="T116" fmla="*/ 2154 w 4438"/>
                <a:gd name="T117" fmla="*/ 143 h 4255"/>
                <a:gd name="T118" fmla="*/ 2207 w 4438"/>
                <a:gd name="T119" fmla="*/ 370 h 4255"/>
                <a:gd name="T120" fmla="*/ 1647 w 4438"/>
                <a:gd name="T121" fmla="*/ 733 h 4255"/>
                <a:gd name="T122" fmla="*/ 1299 w 4438"/>
                <a:gd name="T123" fmla="*/ 526 h 4255"/>
                <a:gd name="T124" fmla="*/ 1293 w 4438"/>
                <a:gd name="T125" fmla="*/ 348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38" h="4255">
                  <a:moveTo>
                    <a:pt x="793" y="2569"/>
                  </a:moveTo>
                  <a:lnTo>
                    <a:pt x="815" y="2569"/>
                  </a:lnTo>
                  <a:lnTo>
                    <a:pt x="837" y="2573"/>
                  </a:lnTo>
                  <a:lnTo>
                    <a:pt x="856" y="2580"/>
                  </a:lnTo>
                  <a:lnTo>
                    <a:pt x="868" y="2589"/>
                  </a:lnTo>
                  <a:lnTo>
                    <a:pt x="870" y="2593"/>
                  </a:lnTo>
                  <a:lnTo>
                    <a:pt x="872" y="2597"/>
                  </a:lnTo>
                  <a:lnTo>
                    <a:pt x="872" y="2600"/>
                  </a:lnTo>
                  <a:lnTo>
                    <a:pt x="868" y="2602"/>
                  </a:lnTo>
                  <a:lnTo>
                    <a:pt x="863" y="2604"/>
                  </a:lnTo>
                  <a:lnTo>
                    <a:pt x="857" y="2606"/>
                  </a:lnTo>
                  <a:lnTo>
                    <a:pt x="850" y="2606"/>
                  </a:lnTo>
                  <a:lnTo>
                    <a:pt x="841" y="2606"/>
                  </a:lnTo>
                  <a:lnTo>
                    <a:pt x="821" y="2604"/>
                  </a:lnTo>
                  <a:lnTo>
                    <a:pt x="802" y="2600"/>
                  </a:lnTo>
                  <a:lnTo>
                    <a:pt x="788" y="2595"/>
                  </a:lnTo>
                  <a:lnTo>
                    <a:pt x="777" y="2587"/>
                  </a:lnTo>
                  <a:lnTo>
                    <a:pt x="771" y="2582"/>
                  </a:lnTo>
                  <a:lnTo>
                    <a:pt x="771" y="2576"/>
                  </a:lnTo>
                  <a:lnTo>
                    <a:pt x="779" y="2573"/>
                  </a:lnTo>
                  <a:lnTo>
                    <a:pt x="793" y="2569"/>
                  </a:lnTo>
                  <a:close/>
                  <a:moveTo>
                    <a:pt x="696" y="2523"/>
                  </a:moveTo>
                  <a:lnTo>
                    <a:pt x="711" y="2525"/>
                  </a:lnTo>
                  <a:lnTo>
                    <a:pt x="722" y="2532"/>
                  </a:lnTo>
                  <a:lnTo>
                    <a:pt x="727" y="2545"/>
                  </a:lnTo>
                  <a:lnTo>
                    <a:pt x="727" y="2560"/>
                  </a:lnTo>
                  <a:lnTo>
                    <a:pt x="725" y="2573"/>
                  </a:lnTo>
                  <a:lnTo>
                    <a:pt x="716" y="2586"/>
                  </a:lnTo>
                  <a:lnTo>
                    <a:pt x="703" y="2595"/>
                  </a:lnTo>
                  <a:lnTo>
                    <a:pt x="687" y="2599"/>
                  </a:lnTo>
                  <a:lnTo>
                    <a:pt x="678" y="2597"/>
                  </a:lnTo>
                  <a:lnTo>
                    <a:pt x="665" y="2593"/>
                  </a:lnTo>
                  <a:lnTo>
                    <a:pt x="650" y="2586"/>
                  </a:lnTo>
                  <a:lnTo>
                    <a:pt x="639" y="2576"/>
                  </a:lnTo>
                  <a:lnTo>
                    <a:pt x="632" y="2565"/>
                  </a:lnTo>
                  <a:lnTo>
                    <a:pt x="628" y="2554"/>
                  </a:lnTo>
                  <a:lnTo>
                    <a:pt x="630" y="2543"/>
                  </a:lnTo>
                  <a:lnTo>
                    <a:pt x="639" y="2534"/>
                  </a:lnTo>
                  <a:lnTo>
                    <a:pt x="654" y="2527"/>
                  </a:lnTo>
                  <a:lnTo>
                    <a:pt x="678" y="2523"/>
                  </a:lnTo>
                  <a:lnTo>
                    <a:pt x="687" y="2523"/>
                  </a:lnTo>
                  <a:lnTo>
                    <a:pt x="696" y="2523"/>
                  </a:lnTo>
                  <a:close/>
                  <a:moveTo>
                    <a:pt x="475" y="2455"/>
                  </a:moveTo>
                  <a:lnTo>
                    <a:pt x="486" y="2455"/>
                  </a:lnTo>
                  <a:lnTo>
                    <a:pt x="497" y="2457"/>
                  </a:lnTo>
                  <a:lnTo>
                    <a:pt x="513" y="2463"/>
                  </a:lnTo>
                  <a:lnTo>
                    <a:pt x="528" y="2470"/>
                  </a:lnTo>
                  <a:lnTo>
                    <a:pt x="539" y="2479"/>
                  </a:lnTo>
                  <a:lnTo>
                    <a:pt x="544" y="2488"/>
                  </a:lnTo>
                  <a:lnTo>
                    <a:pt x="542" y="2496"/>
                  </a:lnTo>
                  <a:lnTo>
                    <a:pt x="535" y="2501"/>
                  </a:lnTo>
                  <a:lnTo>
                    <a:pt x="519" y="2503"/>
                  </a:lnTo>
                  <a:lnTo>
                    <a:pt x="508" y="2503"/>
                  </a:lnTo>
                  <a:lnTo>
                    <a:pt x="497" y="2501"/>
                  </a:lnTo>
                  <a:lnTo>
                    <a:pt x="478" y="2496"/>
                  </a:lnTo>
                  <a:lnTo>
                    <a:pt x="464" y="2488"/>
                  </a:lnTo>
                  <a:lnTo>
                    <a:pt x="454" y="2479"/>
                  </a:lnTo>
                  <a:lnTo>
                    <a:pt x="449" y="2470"/>
                  </a:lnTo>
                  <a:lnTo>
                    <a:pt x="449" y="2463"/>
                  </a:lnTo>
                  <a:lnTo>
                    <a:pt x="458" y="2457"/>
                  </a:lnTo>
                  <a:lnTo>
                    <a:pt x="475" y="2455"/>
                  </a:lnTo>
                  <a:close/>
                  <a:moveTo>
                    <a:pt x="176" y="2406"/>
                  </a:moveTo>
                  <a:lnTo>
                    <a:pt x="183" y="2410"/>
                  </a:lnTo>
                  <a:lnTo>
                    <a:pt x="185" y="2421"/>
                  </a:lnTo>
                  <a:lnTo>
                    <a:pt x="185" y="2435"/>
                  </a:lnTo>
                  <a:lnTo>
                    <a:pt x="182" y="2455"/>
                  </a:lnTo>
                  <a:lnTo>
                    <a:pt x="178" y="2479"/>
                  </a:lnTo>
                  <a:lnTo>
                    <a:pt x="174" y="2505"/>
                  </a:lnTo>
                  <a:lnTo>
                    <a:pt x="171" y="2531"/>
                  </a:lnTo>
                  <a:lnTo>
                    <a:pt x="167" y="2556"/>
                  </a:lnTo>
                  <a:lnTo>
                    <a:pt x="167" y="2582"/>
                  </a:lnTo>
                  <a:lnTo>
                    <a:pt x="167" y="2604"/>
                  </a:lnTo>
                  <a:lnTo>
                    <a:pt x="172" y="2624"/>
                  </a:lnTo>
                  <a:lnTo>
                    <a:pt x="180" y="2641"/>
                  </a:lnTo>
                  <a:lnTo>
                    <a:pt x="192" y="2650"/>
                  </a:lnTo>
                  <a:lnTo>
                    <a:pt x="209" y="2654"/>
                  </a:lnTo>
                  <a:lnTo>
                    <a:pt x="231" y="2655"/>
                  </a:lnTo>
                  <a:lnTo>
                    <a:pt x="246" y="2661"/>
                  </a:lnTo>
                  <a:lnTo>
                    <a:pt x="253" y="2670"/>
                  </a:lnTo>
                  <a:lnTo>
                    <a:pt x="257" y="2683"/>
                  </a:lnTo>
                  <a:lnTo>
                    <a:pt x="257" y="2698"/>
                  </a:lnTo>
                  <a:lnTo>
                    <a:pt x="257" y="2714"/>
                  </a:lnTo>
                  <a:lnTo>
                    <a:pt x="257" y="2731"/>
                  </a:lnTo>
                  <a:lnTo>
                    <a:pt x="260" y="2749"/>
                  </a:lnTo>
                  <a:lnTo>
                    <a:pt x="268" y="2765"/>
                  </a:lnTo>
                  <a:lnTo>
                    <a:pt x="288" y="2793"/>
                  </a:lnTo>
                  <a:lnTo>
                    <a:pt x="310" y="2817"/>
                  </a:lnTo>
                  <a:lnTo>
                    <a:pt x="335" y="2833"/>
                  </a:lnTo>
                  <a:lnTo>
                    <a:pt x="359" y="2842"/>
                  </a:lnTo>
                  <a:lnTo>
                    <a:pt x="379" y="2844"/>
                  </a:lnTo>
                  <a:lnTo>
                    <a:pt x="398" y="2841"/>
                  </a:lnTo>
                  <a:lnTo>
                    <a:pt x="418" y="2837"/>
                  </a:lnTo>
                  <a:lnTo>
                    <a:pt x="443" y="2837"/>
                  </a:lnTo>
                  <a:lnTo>
                    <a:pt x="469" y="2839"/>
                  </a:lnTo>
                  <a:lnTo>
                    <a:pt x="497" y="2841"/>
                  </a:lnTo>
                  <a:lnTo>
                    <a:pt x="519" y="2842"/>
                  </a:lnTo>
                  <a:lnTo>
                    <a:pt x="539" y="2839"/>
                  </a:lnTo>
                  <a:lnTo>
                    <a:pt x="559" y="2831"/>
                  </a:lnTo>
                  <a:lnTo>
                    <a:pt x="573" y="2820"/>
                  </a:lnTo>
                  <a:lnTo>
                    <a:pt x="590" y="2808"/>
                  </a:lnTo>
                  <a:lnTo>
                    <a:pt x="605" y="2797"/>
                  </a:lnTo>
                  <a:lnTo>
                    <a:pt x="619" y="2787"/>
                  </a:lnTo>
                  <a:lnTo>
                    <a:pt x="634" y="2782"/>
                  </a:lnTo>
                  <a:lnTo>
                    <a:pt x="645" y="2782"/>
                  </a:lnTo>
                  <a:lnTo>
                    <a:pt x="656" y="2789"/>
                  </a:lnTo>
                  <a:lnTo>
                    <a:pt x="665" y="2804"/>
                  </a:lnTo>
                  <a:lnTo>
                    <a:pt x="669" y="2811"/>
                  </a:lnTo>
                  <a:lnTo>
                    <a:pt x="674" y="2817"/>
                  </a:lnTo>
                  <a:lnTo>
                    <a:pt x="678" y="2822"/>
                  </a:lnTo>
                  <a:lnTo>
                    <a:pt x="696" y="2833"/>
                  </a:lnTo>
                  <a:lnTo>
                    <a:pt x="716" y="2839"/>
                  </a:lnTo>
                  <a:lnTo>
                    <a:pt x="740" y="2841"/>
                  </a:lnTo>
                  <a:lnTo>
                    <a:pt x="766" y="2841"/>
                  </a:lnTo>
                  <a:lnTo>
                    <a:pt x="797" y="2837"/>
                  </a:lnTo>
                  <a:lnTo>
                    <a:pt x="826" y="2837"/>
                  </a:lnTo>
                  <a:lnTo>
                    <a:pt x="868" y="2835"/>
                  </a:lnTo>
                  <a:lnTo>
                    <a:pt x="901" y="2833"/>
                  </a:lnTo>
                  <a:lnTo>
                    <a:pt x="938" y="2837"/>
                  </a:lnTo>
                  <a:lnTo>
                    <a:pt x="971" y="2842"/>
                  </a:lnTo>
                  <a:lnTo>
                    <a:pt x="1008" y="2855"/>
                  </a:lnTo>
                  <a:lnTo>
                    <a:pt x="1046" y="2874"/>
                  </a:lnTo>
                  <a:lnTo>
                    <a:pt x="1084" y="2897"/>
                  </a:lnTo>
                  <a:lnTo>
                    <a:pt x="1121" y="2923"/>
                  </a:lnTo>
                  <a:lnTo>
                    <a:pt x="1156" y="2947"/>
                  </a:lnTo>
                  <a:lnTo>
                    <a:pt x="1189" y="2969"/>
                  </a:lnTo>
                  <a:lnTo>
                    <a:pt x="1220" y="2987"/>
                  </a:lnTo>
                  <a:lnTo>
                    <a:pt x="1251" y="2998"/>
                  </a:lnTo>
                  <a:lnTo>
                    <a:pt x="1282" y="3002"/>
                  </a:lnTo>
                  <a:lnTo>
                    <a:pt x="1304" y="3006"/>
                  </a:lnTo>
                  <a:lnTo>
                    <a:pt x="1321" y="3015"/>
                  </a:lnTo>
                  <a:lnTo>
                    <a:pt x="1332" y="3028"/>
                  </a:lnTo>
                  <a:lnTo>
                    <a:pt x="1337" y="3046"/>
                  </a:lnTo>
                  <a:lnTo>
                    <a:pt x="1341" y="3068"/>
                  </a:lnTo>
                  <a:lnTo>
                    <a:pt x="1341" y="3090"/>
                  </a:lnTo>
                  <a:lnTo>
                    <a:pt x="1341" y="3116"/>
                  </a:lnTo>
                  <a:lnTo>
                    <a:pt x="1341" y="3141"/>
                  </a:lnTo>
                  <a:lnTo>
                    <a:pt x="1345" y="3163"/>
                  </a:lnTo>
                  <a:lnTo>
                    <a:pt x="1354" y="3180"/>
                  </a:lnTo>
                  <a:lnTo>
                    <a:pt x="1368" y="3193"/>
                  </a:lnTo>
                  <a:lnTo>
                    <a:pt x="1387" y="3204"/>
                  </a:lnTo>
                  <a:lnTo>
                    <a:pt x="1410" y="3211"/>
                  </a:lnTo>
                  <a:lnTo>
                    <a:pt x="1438" y="3218"/>
                  </a:lnTo>
                  <a:lnTo>
                    <a:pt x="1465" y="3226"/>
                  </a:lnTo>
                  <a:lnTo>
                    <a:pt x="1497" y="3235"/>
                  </a:lnTo>
                  <a:lnTo>
                    <a:pt x="1530" y="3244"/>
                  </a:lnTo>
                  <a:lnTo>
                    <a:pt x="1566" y="3257"/>
                  </a:lnTo>
                  <a:lnTo>
                    <a:pt x="1601" y="3264"/>
                  </a:lnTo>
                  <a:lnTo>
                    <a:pt x="1632" y="3273"/>
                  </a:lnTo>
                  <a:lnTo>
                    <a:pt x="1661" y="3281"/>
                  </a:lnTo>
                  <a:lnTo>
                    <a:pt x="1693" y="3294"/>
                  </a:lnTo>
                  <a:lnTo>
                    <a:pt x="1725" y="3308"/>
                  </a:lnTo>
                  <a:lnTo>
                    <a:pt x="1764" y="3330"/>
                  </a:lnTo>
                  <a:lnTo>
                    <a:pt x="1801" y="3354"/>
                  </a:lnTo>
                  <a:lnTo>
                    <a:pt x="1830" y="3376"/>
                  </a:lnTo>
                  <a:lnTo>
                    <a:pt x="1848" y="3396"/>
                  </a:lnTo>
                  <a:lnTo>
                    <a:pt x="1857" y="3416"/>
                  </a:lnTo>
                  <a:lnTo>
                    <a:pt x="1859" y="3438"/>
                  </a:lnTo>
                  <a:lnTo>
                    <a:pt x="1850" y="3464"/>
                  </a:lnTo>
                  <a:lnTo>
                    <a:pt x="1834" y="3492"/>
                  </a:lnTo>
                  <a:lnTo>
                    <a:pt x="1812" y="3523"/>
                  </a:lnTo>
                  <a:lnTo>
                    <a:pt x="1784" y="3559"/>
                  </a:lnTo>
                  <a:lnTo>
                    <a:pt x="1755" y="3598"/>
                  </a:lnTo>
                  <a:lnTo>
                    <a:pt x="1727" y="3640"/>
                  </a:lnTo>
                  <a:lnTo>
                    <a:pt x="1704" y="3682"/>
                  </a:lnTo>
                  <a:lnTo>
                    <a:pt x="1687" y="3726"/>
                  </a:lnTo>
                  <a:lnTo>
                    <a:pt x="1678" y="3770"/>
                  </a:lnTo>
                  <a:lnTo>
                    <a:pt x="1672" y="3814"/>
                  </a:lnTo>
                  <a:lnTo>
                    <a:pt x="1661" y="3855"/>
                  </a:lnTo>
                  <a:lnTo>
                    <a:pt x="1643" y="3891"/>
                  </a:lnTo>
                  <a:lnTo>
                    <a:pt x="1621" y="3924"/>
                  </a:lnTo>
                  <a:lnTo>
                    <a:pt x="1597" y="3952"/>
                  </a:lnTo>
                  <a:lnTo>
                    <a:pt x="1568" y="3970"/>
                  </a:lnTo>
                  <a:lnTo>
                    <a:pt x="1539" y="3979"/>
                  </a:lnTo>
                  <a:lnTo>
                    <a:pt x="1506" y="3989"/>
                  </a:lnTo>
                  <a:lnTo>
                    <a:pt x="1473" y="4003"/>
                  </a:lnTo>
                  <a:lnTo>
                    <a:pt x="1447" y="4022"/>
                  </a:lnTo>
                  <a:lnTo>
                    <a:pt x="1425" y="4044"/>
                  </a:lnTo>
                  <a:lnTo>
                    <a:pt x="1410" y="4067"/>
                  </a:lnTo>
                  <a:lnTo>
                    <a:pt x="1405" y="4093"/>
                  </a:lnTo>
                  <a:lnTo>
                    <a:pt x="1403" y="4106"/>
                  </a:lnTo>
                  <a:lnTo>
                    <a:pt x="1398" y="4117"/>
                  </a:lnTo>
                  <a:lnTo>
                    <a:pt x="1388" y="4124"/>
                  </a:lnTo>
                  <a:lnTo>
                    <a:pt x="1377" y="4132"/>
                  </a:lnTo>
                  <a:lnTo>
                    <a:pt x="1367" y="4139"/>
                  </a:lnTo>
                  <a:lnTo>
                    <a:pt x="1356" y="4150"/>
                  </a:lnTo>
                  <a:lnTo>
                    <a:pt x="1346" y="4165"/>
                  </a:lnTo>
                  <a:lnTo>
                    <a:pt x="1339" y="4185"/>
                  </a:lnTo>
                  <a:lnTo>
                    <a:pt x="1335" y="4211"/>
                  </a:lnTo>
                  <a:lnTo>
                    <a:pt x="1328" y="4255"/>
                  </a:lnTo>
                  <a:lnTo>
                    <a:pt x="1209" y="4200"/>
                  </a:lnTo>
                  <a:lnTo>
                    <a:pt x="1121" y="4152"/>
                  </a:lnTo>
                  <a:lnTo>
                    <a:pt x="1114" y="4148"/>
                  </a:lnTo>
                  <a:lnTo>
                    <a:pt x="1024" y="4093"/>
                  </a:lnTo>
                  <a:lnTo>
                    <a:pt x="938" y="4034"/>
                  </a:lnTo>
                  <a:lnTo>
                    <a:pt x="868" y="3983"/>
                  </a:lnTo>
                  <a:lnTo>
                    <a:pt x="766" y="3899"/>
                  </a:lnTo>
                  <a:lnTo>
                    <a:pt x="727" y="3864"/>
                  </a:lnTo>
                  <a:lnTo>
                    <a:pt x="678" y="3820"/>
                  </a:lnTo>
                  <a:lnTo>
                    <a:pt x="661" y="3803"/>
                  </a:lnTo>
                  <a:lnTo>
                    <a:pt x="638" y="3772"/>
                  </a:lnTo>
                  <a:lnTo>
                    <a:pt x="610" y="3743"/>
                  </a:lnTo>
                  <a:lnTo>
                    <a:pt x="581" y="3719"/>
                  </a:lnTo>
                  <a:lnTo>
                    <a:pt x="577" y="3714"/>
                  </a:lnTo>
                  <a:lnTo>
                    <a:pt x="497" y="3620"/>
                  </a:lnTo>
                  <a:lnTo>
                    <a:pt x="493" y="3616"/>
                  </a:lnTo>
                  <a:lnTo>
                    <a:pt x="493" y="3598"/>
                  </a:lnTo>
                  <a:lnTo>
                    <a:pt x="489" y="3580"/>
                  </a:lnTo>
                  <a:lnTo>
                    <a:pt x="475" y="3556"/>
                  </a:lnTo>
                  <a:lnTo>
                    <a:pt x="454" y="3532"/>
                  </a:lnTo>
                  <a:lnTo>
                    <a:pt x="431" y="3506"/>
                  </a:lnTo>
                  <a:lnTo>
                    <a:pt x="405" y="3479"/>
                  </a:lnTo>
                  <a:lnTo>
                    <a:pt x="381" y="3451"/>
                  </a:lnTo>
                  <a:lnTo>
                    <a:pt x="359" y="3426"/>
                  </a:lnTo>
                  <a:lnTo>
                    <a:pt x="350" y="3413"/>
                  </a:lnTo>
                  <a:lnTo>
                    <a:pt x="343" y="3400"/>
                  </a:lnTo>
                  <a:lnTo>
                    <a:pt x="334" y="3374"/>
                  </a:lnTo>
                  <a:lnTo>
                    <a:pt x="326" y="3347"/>
                  </a:lnTo>
                  <a:lnTo>
                    <a:pt x="321" y="3317"/>
                  </a:lnTo>
                  <a:lnTo>
                    <a:pt x="321" y="3288"/>
                  </a:lnTo>
                  <a:lnTo>
                    <a:pt x="323" y="3259"/>
                  </a:lnTo>
                  <a:lnTo>
                    <a:pt x="330" y="3235"/>
                  </a:lnTo>
                  <a:lnTo>
                    <a:pt x="343" y="3213"/>
                  </a:lnTo>
                  <a:lnTo>
                    <a:pt x="359" y="3198"/>
                  </a:lnTo>
                  <a:lnTo>
                    <a:pt x="365" y="3196"/>
                  </a:lnTo>
                  <a:lnTo>
                    <a:pt x="383" y="3184"/>
                  </a:lnTo>
                  <a:lnTo>
                    <a:pt x="396" y="3167"/>
                  </a:lnTo>
                  <a:lnTo>
                    <a:pt x="405" y="3149"/>
                  </a:lnTo>
                  <a:lnTo>
                    <a:pt x="410" y="3130"/>
                  </a:lnTo>
                  <a:lnTo>
                    <a:pt x="418" y="3112"/>
                  </a:lnTo>
                  <a:lnTo>
                    <a:pt x="425" y="3096"/>
                  </a:lnTo>
                  <a:lnTo>
                    <a:pt x="438" y="3081"/>
                  </a:lnTo>
                  <a:lnTo>
                    <a:pt x="456" y="3072"/>
                  </a:lnTo>
                  <a:lnTo>
                    <a:pt x="475" y="3064"/>
                  </a:lnTo>
                  <a:lnTo>
                    <a:pt x="484" y="3051"/>
                  </a:lnTo>
                  <a:lnTo>
                    <a:pt x="487" y="3037"/>
                  </a:lnTo>
                  <a:lnTo>
                    <a:pt x="486" y="3020"/>
                  </a:lnTo>
                  <a:lnTo>
                    <a:pt x="482" y="3002"/>
                  </a:lnTo>
                  <a:lnTo>
                    <a:pt x="473" y="2984"/>
                  </a:lnTo>
                  <a:lnTo>
                    <a:pt x="465" y="2965"/>
                  </a:lnTo>
                  <a:lnTo>
                    <a:pt x="456" y="2949"/>
                  </a:lnTo>
                  <a:lnTo>
                    <a:pt x="445" y="2938"/>
                  </a:lnTo>
                  <a:lnTo>
                    <a:pt x="429" y="2932"/>
                  </a:lnTo>
                  <a:lnTo>
                    <a:pt x="409" y="2929"/>
                  </a:lnTo>
                  <a:lnTo>
                    <a:pt x="385" y="2927"/>
                  </a:lnTo>
                  <a:lnTo>
                    <a:pt x="359" y="2927"/>
                  </a:lnTo>
                  <a:lnTo>
                    <a:pt x="337" y="2927"/>
                  </a:lnTo>
                  <a:lnTo>
                    <a:pt x="317" y="2925"/>
                  </a:lnTo>
                  <a:lnTo>
                    <a:pt x="299" y="2921"/>
                  </a:lnTo>
                  <a:lnTo>
                    <a:pt x="284" y="2916"/>
                  </a:lnTo>
                  <a:lnTo>
                    <a:pt x="273" y="2907"/>
                  </a:lnTo>
                  <a:lnTo>
                    <a:pt x="266" y="2890"/>
                  </a:lnTo>
                  <a:lnTo>
                    <a:pt x="260" y="2872"/>
                  </a:lnTo>
                  <a:lnTo>
                    <a:pt x="253" y="2852"/>
                  </a:lnTo>
                  <a:lnTo>
                    <a:pt x="246" y="2830"/>
                  </a:lnTo>
                  <a:lnTo>
                    <a:pt x="236" y="2806"/>
                  </a:lnTo>
                  <a:lnTo>
                    <a:pt x="225" y="2786"/>
                  </a:lnTo>
                  <a:lnTo>
                    <a:pt x="213" y="2767"/>
                  </a:lnTo>
                  <a:lnTo>
                    <a:pt x="196" y="2753"/>
                  </a:lnTo>
                  <a:lnTo>
                    <a:pt x="176" y="2743"/>
                  </a:lnTo>
                  <a:lnTo>
                    <a:pt x="150" y="2740"/>
                  </a:lnTo>
                  <a:lnTo>
                    <a:pt x="116" y="2734"/>
                  </a:lnTo>
                  <a:lnTo>
                    <a:pt x="84" y="2723"/>
                  </a:lnTo>
                  <a:lnTo>
                    <a:pt x="53" y="2709"/>
                  </a:lnTo>
                  <a:lnTo>
                    <a:pt x="46" y="2668"/>
                  </a:lnTo>
                  <a:lnTo>
                    <a:pt x="26" y="2558"/>
                  </a:lnTo>
                  <a:lnTo>
                    <a:pt x="20" y="2516"/>
                  </a:lnTo>
                  <a:lnTo>
                    <a:pt x="37" y="2499"/>
                  </a:lnTo>
                  <a:lnTo>
                    <a:pt x="55" y="2483"/>
                  </a:lnTo>
                  <a:lnTo>
                    <a:pt x="75" y="2466"/>
                  </a:lnTo>
                  <a:lnTo>
                    <a:pt x="95" y="2450"/>
                  </a:lnTo>
                  <a:lnTo>
                    <a:pt x="114" y="2435"/>
                  </a:lnTo>
                  <a:lnTo>
                    <a:pt x="134" y="2422"/>
                  </a:lnTo>
                  <a:lnTo>
                    <a:pt x="150" y="2411"/>
                  </a:lnTo>
                  <a:lnTo>
                    <a:pt x="165" y="2406"/>
                  </a:lnTo>
                  <a:lnTo>
                    <a:pt x="176" y="2406"/>
                  </a:lnTo>
                  <a:close/>
                  <a:moveTo>
                    <a:pt x="324" y="2389"/>
                  </a:moveTo>
                  <a:lnTo>
                    <a:pt x="343" y="2389"/>
                  </a:lnTo>
                  <a:lnTo>
                    <a:pt x="352" y="2389"/>
                  </a:lnTo>
                  <a:lnTo>
                    <a:pt x="359" y="2391"/>
                  </a:lnTo>
                  <a:lnTo>
                    <a:pt x="377" y="2397"/>
                  </a:lnTo>
                  <a:lnTo>
                    <a:pt x="390" y="2406"/>
                  </a:lnTo>
                  <a:lnTo>
                    <a:pt x="401" y="2415"/>
                  </a:lnTo>
                  <a:lnTo>
                    <a:pt x="409" y="2426"/>
                  </a:lnTo>
                  <a:lnTo>
                    <a:pt x="410" y="2437"/>
                  </a:lnTo>
                  <a:lnTo>
                    <a:pt x="407" y="2444"/>
                  </a:lnTo>
                  <a:lnTo>
                    <a:pt x="396" y="2450"/>
                  </a:lnTo>
                  <a:lnTo>
                    <a:pt x="379" y="2450"/>
                  </a:lnTo>
                  <a:lnTo>
                    <a:pt x="370" y="2450"/>
                  </a:lnTo>
                  <a:lnTo>
                    <a:pt x="359" y="2446"/>
                  </a:lnTo>
                  <a:lnTo>
                    <a:pt x="343" y="2439"/>
                  </a:lnTo>
                  <a:lnTo>
                    <a:pt x="328" y="2430"/>
                  </a:lnTo>
                  <a:lnTo>
                    <a:pt x="317" y="2421"/>
                  </a:lnTo>
                  <a:lnTo>
                    <a:pt x="312" y="2410"/>
                  </a:lnTo>
                  <a:lnTo>
                    <a:pt x="310" y="2400"/>
                  </a:lnTo>
                  <a:lnTo>
                    <a:pt x="313" y="2393"/>
                  </a:lnTo>
                  <a:lnTo>
                    <a:pt x="324" y="2389"/>
                  </a:lnTo>
                  <a:close/>
                  <a:moveTo>
                    <a:pt x="460" y="2300"/>
                  </a:moveTo>
                  <a:lnTo>
                    <a:pt x="478" y="2303"/>
                  </a:lnTo>
                  <a:lnTo>
                    <a:pt x="497" y="2311"/>
                  </a:lnTo>
                  <a:lnTo>
                    <a:pt x="511" y="2320"/>
                  </a:lnTo>
                  <a:lnTo>
                    <a:pt x="526" y="2331"/>
                  </a:lnTo>
                  <a:lnTo>
                    <a:pt x="537" y="2344"/>
                  </a:lnTo>
                  <a:lnTo>
                    <a:pt x="546" y="2356"/>
                  </a:lnTo>
                  <a:lnTo>
                    <a:pt x="551" y="2367"/>
                  </a:lnTo>
                  <a:lnTo>
                    <a:pt x="555" y="2377"/>
                  </a:lnTo>
                  <a:lnTo>
                    <a:pt x="553" y="2382"/>
                  </a:lnTo>
                  <a:lnTo>
                    <a:pt x="548" y="2382"/>
                  </a:lnTo>
                  <a:lnTo>
                    <a:pt x="537" y="2378"/>
                  </a:lnTo>
                  <a:lnTo>
                    <a:pt x="522" y="2371"/>
                  </a:lnTo>
                  <a:lnTo>
                    <a:pt x="509" y="2369"/>
                  </a:lnTo>
                  <a:lnTo>
                    <a:pt x="497" y="2369"/>
                  </a:lnTo>
                  <a:lnTo>
                    <a:pt x="478" y="2375"/>
                  </a:lnTo>
                  <a:lnTo>
                    <a:pt x="462" y="2380"/>
                  </a:lnTo>
                  <a:lnTo>
                    <a:pt x="447" y="2382"/>
                  </a:lnTo>
                  <a:lnTo>
                    <a:pt x="432" y="2378"/>
                  </a:lnTo>
                  <a:lnTo>
                    <a:pt x="420" y="2367"/>
                  </a:lnTo>
                  <a:lnTo>
                    <a:pt x="414" y="2353"/>
                  </a:lnTo>
                  <a:lnTo>
                    <a:pt x="416" y="2336"/>
                  </a:lnTo>
                  <a:lnTo>
                    <a:pt x="423" y="2320"/>
                  </a:lnTo>
                  <a:lnTo>
                    <a:pt x="438" y="2309"/>
                  </a:lnTo>
                  <a:lnTo>
                    <a:pt x="460" y="2300"/>
                  </a:lnTo>
                  <a:close/>
                  <a:moveTo>
                    <a:pt x="2418" y="2155"/>
                  </a:moveTo>
                  <a:lnTo>
                    <a:pt x="2423" y="2157"/>
                  </a:lnTo>
                  <a:lnTo>
                    <a:pt x="2427" y="2160"/>
                  </a:lnTo>
                  <a:lnTo>
                    <a:pt x="2431" y="2164"/>
                  </a:lnTo>
                  <a:lnTo>
                    <a:pt x="2431" y="2169"/>
                  </a:lnTo>
                  <a:lnTo>
                    <a:pt x="2431" y="2177"/>
                  </a:lnTo>
                  <a:lnTo>
                    <a:pt x="2429" y="2184"/>
                  </a:lnTo>
                  <a:lnTo>
                    <a:pt x="2425" y="2191"/>
                  </a:lnTo>
                  <a:lnTo>
                    <a:pt x="2421" y="2197"/>
                  </a:lnTo>
                  <a:lnTo>
                    <a:pt x="2416" y="2201"/>
                  </a:lnTo>
                  <a:lnTo>
                    <a:pt x="2410" y="2204"/>
                  </a:lnTo>
                  <a:lnTo>
                    <a:pt x="2407" y="2204"/>
                  </a:lnTo>
                  <a:lnTo>
                    <a:pt x="2401" y="2202"/>
                  </a:lnTo>
                  <a:lnTo>
                    <a:pt x="2396" y="2197"/>
                  </a:lnTo>
                  <a:lnTo>
                    <a:pt x="2387" y="2184"/>
                  </a:lnTo>
                  <a:lnTo>
                    <a:pt x="2385" y="2173"/>
                  </a:lnTo>
                  <a:lnTo>
                    <a:pt x="2390" y="2166"/>
                  </a:lnTo>
                  <a:lnTo>
                    <a:pt x="2401" y="2160"/>
                  </a:lnTo>
                  <a:lnTo>
                    <a:pt x="2407" y="2157"/>
                  </a:lnTo>
                  <a:lnTo>
                    <a:pt x="2410" y="2157"/>
                  </a:lnTo>
                  <a:lnTo>
                    <a:pt x="2418" y="2155"/>
                  </a:lnTo>
                  <a:close/>
                  <a:moveTo>
                    <a:pt x="2354" y="2041"/>
                  </a:moveTo>
                  <a:lnTo>
                    <a:pt x="2359" y="2043"/>
                  </a:lnTo>
                  <a:lnTo>
                    <a:pt x="2363" y="2045"/>
                  </a:lnTo>
                  <a:lnTo>
                    <a:pt x="2367" y="2050"/>
                  </a:lnTo>
                  <a:lnTo>
                    <a:pt x="2368" y="2056"/>
                  </a:lnTo>
                  <a:lnTo>
                    <a:pt x="2368" y="2063"/>
                  </a:lnTo>
                  <a:lnTo>
                    <a:pt x="2365" y="2074"/>
                  </a:lnTo>
                  <a:lnTo>
                    <a:pt x="2357" y="2083"/>
                  </a:lnTo>
                  <a:lnTo>
                    <a:pt x="2350" y="2089"/>
                  </a:lnTo>
                  <a:lnTo>
                    <a:pt x="2343" y="2091"/>
                  </a:lnTo>
                  <a:lnTo>
                    <a:pt x="2334" y="2083"/>
                  </a:lnTo>
                  <a:lnTo>
                    <a:pt x="2324" y="2070"/>
                  </a:lnTo>
                  <a:lnTo>
                    <a:pt x="2323" y="2059"/>
                  </a:lnTo>
                  <a:lnTo>
                    <a:pt x="2326" y="2052"/>
                  </a:lnTo>
                  <a:lnTo>
                    <a:pt x="2339" y="2046"/>
                  </a:lnTo>
                  <a:lnTo>
                    <a:pt x="2346" y="2043"/>
                  </a:lnTo>
                  <a:lnTo>
                    <a:pt x="2354" y="2041"/>
                  </a:lnTo>
                  <a:close/>
                  <a:moveTo>
                    <a:pt x="2453" y="2017"/>
                  </a:moveTo>
                  <a:lnTo>
                    <a:pt x="2460" y="2017"/>
                  </a:lnTo>
                  <a:lnTo>
                    <a:pt x="2464" y="2019"/>
                  </a:lnTo>
                  <a:lnTo>
                    <a:pt x="2467" y="2024"/>
                  </a:lnTo>
                  <a:lnTo>
                    <a:pt x="2469" y="2030"/>
                  </a:lnTo>
                  <a:lnTo>
                    <a:pt x="2469" y="2037"/>
                  </a:lnTo>
                  <a:lnTo>
                    <a:pt x="2467" y="2045"/>
                  </a:lnTo>
                  <a:lnTo>
                    <a:pt x="2464" y="2050"/>
                  </a:lnTo>
                  <a:lnTo>
                    <a:pt x="2460" y="2056"/>
                  </a:lnTo>
                  <a:lnTo>
                    <a:pt x="2456" y="2061"/>
                  </a:lnTo>
                  <a:lnTo>
                    <a:pt x="2451" y="2065"/>
                  </a:lnTo>
                  <a:lnTo>
                    <a:pt x="2445" y="2065"/>
                  </a:lnTo>
                  <a:lnTo>
                    <a:pt x="2442" y="2065"/>
                  </a:lnTo>
                  <a:lnTo>
                    <a:pt x="2438" y="2061"/>
                  </a:lnTo>
                  <a:lnTo>
                    <a:pt x="2434" y="2057"/>
                  </a:lnTo>
                  <a:lnTo>
                    <a:pt x="2425" y="2045"/>
                  </a:lnTo>
                  <a:lnTo>
                    <a:pt x="2423" y="2034"/>
                  </a:lnTo>
                  <a:lnTo>
                    <a:pt x="2429" y="2026"/>
                  </a:lnTo>
                  <a:lnTo>
                    <a:pt x="2440" y="2021"/>
                  </a:lnTo>
                  <a:lnTo>
                    <a:pt x="2445" y="2017"/>
                  </a:lnTo>
                  <a:lnTo>
                    <a:pt x="2453" y="2017"/>
                  </a:lnTo>
                  <a:close/>
                  <a:moveTo>
                    <a:pt x="868" y="1595"/>
                  </a:moveTo>
                  <a:lnTo>
                    <a:pt x="879" y="1597"/>
                  </a:lnTo>
                  <a:lnTo>
                    <a:pt x="888" y="1605"/>
                  </a:lnTo>
                  <a:lnTo>
                    <a:pt x="894" y="1614"/>
                  </a:lnTo>
                  <a:lnTo>
                    <a:pt x="896" y="1627"/>
                  </a:lnTo>
                  <a:lnTo>
                    <a:pt x="892" y="1636"/>
                  </a:lnTo>
                  <a:lnTo>
                    <a:pt x="887" y="1643"/>
                  </a:lnTo>
                  <a:lnTo>
                    <a:pt x="876" y="1647"/>
                  </a:lnTo>
                  <a:lnTo>
                    <a:pt x="868" y="1647"/>
                  </a:lnTo>
                  <a:lnTo>
                    <a:pt x="856" y="1641"/>
                  </a:lnTo>
                  <a:lnTo>
                    <a:pt x="846" y="1632"/>
                  </a:lnTo>
                  <a:lnTo>
                    <a:pt x="841" y="1621"/>
                  </a:lnTo>
                  <a:lnTo>
                    <a:pt x="841" y="1610"/>
                  </a:lnTo>
                  <a:lnTo>
                    <a:pt x="848" y="1601"/>
                  </a:lnTo>
                  <a:lnTo>
                    <a:pt x="861" y="1595"/>
                  </a:lnTo>
                  <a:lnTo>
                    <a:pt x="868" y="1595"/>
                  </a:lnTo>
                  <a:close/>
                  <a:moveTo>
                    <a:pt x="938" y="1551"/>
                  </a:moveTo>
                  <a:lnTo>
                    <a:pt x="953" y="1553"/>
                  </a:lnTo>
                  <a:lnTo>
                    <a:pt x="964" y="1560"/>
                  </a:lnTo>
                  <a:lnTo>
                    <a:pt x="971" y="1571"/>
                  </a:lnTo>
                  <a:lnTo>
                    <a:pt x="975" y="1584"/>
                  </a:lnTo>
                  <a:lnTo>
                    <a:pt x="975" y="1597"/>
                  </a:lnTo>
                  <a:lnTo>
                    <a:pt x="969" y="1610"/>
                  </a:lnTo>
                  <a:lnTo>
                    <a:pt x="960" y="1617"/>
                  </a:lnTo>
                  <a:lnTo>
                    <a:pt x="947" y="1621"/>
                  </a:lnTo>
                  <a:lnTo>
                    <a:pt x="938" y="1619"/>
                  </a:lnTo>
                  <a:lnTo>
                    <a:pt x="923" y="1614"/>
                  </a:lnTo>
                  <a:lnTo>
                    <a:pt x="910" y="1605"/>
                  </a:lnTo>
                  <a:lnTo>
                    <a:pt x="903" y="1592"/>
                  </a:lnTo>
                  <a:lnTo>
                    <a:pt x="901" y="1579"/>
                  </a:lnTo>
                  <a:lnTo>
                    <a:pt x="903" y="1568"/>
                  </a:lnTo>
                  <a:lnTo>
                    <a:pt x="912" y="1559"/>
                  </a:lnTo>
                  <a:lnTo>
                    <a:pt x="927" y="1553"/>
                  </a:lnTo>
                  <a:lnTo>
                    <a:pt x="932" y="1551"/>
                  </a:lnTo>
                  <a:lnTo>
                    <a:pt x="938" y="1551"/>
                  </a:lnTo>
                  <a:close/>
                  <a:moveTo>
                    <a:pt x="1110" y="1329"/>
                  </a:moveTo>
                  <a:lnTo>
                    <a:pt x="1121" y="1329"/>
                  </a:lnTo>
                  <a:lnTo>
                    <a:pt x="1127" y="1331"/>
                  </a:lnTo>
                  <a:lnTo>
                    <a:pt x="1132" y="1331"/>
                  </a:lnTo>
                  <a:lnTo>
                    <a:pt x="1161" y="1333"/>
                  </a:lnTo>
                  <a:lnTo>
                    <a:pt x="1183" y="1340"/>
                  </a:lnTo>
                  <a:lnTo>
                    <a:pt x="1202" y="1351"/>
                  </a:lnTo>
                  <a:lnTo>
                    <a:pt x="1214" y="1366"/>
                  </a:lnTo>
                  <a:lnTo>
                    <a:pt x="1225" y="1384"/>
                  </a:lnTo>
                  <a:lnTo>
                    <a:pt x="1235" y="1403"/>
                  </a:lnTo>
                  <a:lnTo>
                    <a:pt x="1244" y="1423"/>
                  </a:lnTo>
                  <a:lnTo>
                    <a:pt x="1253" y="1443"/>
                  </a:lnTo>
                  <a:lnTo>
                    <a:pt x="1260" y="1463"/>
                  </a:lnTo>
                  <a:lnTo>
                    <a:pt x="1262" y="1482"/>
                  </a:lnTo>
                  <a:lnTo>
                    <a:pt x="1262" y="1498"/>
                  </a:lnTo>
                  <a:lnTo>
                    <a:pt x="1255" y="1511"/>
                  </a:lnTo>
                  <a:lnTo>
                    <a:pt x="1246" y="1520"/>
                  </a:lnTo>
                  <a:lnTo>
                    <a:pt x="1229" y="1524"/>
                  </a:lnTo>
                  <a:lnTo>
                    <a:pt x="1207" y="1522"/>
                  </a:lnTo>
                  <a:lnTo>
                    <a:pt x="1180" y="1513"/>
                  </a:lnTo>
                  <a:lnTo>
                    <a:pt x="1149" y="1498"/>
                  </a:lnTo>
                  <a:lnTo>
                    <a:pt x="1121" y="1487"/>
                  </a:lnTo>
                  <a:lnTo>
                    <a:pt x="1103" y="1478"/>
                  </a:lnTo>
                  <a:lnTo>
                    <a:pt x="1090" y="1469"/>
                  </a:lnTo>
                  <a:lnTo>
                    <a:pt x="1081" y="1458"/>
                  </a:lnTo>
                  <a:lnTo>
                    <a:pt x="1077" y="1443"/>
                  </a:lnTo>
                  <a:lnTo>
                    <a:pt x="1079" y="1423"/>
                  </a:lnTo>
                  <a:lnTo>
                    <a:pt x="1088" y="1399"/>
                  </a:lnTo>
                  <a:lnTo>
                    <a:pt x="1097" y="1377"/>
                  </a:lnTo>
                  <a:lnTo>
                    <a:pt x="1101" y="1359"/>
                  </a:lnTo>
                  <a:lnTo>
                    <a:pt x="1103" y="1346"/>
                  </a:lnTo>
                  <a:lnTo>
                    <a:pt x="1103" y="1337"/>
                  </a:lnTo>
                  <a:lnTo>
                    <a:pt x="1103" y="1333"/>
                  </a:lnTo>
                  <a:lnTo>
                    <a:pt x="1105" y="1329"/>
                  </a:lnTo>
                  <a:lnTo>
                    <a:pt x="1110" y="1329"/>
                  </a:lnTo>
                  <a:close/>
                  <a:moveTo>
                    <a:pt x="3028" y="1230"/>
                  </a:moveTo>
                  <a:lnTo>
                    <a:pt x="3033" y="1230"/>
                  </a:lnTo>
                  <a:lnTo>
                    <a:pt x="3039" y="1234"/>
                  </a:lnTo>
                  <a:lnTo>
                    <a:pt x="3042" y="1238"/>
                  </a:lnTo>
                  <a:lnTo>
                    <a:pt x="3044" y="1243"/>
                  </a:lnTo>
                  <a:lnTo>
                    <a:pt x="3042" y="1251"/>
                  </a:lnTo>
                  <a:lnTo>
                    <a:pt x="3041" y="1258"/>
                  </a:lnTo>
                  <a:lnTo>
                    <a:pt x="3039" y="1263"/>
                  </a:lnTo>
                  <a:lnTo>
                    <a:pt x="3035" y="1271"/>
                  </a:lnTo>
                  <a:lnTo>
                    <a:pt x="3031" y="1274"/>
                  </a:lnTo>
                  <a:lnTo>
                    <a:pt x="3026" y="1278"/>
                  </a:lnTo>
                  <a:lnTo>
                    <a:pt x="3020" y="1278"/>
                  </a:lnTo>
                  <a:lnTo>
                    <a:pt x="3017" y="1278"/>
                  </a:lnTo>
                  <a:lnTo>
                    <a:pt x="3013" y="1276"/>
                  </a:lnTo>
                  <a:lnTo>
                    <a:pt x="3008" y="1271"/>
                  </a:lnTo>
                  <a:lnTo>
                    <a:pt x="3000" y="1258"/>
                  </a:lnTo>
                  <a:lnTo>
                    <a:pt x="2998" y="1247"/>
                  </a:lnTo>
                  <a:lnTo>
                    <a:pt x="3002" y="1240"/>
                  </a:lnTo>
                  <a:lnTo>
                    <a:pt x="3015" y="1234"/>
                  </a:lnTo>
                  <a:lnTo>
                    <a:pt x="3020" y="1232"/>
                  </a:lnTo>
                  <a:lnTo>
                    <a:pt x="3028" y="1230"/>
                  </a:lnTo>
                  <a:close/>
                  <a:moveTo>
                    <a:pt x="2702" y="1120"/>
                  </a:moveTo>
                  <a:lnTo>
                    <a:pt x="2709" y="1122"/>
                  </a:lnTo>
                  <a:lnTo>
                    <a:pt x="2726" y="1124"/>
                  </a:lnTo>
                  <a:lnTo>
                    <a:pt x="2736" y="1133"/>
                  </a:lnTo>
                  <a:lnTo>
                    <a:pt x="2744" y="1146"/>
                  </a:lnTo>
                  <a:lnTo>
                    <a:pt x="2749" y="1164"/>
                  </a:lnTo>
                  <a:lnTo>
                    <a:pt x="2751" y="1186"/>
                  </a:lnTo>
                  <a:lnTo>
                    <a:pt x="2751" y="1208"/>
                  </a:lnTo>
                  <a:lnTo>
                    <a:pt x="2747" y="1232"/>
                  </a:lnTo>
                  <a:lnTo>
                    <a:pt x="2742" y="1254"/>
                  </a:lnTo>
                  <a:lnTo>
                    <a:pt x="2735" y="1276"/>
                  </a:lnTo>
                  <a:lnTo>
                    <a:pt x="2726" y="1291"/>
                  </a:lnTo>
                  <a:lnTo>
                    <a:pt x="2715" y="1302"/>
                  </a:lnTo>
                  <a:lnTo>
                    <a:pt x="2702" y="1309"/>
                  </a:lnTo>
                  <a:lnTo>
                    <a:pt x="2685" y="1311"/>
                  </a:lnTo>
                  <a:lnTo>
                    <a:pt x="2669" y="1306"/>
                  </a:lnTo>
                  <a:lnTo>
                    <a:pt x="2658" y="1295"/>
                  </a:lnTo>
                  <a:lnTo>
                    <a:pt x="2650" y="1278"/>
                  </a:lnTo>
                  <a:lnTo>
                    <a:pt x="2652" y="1256"/>
                  </a:lnTo>
                  <a:lnTo>
                    <a:pt x="2654" y="1240"/>
                  </a:lnTo>
                  <a:lnTo>
                    <a:pt x="2654" y="1221"/>
                  </a:lnTo>
                  <a:lnTo>
                    <a:pt x="2654" y="1201"/>
                  </a:lnTo>
                  <a:lnTo>
                    <a:pt x="2652" y="1183"/>
                  </a:lnTo>
                  <a:lnTo>
                    <a:pt x="2652" y="1166"/>
                  </a:lnTo>
                  <a:lnTo>
                    <a:pt x="2654" y="1150"/>
                  </a:lnTo>
                  <a:lnTo>
                    <a:pt x="2658" y="1137"/>
                  </a:lnTo>
                  <a:lnTo>
                    <a:pt x="2667" y="1128"/>
                  </a:lnTo>
                  <a:lnTo>
                    <a:pt x="2682" y="1122"/>
                  </a:lnTo>
                  <a:lnTo>
                    <a:pt x="2702" y="1120"/>
                  </a:lnTo>
                  <a:close/>
                  <a:moveTo>
                    <a:pt x="2991" y="1040"/>
                  </a:moveTo>
                  <a:lnTo>
                    <a:pt x="2997" y="1041"/>
                  </a:lnTo>
                  <a:lnTo>
                    <a:pt x="3002" y="1043"/>
                  </a:lnTo>
                  <a:lnTo>
                    <a:pt x="3006" y="1049"/>
                  </a:lnTo>
                  <a:lnTo>
                    <a:pt x="3006" y="1054"/>
                  </a:lnTo>
                  <a:lnTo>
                    <a:pt x="3006" y="1062"/>
                  </a:lnTo>
                  <a:lnTo>
                    <a:pt x="3004" y="1067"/>
                  </a:lnTo>
                  <a:lnTo>
                    <a:pt x="3002" y="1074"/>
                  </a:lnTo>
                  <a:lnTo>
                    <a:pt x="2998" y="1080"/>
                  </a:lnTo>
                  <a:lnTo>
                    <a:pt x="2993" y="1086"/>
                  </a:lnTo>
                  <a:lnTo>
                    <a:pt x="2989" y="1087"/>
                  </a:lnTo>
                  <a:lnTo>
                    <a:pt x="2984" y="1089"/>
                  </a:lnTo>
                  <a:lnTo>
                    <a:pt x="2980" y="1089"/>
                  </a:lnTo>
                  <a:lnTo>
                    <a:pt x="2975" y="1086"/>
                  </a:lnTo>
                  <a:lnTo>
                    <a:pt x="2971" y="1082"/>
                  </a:lnTo>
                  <a:lnTo>
                    <a:pt x="2964" y="1069"/>
                  </a:lnTo>
                  <a:lnTo>
                    <a:pt x="2960" y="1058"/>
                  </a:lnTo>
                  <a:lnTo>
                    <a:pt x="2965" y="1051"/>
                  </a:lnTo>
                  <a:lnTo>
                    <a:pt x="2976" y="1045"/>
                  </a:lnTo>
                  <a:lnTo>
                    <a:pt x="2984" y="1041"/>
                  </a:lnTo>
                  <a:lnTo>
                    <a:pt x="2991" y="1040"/>
                  </a:lnTo>
                  <a:close/>
                  <a:moveTo>
                    <a:pt x="2854" y="986"/>
                  </a:moveTo>
                  <a:lnTo>
                    <a:pt x="2878" y="990"/>
                  </a:lnTo>
                  <a:lnTo>
                    <a:pt x="2898" y="999"/>
                  </a:lnTo>
                  <a:lnTo>
                    <a:pt x="2910" y="1014"/>
                  </a:lnTo>
                  <a:lnTo>
                    <a:pt x="2921" y="1034"/>
                  </a:lnTo>
                  <a:lnTo>
                    <a:pt x="2927" y="1054"/>
                  </a:lnTo>
                  <a:lnTo>
                    <a:pt x="2931" y="1076"/>
                  </a:lnTo>
                  <a:lnTo>
                    <a:pt x="2932" y="1098"/>
                  </a:lnTo>
                  <a:lnTo>
                    <a:pt x="2931" y="1119"/>
                  </a:lnTo>
                  <a:lnTo>
                    <a:pt x="2927" y="1135"/>
                  </a:lnTo>
                  <a:lnTo>
                    <a:pt x="2925" y="1148"/>
                  </a:lnTo>
                  <a:lnTo>
                    <a:pt x="2927" y="1164"/>
                  </a:lnTo>
                  <a:lnTo>
                    <a:pt x="2932" y="1183"/>
                  </a:lnTo>
                  <a:lnTo>
                    <a:pt x="2938" y="1203"/>
                  </a:lnTo>
                  <a:lnTo>
                    <a:pt x="2943" y="1223"/>
                  </a:lnTo>
                  <a:lnTo>
                    <a:pt x="2949" y="1245"/>
                  </a:lnTo>
                  <a:lnTo>
                    <a:pt x="2954" y="1263"/>
                  </a:lnTo>
                  <a:lnTo>
                    <a:pt x="2956" y="1282"/>
                  </a:lnTo>
                  <a:lnTo>
                    <a:pt x="2954" y="1298"/>
                  </a:lnTo>
                  <a:lnTo>
                    <a:pt x="2949" y="1309"/>
                  </a:lnTo>
                  <a:lnTo>
                    <a:pt x="2938" y="1318"/>
                  </a:lnTo>
                  <a:lnTo>
                    <a:pt x="2920" y="1320"/>
                  </a:lnTo>
                  <a:lnTo>
                    <a:pt x="2887" y="1326"/>
                  </a:lnTo>
                  <a:lnTo>
                    <a:pt x="2854" y="1337"/>
                  </a:lnTo>
                  <a:lnTo>
                    <a:pt x="2834" y="1346"/>
                  </a:lnTo>
                  <a:lnTo>
                    <a:pt x="2815" y="1355"/>
                  </a:lnTo>
                  <a:lnTo>
                    <a:pt x="2799" y="1361"/>
                  </a:lnTo>
                  <a:lnTo>
                    <a:pt x="2786" y="1362"/>
                  </a:lnTo>
                  <a:lnTo>
                    <a:pt x="2775" y="1359"/>
                  </a:lnTo>
                  <a:lnTo>
                    <a:pt x="2766" y="1348"/>
                  </a:lnTo>
                  <a:lnTo>
                    <a:pt x="2760" y="1328"/>
                  </a:lnTo>
                  <a:lnTo>
                    <a:pt x="2757" y="1300"/>
                  </a:lnTo>
                  <a:lnTo>
                    <a:pt x="2753" y="1280"/>
                  </a:lnTo>
                  <a:lnTo>
                    <a:pt x="2753" y="1265"/>
                  </a:lnTo>
                  <a:lnTo>
                    <a:pt x="2757" y="1254"/>
                  </a:lnTo>
                  <a:lnTo>
                    <a:pt x="2762" y="1245"/>
                  </a:lnTo>
                  <a:lnTo>
                    <a:pt x="2775" y="1238"/>
                  </a:lnTo>
                  <a:lnTo>
                    <a:pt x="2793" y="1229"/>
                  </a:lnTo>
                  <a:lnTo>
                    <a:pt x="2819" y="1218"/>
                  </a:lnTo>
                  <a:lnTo>
                    <a:pt x="2832" y="1208"/>
                  </a:lnTo>
                  <a:lnTo>
                    <a:pt x="2841" y="1192"/>
                  </a:lnTo>
                  <a:lnTo>
                    <a:pt x="2846" y="1174"/>
                  </a:lnTo>
                  <a:lnTo>
                    <a:pt x="2846" y="1152"/>
                  </a:lnTo>
                  <a:lnTo>
                    <a:pt x="2845" y="1126"/>
                  </a:lnTo>
                  <a:lnTo>
                    <a:pt x="2841" y="1102"/>
                  </a:lnTo>
                  <a:lnTo>
                    <a:pt x="2835" y="1076"/>
                  </a:lnTo>
                  <a:lnTo>
                    <a:pt x="2832" y="1052"/>
                  </a:lnTo>
                  <a:lnTo>
                    <a:pt x="2828" y="1030"/>
                  </a:lnTo>
                  <a:lnTo>
                    <a:pt x="2826" y="1012"/>
                  </a:lnTo>
                  <a:lnTo>
                    <a:pt x="2828" y="999"/>
                  </a:lnTo>
                  <a:lnTo>
                    <a:pt x="2834" y="990"/>
                  </a:lnTo>
                  <a:lnTo>
                    <a:pt x="2843" y="988"/>
                  </a:lnTo>
                  <a:lnTo>
                    <a:pt x="2854" y="986"/>
                  </a:lnTo>
                  <a:close/>
                  <a:moveTo>
                    <a:pt x="535" y="774"/>
                  </a:moveTo>
                  <a:lnTo>
                    <a:pt x="572" y="781"/>
                  </a:lnTo>
                  <a:lnTo>
                    <a:pt x="608" y="794"/>
                  </a:lnTo>
                  <a:lnTo>
                    <a:pt x="645" y="812"/>
                  </a:lnTo>
                  <a:lnTo>
                    <a:pt x="678" y="834"/>
                  </a:lnTo>
                  <a:lnTo>
                    <a:pt x="703" y="853"/>
                  </a:lnTo>
                  <a:lnTo>
                    <a:pt x="724" y="873"/>
                  </a:lnTo>
                  <a:lnTo>
                    <a:pt x="736" y="891"/>
                  </a:lnTo>
                  <a:lnTo>
                    <a:pt x="740" y="908"/>
                  </a:lnTo>
                  <a:lnTo>
                    <a:pt x="744" y="933"/>
                  </a:lnTo>
                  <a:lnTo>
                    <a:pt x="751" y="952"/>
                  </a:lnTo>
                  <a:lnTo>
                    <a:pt x="766" y="966"/>
                  </a:lnTo>
                  <a:lnTo>
                    <a:pt x="780" y="972"/>
                  </a:lnTo>
                  <a:lnTo>
                    <a:pt x="799" y="972"/>
                  </a:lnTo>
                  <a:lnTo>
                    <a:pt x="821" y="968"/>
                  </a:lnTo>
                  <a:lnTo>
                    <a:pt x="835" y="961"/>
                  </a:lnTo>
                  <a:lnTo>
                    <a:pt x="845" y="952"/>
                  </a:lnTo>
                  <a:lnTo>
                    <a:pt x="848" y="941"/>
                  </a:lnTo>
                  <a:lnTo>
                    <a:pt x="852" y="930"/>
                  </a:lnTo>
                  <a:lnTo>
                    <a:pt x="854" y="920"/>
                  </a:lnTo>
                  <a:lnTo>
                    <a:pt x="859" y="911"/>
                  </a:lnTo>
                  <a:lnTo>
                    <a:pt x="868" y="906"/>
                  </a:lnTo>
                  <a:lnTo>
                    <a:pt x="874" y="904"/>
                  </a:lnTo>
                  <a:lnTo>
                    <a:pt x="879" y="902"/>
                  </a:lnTo>
                  <a:lnTo>
                    <a:pt x="887" y="902"/>
                  </a:lnTo>
                  <a:lnTo>
                    <a:pt x="896" y="904"/>
                  </a:lnTo>
                  <a:lnTo>
                    <a:pt x="912" y="908"/>
                  </a:lnTo>
                  <a:lnTo>
                    <a:pt x="927" y="917"/>
                  </a:lnTo>
                  <a:lnTo>
                    <a:pt x="938" y="931"/>
                  </a:lnTo>
                  <a:lnTo>
                    <a:pt x="949" y="953"/>
                  </a:lnTo>
                  <a:lnTo>
                    <a:pt x="958" y="981"/>
                  </a:lnTo>
                  <a:lnTo>
                    <a:pt x="965" y="1008"/>
                  </a:lnTo>
                  <a:lnTo>
                    <a:pt x="975" y="1036"/>
                  </a:lnTo>
                  <a:lnTo>
                    <a:pt x="984" y="1062"/>
                  </a:lnTo>
                  <a:lnTo>
                    <a:pt x="998" y="1080"/>
                  </a:lnTo>
                  <a:lnTo>
                    <a:pt x="1019" y="1097"/>
                  </a:lnTo>
                  <a:lnTo>
                    <a:pt x="1040" y="1111"/>
                  </a:lnTo>
                  <a:lnTo>
                    <a:pt x="1062" y="1124"/>
                  </a:lnTo>
                  <a:lnTo>
                    <a:pt x="1083" y="1137"/>
                  </a:lnTo>
                  <a:lnTo>
                    <a:pt x="1099" y="1150"/>
                  </a:lnTo>
                  <a:lnTo>
                    <a:pt x="1106" y="1163"/>
                  </a:lnTo>
                  <a:lnTo>
                    <a:pt x="1105" y="1177"/>
                  </a:lnTo>
                  <a:lnTo>
                    <a:pt x="1105" y="1190"/>
                  </a:lnTo>
                  <a:lnTo>
                    <a:pt x="1110" y="1205"/>
                  </a:lnTo>
                  <a:lnTo>
                    <a:pt x="1121" y="1221"/>
                  </a:lnTo>
                  <a:lnTo>
                    <a:pt x="1132" y="1236"/>
                  </a:lnTo>
                  <a:lnTo>
                    <a:pt x="1143" y="1251"/>
                  </a:lnTo>
                  <a:lnTo>
                    <a:pt x="1154" y="1265"/>
                  </a:lnTo>
                  <a:lnTo>
                    <a:pt x="1161" y="1278"/>
                  </a:lnTo>
                  <a:lnTo>
                    <a:pt x="1163" y="1289"/>
                  </a:lnTo>
                  <a:lnTo>
                    <a:pt x="1161" y="1298"/>
                  </a:lnTo>
                  <a:lnTo>
                    <a:pt x="1150" y="1304"/>
                  </a:lnTo>
                  <a:lnTo>
                    <a:pt x="1132" y="1306"/>
                  </a:lnTo>
                  <a:lnTo>
                    <a:pt x="1121" y="1306"/>
                  </a:lnTo>
                  <a:lnTo>
                    <a:pt x="1083" y="1309"/>
                  </a:lnTo>
                  <a:lnTo>
                    <a:pt x="1051" y="1315"/>
                  </a:lnTo>
                  <a:lnTo>
                    <a:pt x="1024" y="1326"/>
                  </a:lnTo>
                  <a:lnTo>
                    <a:pt x="1004" y="1339"/>
                  </a:lnTo>
                  <a:lnTo>
                    <a:pt x="989" y="1353"/>
                  </a:lnTo>
                  <a:lnTo>
                    <a:pt x="976" y="1370"/>
                  </a:lnTo>
                  <a:lnTo>
                    <a:pt x="967" y="1383"/>
                  </a:lnTo>
                  <a:lnTo>
                    <a:pt x="958" y="1388"/>
                  </a:lnTo>
                  <a:lnTo>
                    <a:pt x="949" y="1384"/>
                  </a:lnTo>
                  <a:lnTo>
                    <a:pt x="938" y="1375"/>
                  </a:lnTo>
                  <a:lnTo>
                    <a:pt x="923" y="1362"/>
                  </a:lnTo>
                  <a:lnTo>
                    <a:pt x="907" y="1350"/>
                  </a:lnTo>
                  <a:lnTo>
                    <a:pt x="896" y="1344"/>
                  </a:lnTo>
                  <a:lnTo>
                    <a:pt x="883" y="1342"/>
                  </a:lnTo>
                  <a:lnTo>
                    <a:pt x="868" y="1344"/>
                  </a:lnTo>
                  <a:lnTo>
                    <a:pt x="850" y="1348"/>
                  </a:lnTo>
                  <a:lnTo>
                    <a:pt x="830" y="1351"/>
                  </a:lnTo>
                  <a:lnTo>
                    <a:pt x="812" y="1359"/>
                  </a:lnTo>
                  <a:lnTo>
                    <a:pt x="795" y="1366"/>
                  </a:lnTo>
                  <a:lnTo>
                    <a:pt x="780" y="1373"/>
                  </a:lnTo>
                  <a:lnTo>
                    <a:pt x="771" y="1381"/>
                  </a:lnTo>
                  <a:lnTo>
                    <a:pt x="766" y="1386"/>
                  </a:lnTo>
                  <a:lnTo>
                    <a:pt x="768" y="1390"/>
                  </a:lnTo>
                  <a:lnTo>
                    <a:pt x="779" y="1392"/>
                  </a:lnTo>
                  <a:lnTo>
                    <a:pt x="801" y="1395"/>
                  </a:lnTo>
                  <a:lnTo>
                    <a:pt x="824" y="1405"/>
                  </a:lnTo>
                  <a:lnTo>
                    <a:pt x="846" y="1421"/>
                  </a:lnTo>
                  <a:lnTo>
                    <a:pt x="868" y="1441"/>
                  </a:lnTo>
                  <a:lnTo>
                    <a:pt x="881" y="1460"/>
                  </a:lnTo>
                  <a:lnTo>
                    <a:pt x="890" y="1480"/>
                  </a:lnTo>
                  <a:lnTo>
                    <a:pt x="892" y="1502"/>
                  </a:lnTo>
                  <a:lnTo>
                    <a:pt x="887" y="1524"/>
                  </a:lnTo>
                  <a:lnTo>
                    <a:pt x="874" y="1548"/>
                  </a:lnTo>
                  <a:lnTo>
                    <a:pt x="868" y="1555"/>
                  </a:lnTo>
                  <a:lnTo>
                    <a:pt x="841" y="1583"/>
                  </a:lnTo>
                  <a:lnTo>
                    <a:pt x="815" y="1601"/>
                  </a:lnTo>
                  <a:lnTo>
                    <a:pt x="790" y="1616"/>
                  </a:lnTo>
                  <a:lnTo>
                    <a:pt x="766" y="1628"/>
                  </a:lnTo>
                  <a:lnTo>
                    <a:pt x="736" y="1643"/>
                  </a:lnTo>
                  <a:lnTo>
                    <a:pt x="713" y="1660"/>
                  </a:lnTo>
                  <a:lnTo>
                    <a:pt x="694" y="1685"/>
                  </a:lnTo>
                  <a:lnTo>
                    <a:pt x="678" y="1713"/>
                  </a:lnTo>
                  <a:lnTo>
                    <a:pt x="669" y="1727"/>
                  </a:lnTo>
                  <a:lnTo>
                    <a:pt x="660" y="1742"/>
                  </a:lnTo>
                  <a:lnTo>
                    <a:pt x="647" y="1753"/>
                  </a:lnTo>
                  <a:lnTo>
                    <a:pt x="630" y="1760"/>
                  </a:lnTo>
                  <a:lnTo>
                    <a:pt x="612" y="1762"/>
                  </a:lnTo>
                  <a:lnTo>
                    <a:pt x="594" y="1768"/>
                  </a:lnTo>
                  <a:lnTo>
                    <a:pt x="577" y="1779"/>
                  </a:lnTo>
                  <a:lnTo>
                    <a:pt x="562" y="1799"/>
                  </a:lnTo>
                  <a:lnTo>
                    <a:pt x="550" y="1823"/>
                  </a:lnTo>
                  <a:lnTo>
                    <a:pt x="539" y="1848"/>
                  </a:lnTo>
                  <a:lnTo>
                    <a:pt x="531" y="1876"/>
                  </a:lnTo>
                  <a:lnTo>
                    <a:pt x="526" y="1902"/>
                  </a:lnTo>
                  <a:lnTo>
                    <a:pt x="522" y="1925"/>
                  </a:lnTo>
                  <a:lnTo>
                    <a:pt x="520" y="1946"/>
                  </a:lnTo>
                  <a:lnTo>
                    <a:pt x="517" y="1958"/>
                  </a:lnTo>
                  <a:lnTo>
                    <a:pt x="509" y="1973"/>
                  </a:lnTo>
                  <a:lnTo>
                    <a:pt x="497" y="1986"/>
                  </a:lnTo>
                  <a:lnTo>
                    <a:pt x="475" y="2002"/>
                  </a:lnTo>
                  <a:lnTo>
                    <a:pt x="451" y="2019"/>
                  </a:lnTo>
                  <a:lnTo>
                    <a:pt x="427" y="2035"/>
                  </a:lnTo>
                  <a:lnTo>
                    <a:pt x="407" y="2050"/>
                  </a:lnTo>
                  <a:lnTo>
                    <a:pt x="392" y="2068"/>
                  </a:lnTo>
                  <a:lnTo>
                    <a:pt x="381" y="2094"/>
                  </a:lnTo>
                  <a:lnTo>
                    <a:pt x="377" y="2122"/>
                  </a:lnTo>
                  <a:lnTo>
                    <a:pt x="381" y="2153"/>
                  </a:lnTo>
                  <a:lnTo>
                    <a:pt x="385" y="2188"/>
                  </a:lnTo>
                  <a:lnTo>
                    <a:pt x="387" y="2230"/>
                  </a:lnTo>
                  <a:lnTo>
                    <a:pt x="385" y="2256"/>
                  </a:lnTo>
                  <a:lnTo>
                    <a:pt x="379" y="2272"/>
                  </a:lnTo>
                  <a:lnTo>
                    <a:pt x="372" y="2279"/>
                  </a:lnTo>
                  <a:lnTo>
                    <a:pt x="359" y="2278"/>
                  </a:lnTo>
                  <a:lnTo>
                    <a:pt x="348" y="2268"/>
                  </a:lnTo>
                  <a:lnTo>
                    <a:pt x="334" y="2254"/>
                  </a:lnTo>
                  <a:lnTo>
                    <a:pt x="315" y="2234"/>
                  </a:lnTo>
                  <a:lnTo>
                    <a:pt x="295" y="2208"/>
                  </a:lnTo>
                  <a:lnTo>
                    <a:pt x="269" y="2180"/>
                  </a:lnTo>
                  <a:lnTo>
                    <a:pt x="242" y="2162"/>
                  </a:lnTo>
                  <a:lnTo>
                    <a:pt x="211" y="2153"/>
                  </a:lnTo>
                  <a:lnTo>
                    <a:pt x="182" y="2149"/>
                  </a:lnTo>
                  <a:lnTo>
                    <a:pt x="152" y="2149"/>
                  </a:lnTo>
                  <a:lnTo>
                    <a:pt x="123" y="2155"/>
                  </a:lnTo>
                  <a:lnTo>
                    <a:pt x="97" y="2162"/>
                  </a:lnTo>
                  <a:lnTo>
                    <a:pt x="75" y="2169"/>
                  </a:lnTo>
                  <a:lnTo>
                    <a:pt x="51" y="2177"/>
                  </a:lnTo>
                  <a:lnTo>
                    <a:pt x="26" y="2177"/>
                  </a:lnTo>
                  <a:lnTo>
                    <a:pt x="0" y="2177"/>
                  </a:lnTo>
                  <a:lnTo>
                    <a:pt x="4" y="2083"/>
                  </a:lnTo>
                  <a:lnTo>
                    <a:pt x="11" y="1993"/>
                  </a:lnTo>
                  <a:lnTo>
                    <a:pt x="26" y="1881"/>
                  </a:lnTo>
                  <a:lnTo>
                    <a:pt x="46" y="1773"/>
                  </a:lnTo>
                  <a:lnTo>
                    <a:pt x="70" y="1665"/>
                  </a:lnTo>
                  <a:lnTo>
                    <a:pt x="99" y="1560"/>
                  </a:lnTo>
                  <a:lnTo>
                    <a:pt x="136" y="1456"/>
                  </a:lnTo>
                  <a:lnTo>
                    <a:pt x="154" y="1406"/>
                  </a:lnTo>
                  <a:lnTo>
                    <a:pt x="185" y="1331"/>
                  </a:lnTo>
                  <a:lnTo>
                    <a:pt x="218" y="1258"/>
                  </a:lnTo>
                  <a:lnTo>
                    <a:pt x="244" y="1208"/>
                  </a:lnTo>
                  <a:lnTo>
                    <a:pt x="280" y="1139"/>
                  </a:lnTo>
                  <a:lnTo>
                    <a:pt x="301" y="1148"/>
                  </a:lnTo>
                  <a:lnTo>
                    <a:pt x="315" y="1161"/>
                  </a:lnTo>
                  <a:lnTo>
                    <a:pt x="324" y="1174"/>
                  </a:lnTo>
                  <a:lnTo>
                    <a:pt x="328" y="1188"/>
                  </a:lnTo>
                  <a:lnTo>
                    <a:pt x="330" y="1208"/>
                  </a:lnTo>
                  <a:lnTo>
                    <a:pt x="337" y="1234"/>
                  </a:lnTo>
                  <a:lnTo>
                    <a:pt x="348" y="1260"/>
                  </a:lnTo>
                  <a:lnTo>
                    <a:pt x="359" y="1282"/>
                  </a:lnTo>
                  <a:lnTo>
                    <a:pt x="368" y="1293"/>
                  </a:lnTo>
                  <a:lnTo>
                    <a:pt x="376" y="1300"/>
                  </a:lnTo>
                  <a:lnTo>
                    <a:pt x="383" y="1300"/>
                  </a:lnTo>
                  <a:lnTo>
                    <a:pt x="390" y="1296"/>
                  </a:lnTo>
                  <a:lnTo>
                    <a:pt x="394" y="1284"/>
                  </a:lnTo>
                  <a:lnTo>
                    <a:pt x="398" y="1263"/>
                  </a:lnTo>
                  <a:lnTo>
                    <a:pt x="399" y="1221"/>
                  </a:lnTo>
                  <a:lnTo>
                    <a:pt x="401" y="1185"/>
                  </a:lnTo>
                  <a:lnTo>
                    <a:pt x="405" y="1155"/>
                  </a:lnTo>
                  <a:lnTo>
                    <a:pt x="410" y="1130"/>
                  </a:lnTo>
                  <a:lnTo>
                    <a:pt x="418" y="1111"/>
                  </a:lnTo>
                  <a:lnTo>
                    <a:pt x="429" y="1100"/>
                  </a:lnTo>
                  <a:lnTo>
                    <a:pt x="445" y="1097"/>
                  </a:lnTo>
                  <a:lnTo>
                    <a:pt x="458" y="1095"/>
                  </a:lnTo>
                  <a:lnTo>
                    <a:pt x="464" y="1087"/>
                  </a:lnTo>
                  <a:lnTo>
                    <a:pt x="465" y="1076"/>
                  </a:lnTo>
                  <a:lnTo>
                    <a:pt x="462" y="1060"/>
                  </a:lnTo>
                  <a:lnTo>
                    <a:pt x="456" y="1041"/>
                  </a:lnTo>
                  <a:lnTo>
                    <a:pt x="449" y="1019"/>
                  </a:lnTo>
                  <a:lnTo>
                    <a:pt x="442" y="994"/>
                  </a:lnTo>
                  <a:lnTo>
                    <a:pt x="434" y="968"/>
                  </a:lnTo>
                  <a:lnTo>
                    <a:pt x="425" y="913"/>
                  </a:lnTo>
                  <a:lnTo>
                    <a:pt x="473" y="849"/>
                  </a:lnTo>
                  <a:lnTo>
                    <a:pt x="497" y="821"/>
                  </a:lnTo>
                  <a:lnTo>
                    <a:pt x="535" y="774"/>
                  </a:lnTo>
                  <a:close/>
                  <a:moveTo>
                    <a:pt x="3762" y="623"/>
                  </a:moveTo>
                  <a:lnTo>
                    <a:pt x="3788" y="649"/>
                  </a:lnTo>
                  <a:lnTo>
                    <a:pt x="3861" y="726"/>
                  </a:lnTo>
                  <a:lnTo>
                    <a:pt x="3914" y="787"/>
                  </a:lnTo>
                  <a:lnTo>
                    <a:pt x="3964" y="849"/>
                  </a:lnTo>
                  <a:lnTo>
                    <a:pt x="4028" y="935"/>
                  </a:lnTo>
                  <a:lnTo>
                    <a:pt x="4088" y="1023"/>
                  </a:lnTo>
                  <a:lnTo>
                    <a:pt x="4143" y="1115"/>
                  </a:lnTo>
                  <a:lnTo>
                    <a:pt x="4194" y="1208"/>
                  </a:lnTo>
                  <a:lnTo>
                    <a:pt x="4218" y="1258"/>
                  </a:lnTo>
                  <a:lnTo>
                    <a:pt x="4253" y="1331"/>
                  </a:lnTo>
                  <a:lnTo>
                    <a:pt x="4284" y="1406"/>
                  </a:lnTo>
                  <a:lnTo>
                    <a:pt x="4302" y="1456"/>
                  </a:lnTo>
                  <a:lnTo>
                    <a:pt x="4337" y="1560"/>
                  </a:lnTo>
                  <a:lnTo>
                    <a:pt x="4367" y="1665"/>
                  </a:lnTo>
                  <a:lnTo>
                    <a:pt x="4392" y="1773"/>
                  </a:lnTo>
                  <a:lnTo>
                    <a:pt x="4412" y="1881"/>
                  </a:lnTo>
                  <a:lnTo>
                    <a:pt x="4425" y="1993"/>
                  </a:lnTo>
                  <a:lnTo>
                    <a:pt x="4434" y="2107"/>
                  </a:lnTo>
                  <a:lnTo>
                    <a:pt x="4438" y="2221"/>
                  </a:lnTo>
                  <a:lnTo>
                    <a:pt x="4434" y="2334"/>
                  </a:lnTo>
                  <a:lnTo>
                    <a:pt x="4425" y="2448"/>
                  </a:lnTo>
                  <a:lnTo>
                    <a:pt x="4412" y="2558"/>
                  </a:lnTo>
                  <a:lnTo>
                    <a:pt x="4392" y="2668"/>
                  </a:lnTo>
                  <a:lnTo>
                    <a:pt x="4383" y="2714"/>
                  </a:lnTo>
                  <a:lnTo>
                    <a:pt x="4381" y="2709"/>
                  </a:lnTo>
                  <a:lnTo>
                    <a:pt x="4356" y="2657"/>
                  </a:lnTo>
                  <a:lnTo>
                    <a:pt x="4324" y="2604"/>
                  </a:lnTo>
                  <a:lnTo>
                    <a:pt x="4291" y="2553"/>
                  </a:lnTo>
                  <a:lnTo>
                    <a:pt x="4257" y="2499"/>
                  </a:lnTo>
                  <a:lnTo>
                    <a:pt x="4226" y="2448"/>
                  </a:lnTo>
                  <a:lnTo>
                    <a:pt x="4198" y="2399"/>
                  </a:lnTo>
                  <a:lnTo>
                    <a:pt x="4176" y="2351"/>
                  </a:lnTo>
                  <a:lnTo>
                    <a:pt x="4158" y="2301"/>
                  </a:lnTo>
                  <a:lnTo>
                    <a:pt x="4138" y="2259"/>
                  </a:lnTo>
                  <a:lnTo>
                    <a:pt x="4117" y="2224"/>
                  </a:lnTo>
                  <a:lnTo>
                    <a:pt x="4097" y="2199"/>
                  </a:lnTo>
                  <a:lnTo>
                    <a:pt x="4077" y="2186"/>
                  </a:lnTo>
                  <a:lnTo>
                    <a:pt x="4059" y="2182"/>
                  </a:lnTo>
                  <a:lnTo>
                    <a:pt x="4052" y="2188"/>
                  </a:lnTo>
                  <a:lnTo>
                    <a:pt x="4048" y="2201"/>
                  </a:lnTo>
                  <a:lnTo>
                    <a:pt x="4050" y="2219"/>
                  </a:lnTo>
                  <a:lnTo>
                    <a:pt x="4055" y="2241"/>
                  </a:lnTo>
                  <a:lnTo>
                    <a:pt x="4063" y="2268"/>
                  </a:lnTo>
                  <a:lnTo>
                    <a:pt x="4074" y="2298"/>
                  </a:lnTo>
                  <a:lnTo>
                    <a:pt x="4086" y="2329"/>
                  </a:lnTo>
                  <a:lnTo>
                    <a:pt x="4099" y="2360"/>
                  </a:lnTo>
                  <a:lnTo>
                    <a:pt x="4112" y="2391"/>
                  </a:lnTo>
                  <a:lnTo>
                    <a:pt x="4125" y="2419"/>
                  </a:lnTo>
                  <a:lnTo>
                    <a:pt x="4138" y="2444"/>
                  </a:lnTo>
                  <a:lnTo>
                    <a:pt x="4149" y="2465"/>
                  </a:lnTo>
                  <a:lnTo>
                    <a:pt x="4169" y="2505"/>
                  </a:lnTo>
                  <a:lnTo>
                    <a:pt x="4191" y="2551"/>
                  </a:lnTo>
                  <a:lnTo>
                    <a:pt x="4215" y="2597"/>
                  </a:lnTo>
                  <a:lnTo>
                    <a:pt x="4240" y="2644"/>
                  </a:lnTo>
                  <a:lnTo>
                    <a:pt x="4269" y="2688"/>
                  </a:lnTo>
                  <a:lnTo>
                    <a:pt x="4301" y="2725"/>
                  </a:lnTo>
                  <a:lnTo>
                    <a:pt x="4334" y="2754"/>
                  </a:lnTo>
                  <a:lnTo>
                    <a:pt x="4367" y="2778"/>
                  </a:lnTo>
                  <a:lnTo>
                    <a:pt x="4337" y="2883"/>
                  </a:lnTo>
                  <a:lnTo>
                    <a:pt x="4302" y="2984"/>
                  </a:lnTo>
                  <a:lnTo>
                    <a:pt x="4262" y="3084"/>
                  </a:lnTo>
                  <a:lnTo>
                    <a:pt x="4218" y="3184"/>
                  </a:lnTo>
                  <a:lnTo>
                    <a:pt x="4194" y="3231"/>
                  </a:lnTo>
                  <a:lnTo>
                    <a:pt x="4143" y="3327"/>
                  </a:lnTo>
                  <a:lnTo>
                    <a:pt x="4108" y="3383"/>
                  </a:lnTo>
                  <a:lnTo>
                    <a:pt x="4039" y="3490"/>
                  </a:lnTo>
                  <a:lnTo>
                    <a:pt x="3964" y="3592"/>
                  </a:lnTo>
                  <a:lnTo>
                    <a:pt x="3914" y="3655"/>
                  </a:lnTo>
                  <a:lnTo>
                    <a:pt x="3861" y="3714"/>
                  </a:lnTo>
                  <a:lnTo>
                    <a:pt x="3788" y="3791"/>
                  </a:lnTo>
                  <a:lnTo>
                    <a:pt x="3711" y="3864"/>
                  </a:lnTo>
                  <a:lnTo>
                    <a:pt x="3628" y="3935"/>
                  </a:lnTo>
                  <a:lnTo>
                    <a:pt x="3542" y="4003"/>
                  </a:lnTo>
                  <a:lnTo>
                    <a:pt x="3453" y="4066"/>
                  </a:lnTo>
                  <a:lnTo>
                    <a:pt x="3447" y="4044"/>
                  </a:lnTo>
                  <a:lnTo>
                    <a:pt x="3443" y="4022"/>
                  </a:lnTo>
                  <a:lnTo>
                    <a:pt x="3438" y="3992"/>
                  </a:lnTo>
                  <a:lnTo>
                    <a:pt x="3432" y="3963"/>
                  </a:lnTo>
                  <a:lnTo>
                    <a:pt x="3423" y="3934"/>
                  </a:lnTo>
                  <a:lnTo>
                    <a:pt x="3409" y="3902"/>
                  </a:lnTo>
                  <a:lnTo>
                    <a:pt x="3390" y="3877"/>
                  </a:lnTo>
                  <a:lnTo>
                    <a:pt x="3376" y="3847"/>
                  </a:lnTo>
                  <a:lnTo>
                    <a:pt x="3361" y="3814"/>
                  </a:lnTo>
                  <a:lnTo>
                    <a:pt x="3348" y="3781"/>
                  </a:lnTo>
                  <a:lnTo>
                    <a:pt x="3341" y="3748"/>
                  </a:lnTo>
                  <a:lnTo>
                    <a:pt x="3335" y="3715"/>
                  </a:lnTo>
                  <a:lnTo>
                    <a:pt x="3337" y="3684"/>
                  </a:lnTo>
                  <a:lnTo>
                    <a:pt x="3343" y="3657"/>
                  </a:lnTo>
                  <a:lnTo>
                    <a:pt x="3357" y="3631"/>
                  </a:lnTo>
                  <a:lnTo>
                    <a:pt x="3378" y="3604"/>
                  </a:lnTo>
                  <a:lnTo>
                    <a:pt x="3392" y="3578"/>
                  </a:lnTo>
                  <a:lnTo>
                    <a:pt x="3403" y="3554"/>
                  </a:lnTo>
                  <a:lnTo>
                    <a:pt x="3409" y="3536"/>
                  </a:lnTo>
                  <a:lnTo>
                    <a:pt x="3409" y="3517"/>
                  </a:lnTo>
                  <a:lnTo>
                    <a:pt x="3401" y="3504"/>
                  </a:lnTo>
                  <a:lnTo>
                    <a:pt x="3385" y="3495"/>
                  </a:lnTo>
                  <a:lnTo>
                    <a:pt x="3374" y="3488"/>
                  </a:lnTo>
                  <a:lnTo>
                    <a:pt x="3368" y="3477"/>
                  </a:lnTo>
                  <a:lnTo>
                    <a:pt x="3368" y="3462"/>
                  </a:lnTo>
                  <a:lnTo>
                    <a:pt x="3370" y="3446"/>
                  </a:lnTo>
                  <a:lnTo>
                    <a:pt x="3372" y="3427"/>
                  </a:lnTo>
                  <a:lnTo>
                    <a:pt x="3374" y="3409"/>
                  </a:lnTo>
                  <a:lnTo>
                    <a:pt x="3370" y="3391"/>
                  </a:lnTo>
                  <a:lnTo>
                    <a:pt x="3361" y="3374"/>
                  </a:lnTo>
                  <a:lnTo>
                    <a:pt x="3346" y="3360"/>
                  </a:lnTo>
                  <a:lnTo>
                    <a:pt x="3321" y="3339"/>
                  </a:lnTo>
                  <a:lnTo>
                    <a:pt x="3299" y="3312"/>
                  </a:lnTo>
                  <a:lnTo>
                    <a:pt x="3280" y="3281"/>
                  </a:lnTo>
                  <a:lnTo>
                    <a:pt x="3268" y="3248"/>
                  </a:lnTo>
                  <a:lnTo>
                    <a:pt x="3262" y="3217"/>
                  </a:lnTo>
                  <a:lnTo>
                    <a:pt x="3260" y="3187"/>
                  </a:lnTo>
                  <a:lnTo>
                    <a:pt x="3266" y="3162"/>
                  </a:lnTo>
                  <a:lnTo>
                    <a:pt x="3273" y="3143"/>
                  </a:lnTo>
                  <a:lnTo>
                    <a:pt x="3279" y="3123"/>
                  </a:lnTo>
                  <a:lnTo>
                    <a:pt x="3280" y="3103"/>
                  </a:lnTo>
                  <a:lnTo>
                    <a:pt x="3280" y="3084"/>
                  </a:lnTo>
                  <a:lnTo>
                    <a:pt x="3279" y="3066"/>
                  </a:lnTo>
                  <a:lnTo>
                    <a:pt x="3271" y="3050"/>
                  </a:lnTo>
                  <a:lnTo>
                    <a:pt x="3258" y="3037"/>
                  </a:lnTo>
                  <a:lnTo>
                    <a:pt x="3242" y="3028"/>
                  </a:lnTo>
                  <a:lnTo>
                    <a:pt x="3222" y="3026"/>
                  </a:lnTo>
                  <a:lnTo>
                    <a:pt x="3185" y="3022"/>
                  </a:lnTo>
                  <a:lnTo>
                    <a:pt x="3147" y="3015"/>
                  </a:lnTo>
                  <a:lnTo>
                    <a:pt x="3105" y="3004"/>
                  </a:lnTo>
                  <a:lnTo>
                    <a:pt x="3063" y="2995"/>
                  </a:lnTo>
                  <a:lnTo>
                    <a:pt x="3020" y="2987"/>
                  </a:lnTo>
                  <a:lnTo>
                    <a:pt x="2984" y="2987"/>
                  </a:lnTo>
                  <a:lnTo>
                    <a:pt x="2969" y="2989"/>
                  </a:lnTo>
                  <a:lnTo>
                    <a:pt x="2956" y="2991"/>
                  </a:lnTo>
                  <a:lnTo>
                    <a:pt x="2901" y="3007"/>
                  </a:lnTo>
                  <a:lnTo>
                    <a:pt x="2854" y="3022"/>
                  </a:lnTo>
                  <a:lnTo>
                    <a:pt x="2813" y="3035"/>
                  </a:lnTo>
                  <a:lnTo>
                    <a:pt x="2775" y="3048"/>
                  </a:lnTo>
                  <a:lnTo>
                    <a:pt x="2758" y="3050"/>
                  </a:lnTo>
                  <a:lnTo>
                    <a:pt x="2740" y="3046"/>
                  </a:lnTo>
                  <a:lnTo>
                    <a:pt x="2722" y="3037"/>
                  </a:lnTo>
                  <a:lnTo>
                    <a:pt x="2702" y="3024"/>
                  </a:lnTo>
                  <a:lnTo>
                    <a:pt x="2667" y="2995"/>
                  </a:lnTo>
                  <a:lnTo>
                    <a:pt x="2630" y="2962"/>
                  </a:lnTo>
                  <a:lnTo>
                    <a:pt x="2594" y="2925"/>
                  </a:lnTo>
                  <a:lnTo>
                    <a:pt x="2559" y="2890"/>
                  </a:lnTo>
                  <a:lnTo>
                    <a:pt x="2524" y="2855"/>
                  </a:lnTo>
                  <a:lnTo>
                    <a:pt x="2484" y="2815"/>
                  </a:lnTo>
                  <a:lnTo>
                    <a:pt x="2445" y="2776"/>
                  </a:lnTo>
                  <a:lnTo>
                    <a:pt x="2427" y="2753"/>
                  </a:lnTo>
                  <a:lnTo>
                    <a:pt x="2410" y="2731"/>
                  </a:lnTo>
                  <a:lnTo>
                    <a:pt x="2399" y="2709"/>
                  </a:lnTo>
                  <a:lnTo>
                    <a:pt x="2394" y="2687"/>
                  </a:lnTo>
                  <a:lnTo>
                    <a:pt x="2396" y="2668"/>
                  </a:lnTo>
                  <a:lnTo>
                    <a:pt x="2407" y="2652"/>
                  </a:lnTo>
                  <a:lnTo>
                    <a:pt x="2410" y="2648"/>
                  </a:lnTo>
                  <a:lnTo>
                    <a:pt x="2427" y="2632"/>
                  </a:lnTo>
                  <a:lnTo>
                    <a:pt x="2434" y="2617"/>
                  </a:lnTo>
                  <a:lnTo>
                    <a:pt x="2438" y="2606"/>
                  </a:lnTo>
                  <a:lnTo>
                    <a:pt x="2436" y="2595"/>
                  </a:lnTo>
                  <a:lnTo>
                    <a:pt x="2429" y="2586"/>
                  </a:lnTo>
                  <a:lnTo>
                    <a:pt x="2421" y="2575"/>
                  </a:lnTo>
                  <a:lnTo>
                    <a:pt x="2410" y="2564"/>
                  </a:lnTo>
                  <a:lnTo>
                    <a:pt x="2401" y="2551"/>
                  </a:lnTo>
                  <a:lnTo>
                    <a:pt x="2394" y="2532"/>
                  </a:lnTo>
                  <a:lnTo>
                    <a:pt x="2392" y="2512"/>
                  </a:lnTo>
                  <a:lnTo>
                    <a:pt x="2394" y="2488"/>
                  </a:lnTo>
                  <a:lnTo>
                    <a:pt x="2401" y="2465"/>
                  </a:lnTo>
                  <a:lnTo>
                    <a:pt x="2410" y="2443"/>
                  </a:lnTo>
                  <a:lnTo>
                    <a:pt x="2425" y="2415"/>
                  </a:lnTo>
                  <a:lnTo>
                    <a:pt x="2442" y="2391"/>
                  </a:lnTo>
                  <a:lnTo>
                    <a:pt x="2445" y="2382"/>
                  </a:lnTo>
                  <a:lnTo>
                    <a:pt x="2456" y="2362"/>
                  </a:lnTo>
                  <a:lnTo>
                    <a:pt x="2464" y="2336"/>
                  </a:lnTo>
                  <a:lnTo>
                    <a:pt x="2475" y="2309"/>
                  </a:lnTo>
                  <a:lnTo>
                    <a:pt x="2484" y="2281"/>
                  </a:lnTo>
                  <a:lnTo>
                    <a:pt x="2495" y="2254"/>
                  </a:lnTo>
                  <a:lnTo>
                    <a:pt x="2509" y="2234"/>
                  </a:lnTo>
                  <a:lnTo>
                    <a:pt x="2524" y="2217"/>
                  </a:lnTo>
                  <a:lnTo>
                    <a:pt x="2542" y="2210"/>
                  </a:lnTo>
                  <a:lnTo>
                    <a:pt x="2570" y="2202"/>
                  </a:lnTo>
                  <a:lnTo>
                    <a:pt x="2592" y="2188"/>
                  </a:lnTo>
                  <a:lnTo>
                    <a:pt x="2612" y="2168"/>
                  </a:lnTo>
                  <a:lnTo>
                    <a:pt x="2627" y="2144"/>
                  </a:lnTo>
                  <a:lnTo>
                    <a:pt x="2636" y="2118"/>
                  </a:lnTo>
                  <a:lnTo>
                    <a:pt x="2639" y="2091"/>
                  </a:lnTo>
                  <a:lnTo>
                    <a:pt x="2643" y="2063"/>
                  </a:lnTo>
                  <a:lnTo>
                    <a:pt x="2656" y="2035"/>
                  </a:lnTo>
                  <a:lnTo>
                    <a:pt x="2676" y="2013"/>
                  </a:lnTo>
                  <a:lnTo>
                    <a:pt x="2702" y="1995"/>
                  </a:lnTo>
                  <a:lnTo>
                    <a:pt x="2735" y="1984"/>
                  </a:lnTo>
                  <a:lnTo>
                    <a:pt x="2758" y="1977"/>
                  </a:lnTo>
                  <a:lnTo>
                    <a:pt x="2780" y="1966"/>
                  </a:lnTo>
                  <a:lnTo>
                    <a:pt x="2801" y="1955"/>
                  </a:lnTo>
                  <a:lnTo>
                    <a:pt x="2824" y="1946"/>
                  </a:lnTo>
                  <a:lnTo>
                    <a:pt x="2854" y="1936"/>
                  </a:lnTo>
                  <a:lnTo>
                    <a:pt x="2878" y="1935"/>
                  </a:lnTo>
                  <a:lnTo>
                    <a:pt x="2905" y="1933"/>
                  </a:lnTo>
                  <a:lnTo>
                    <a:pt x="2934" y="1931"/>
                  </a:lnTo>
                  <a:lnTo>
                    <a:pt x="2960" y="1927"/>
                  </a:lnTo>
                  <a:lnTo>
                    <a:pt x="2984" y="1920"/>
                  </a:lnTo>
                  <a:lnTo>
                    <a:pt x="3020" y="1907"/>
                  </a:lnTo>
                  <a:lnTo>
                    <a:pt x="3046" y="1898"/>
                  </a:lnTo>
                  <a:lnTo>
                    <a:pt x="3073" y="1891"/>
                  </a:lnTo>
                  <a:lnTo>
                    <a:pt x="3105" y="1883"/>
                  </a:lnTo>
                  <a:lnTo>
                    <a:pt x="3141" y="1881"/>
                  </a:lnTo>
                  <a:lnTo>
                    <a:pt x="3172" y="1881"/>
                  </a:lnTo>
                  <a:lnTo>
                    <a:pt x="3202" y="1878"/>
                  </a:lnTo>
                  <a:lnTo>
                    <a:pt x="3229" y="1876"/>
                  </a:lnTo>
                  <a:lnTo>
                    <a:pt x="3253" y="1874"/>
                  </a:lnTo>
                  <a:lnTo>
                    <a:pt x="3275" y="1872"/>
                  </a:lnTo>
                  <a:lnTo>
                    <a:pt x="3291" y="1874"/>
                  </a:lnTo>
                  <a:lnTo>
                    <a:pt x="3304" y="1880"/>
                  </a:lnTo>
                  <a:lnTo>
                    <a:pt x="3313" y="1891"/>
                  </a:lnTo>
                  <a:lnTo>
                    <a:pt x="3319" y="1905"/>
                  </a:lnTo>
                  <a:lnTo>
                    <a:pt x="3317" y="1927"/>
                  </a:lnTo>
                  <a:lnTo>
                    <a:pt x="3317" y="1953"/>
                  </a:lnTo>
                  <a:lnTo>
                    <a:pt x="3324" y="1973"/>
                  </a:lnTo>
                  <a:lnTo>
                    <a:pt x="3337" y="1991"/>
                  </a:lnTo>
                  <a:lnTo>
                    <a:pt x="3354" y="2006"/>
                  </a:lnTo>
                  <a:lnTo>
                    <a:pt x="3376" y="2017"/>
                  </a:lnTo>
                  <a:lnTo>
                    <a:pt x="3398" y="2028"/>
                  </a:lnTo>
                  <a:lnTo>
                    <a:pt x="3420" y="2039"/>
                  </a:lnTo>
                  <a:lnTo>
                    <a:pt x="3443" y="2048"/>
                  </a:lnTo>
                  <a:lnTo>
                    <a:pt x="3456" y="2056"/>
                  </a:lnTo>
                  <a:lnTo>
                    <a:pt x="3469" y="2063"/>
                  </a:lnTo>
                  <a:lnTo>
                    <a:pt x="3493" y="2076"/>
                  </a:lnTo>
                  <a:lnTo>
                    <a:pt x="3515" y="2089"/>
                  </a:lnTo>
                  <a:lnTo>
                    <a:pt x="3539" y="2100"/>
                  </a:lnTo>
                  <a:lnTo>
                    <a:pt x="3563" y="2109"/>
                  </a:lnTo>
                  <a:lnTo>
                    <a:pt x="3583" y="2114"/>
                  </a:lnTo>
                  <a:lnTo>
                    <a:pt x="3603" y="2113"/>
                  </a:lnTo>
                  <a:lnTo>
                    <a:pt x="3617" y="2107"/>
                  </a:lnTo>
                  <a:lnTo>
                    <a:pt x="3628" y="2091"/>
                  </a:lnTo>
                  <a:lnTo>
                    <a:pt x="3641" y="2074"/>
                  </a:lnTo>
                  <a:lnTo>
                    <a:pt x="3660" y="2063"/>
                  </a:lnTo>
                  <a:lnTo>
                    <a:pt x="3680" y="2057"/>
                  </a:lnTo>
                  <a:lnTo>
                    <a:pt x="3705" y="2057"/>
                  </a:lnTo>
                  <a:lnTo>
                    <a:pt x="3733" y="2059"/>
                  </a:lnTo>
                  <a:lnTo>
                    <a:pt x="3760" y="2063"/>
                  </a:lnTo>
                  <a:lnTo>
                    <a:pt x="3786" y="2068"/>
                  </a:lnTo>
                  <a:lnTo>
                    <a:pt x="3821" y="2076"/>
                  </a:lnTo>
                  <a:lnTo>
                    <a:pt x="3861" y="2083"/>
                  </a:lnTo>
                  <a:lnTo>
                    <a:pt x="3901" y="2089"/>
                  </a:lnTo>
                  <a:lnTo>
                    <a:pt x="3943" y="2094"/>
                  </a:lnTo>
                  <a:lnTo>
                    <a:pt x="3980" y="2098"/>
                  </a:lnTo>
                  <a:lnTo>
                    <a:pt x="4013" y="2098"/>
                  </a:lnTo>
                  <a:lnTo>
                    <a:pt x="4046" y="2089"/>
                  </a:lnTo>
                  <a:lnTo>
                    <a:pt x="4077" y="2072"/>
                  </a:lnTo>
                  <a:lnTo>
                    <a:pt x="4103" y="2048"/>
                  </a:lnTo>
                  <a:lnTo>
                    <a:pt x="4123" y="2019"/>
                  </a:lnTo>
                  <a:lnTo>
                    <a:pt x="4132" y="1990"/>
                  </a:lnTo>
                  <a:lnTo>
                    <a:pt x="4130" y="1971"/>
                  </a:lnTo>
                  <a:lnTo>
                    <a:pt x="4121" y="1958"/>
                  </a:lnTo>
                  <a:lnTo>
                    <a:pt x="4106" y="1947"/>
                  </a:lnTo>
                  <a:lnTo>
                    <a:pt x="4084" y="1938"/>
                  </a:lnTo>
                  <a:lnTo>
                    <a:pt x="4059" y="1933"/>
                  </a:lnTo>
                  <a:lnTo>
                    <a:pt x="4030" y="1929"/>
                  </a:lnTo>
                  <a:lnTo>
                    <a:pt x="3997" y="1927"/>
                  </a:lnTo>
                  <a:lnTo>
                    <a:pt x="3962" y="1927"/>
                  </a:lnTo>
                  <a:lnTo>
                    <a:pt x="3923" y="1925"/>
                  </a:lnTo>
                  <a:lnTo>
                    <a:pt x="3894" y="1922"/>
                  </a:lnTo>
                  <a:lnTo>
                    <a:pt x="3870" y="1916"/>
                  </a:lnTo>
                  <a:lnTo>
                    <a:pt x="3852" y="1907"/>
                  </a:lnTo>
                  <a:lnTo>
                    <a:pt x="3843" y="1892"/>
                  </a:lnTo>
                  <a:lnTo>
                    <a:pt x="3839" y="1876"/>
                  </a:lnTo>
                  <a:lnTo>
                    <a:pt x="3843" y="1854"/>
                  </a:lnTo>
                  <a:lnTo>
                    <a:pt x="3856" y="1821"/>
                  </a:lnTo>
                  <a:lnTo>
                    <a:pt x="3870" y="1790"/>
                  </a:lnTo>
                  <a:lnTo>
                    <a:pt x="3889" y="1762"/>
                  </a:lnTo>
                  <a:lnTo>
                    <a:pt x="3911" y="1740"/>
                  </a:lnTo>
                  <a:lnTo>
                    <a:pt x="3940" y="1724"/>
                  </a:lnTo>
                  <a:lnTo>
                    <a:pt x="3989" y="1704"/>
                  </a:lnTo>
                  <a:lnTo>
                    <a:pt x="4037" y="1693"/>
                  </a:lnTo>
                  <a:lnTo>
                    <a:pt x="4086" y="1689"/>
                  </a:lnTo>
                  <a:lnTo>
                    <a:pt x="4119" y="1693"/>
                  </a:lnTo>
                  <a:lnTo>
                    <a:pt x="4154" y="1704"/>
                  </a:lnTo>
                  <a:lnTo>
                    <a:pt x="4191" y="1715"/>
                  </a:lnTo>
                  <a:lnTo>
                    <a:pt x="4229" y="1722"/>
                  </a:lnTo>
                  <a:lnTo>
                    <a:pt x="4268" y="1724"/>
                  </a:lnTo>
                  <a:lnTo>
                    <a:pt x="4286" y="1718"/>
                  </a:lnTo>
                  <a:lnTo>
                    <a:pt x="4299" y="1711"/>
                  </a:lnTo>
                  <a:lnTo>
                    <a:pt x="4304" y="1700"/>
                  </a:lnTo>
                  <a:lnTo>
                    <a:pt x="4302" y="1685"/>
                  </a:lnTo>
                  <a:lnTo>
                    <a:pt x="4295" y="1671"/>
                  </a:lnTo>
                  <a:lnTo>
                    <a:pt x="4282" y="1656"/>
                  </a:lnTo>
                  <a:lnTo>
                    <a:pt x="4266" y="1641"/>
                  </a:lnTo>
                  <a:lnTo>
                    <a:pt x="4244" y="1627"/>
                  </a:lnTo>
                  <a:lnTo>
                    <a:pt x="4218" y="1608"/>
                  </a:lnTo>
                  <a:lnTo>
                    <a:pt x="4200" y="1588"/>
                  </a:lnTo>
                  <a:lnTo>
                    <a:pt x="4189" y="1568"/>
                  </a:lnTo>
                  <a:lnTo>
                    <a:pt x="4185" y="1548"/>
                  </a:lnTo>
                  <a:lnTo>
                    <a:pt x="4189" y="1529"/>
                  </a:lnTo>
                  <a:lnTo>
                    <a:pt x="4200" y="1515"/>
                  </a:lnTo>
                  <a:lnTo>
                    <a:pt x="4209" y="1502"/>
                  </a:lnTo>
                  <a:lnTo>
                    <a:pt x="4213" y="1491"/>
                  </a:lnTo>
                  <a:lnTo>
                    <a:pt x="4211" y="1482"/>
                  </a:lnTo>
                  <a:lnTo>
                    <a:pt x="4205" y="1476"/>
                  </a:lnTo>
                  <a:lnTo>
                    <a:pt x="4194" y="1474"/>
                  </a:lnTo>
                  <a:lnTo>
                    <a:pt x="4180" y="1476"/>
                  </a:lnTo>
                  <a:lnTo>
                    <a:pt x="4160" y="1485"/>
                  </a:lnTo>
                  <a:lnTo>
                    <a:pt x="4141" y="1496"/>
                  </a:lnTo>
                  <a:lnTo>
                    <a:pt x="4123" y="1509"/>
                  </a:lnTo>
                  <a:lnTo>
                    <a:pt x="4105" y="1522"/>
                  </a:lnTo>
                  <a:lnTo>
                    <a:pt x="4086" y="1535"/>
                  </a:lnTo>
                  <a:lnTo>
                    <a:pt x="4068" y="1546"/>
                  </a:lnTo>
                  <a:lnTo>
                    <a:pt x="4052" y="1553"/>
                  </a:lnTo>
                  <a:lnTo>
                    <a:pt x="4037" y="1557"/>
                  </a:lnTo>
                  <a:lnTo>
                    <a:pt x="4026" y="1553"/>
                  </a:lnTo>
                  <a:lnTo>
                    <a:pt x="4019" y="1542"/>
                  </a:lnTo>
                  <a:lnTo>
                    <a:pt x="4009" y="1529"/>
                  </a:lnTo>
                  <a:lnTo>
                    <a:pt x="3993" y="1524"/>
                  </a:lnTo>
                  <a:lnTo>
                    <a:pt x="3975" y="1524"/>
                  </a:lnTo>
                  <a:lnTo>
                    <a:pt x="3953" y="1527"/>
                  </a:lnTo>
                  <a:lnTo>
                    <a:pt x="3931" y="1535"/>
                  </a:lnTo>
                  <a:lnTo>
                    <a:pt x="3911" y="1548"/>
                  </a:lnTo>
                  <a:lnTo>
                    <a:pt x="3892" y="1564"/>
                  </a:lnTo>
                  <a:lnTo>
                    <a:pt x="3881" y="1583"/>
                  </a:lnTo>
                  <a:lnTo>
                    <a:pt x="3878" y="1605"/>
                  </a:lnTo>
                  <a:lnTo>
                    <a:pt x="3878" y="1634"/>
                  </a:lnTo>
                  <a:lnTo>
                    <a:pt x="3881" y="1658"/>
                  </a:lnTo>
                  <a:lnTo>
                    <a:pt x="3883" y="1676"/>
                  </a:lnTo>
                  <a:lnTo>
                    <a:pt x="3883" y="1693"/>
                  </a:lnTo>
                  <a:lnTo>
                    <a:pt x="3879" y="1709"/>
                  </a:lnTo>
                  <a:lnTo>
                    <a:pt x="3872" y="1729"/>
                  </a:lnTo>
                  <a:lnTo>
                    <a:pt x="3856" y="1755"/>
                  </a:lnTo>
                  <a:lnTo>
                    <a:pt x="3834" y="1777"/>
                  </a:lnTo>
                  <a:lnTo>
                    <a:pt x="3808" y="1792"/>
                  </a:lnTo>
                  <a:lnTo>
                    <a:pt x="3780" y="1801"/>
                  </a:lnTo>
                  <a:lnTo>
                    <a:pt x="3753" y="1803"/>
                  </a:lnTo>
                  <a:lnTo>
                    <a:pt x="3740" y="1804"/>
                  </a:lnTo>
                  <a:lnTo>
                    <a:pt x="3735" y="1810"/>
                  </a:lnTo>
                  <a:lnTo>
                    <a:pt x="3733" y="1821"/>
                  </a:lnTo>
                  <a:lnTo>
                    <a:pt x="3733" y="1836"/>
                  </a:lnTo>
                  <a:lnTo>
                    <a:pt x="3733" y="1850"/>
                  </a:lnTo>
                  <a:lnTo>
                    <a:pt x="3733" y="1867"/>
                  </a:lnTo>
                  <a:lnTo>
                    <a:pt x="3731" y="1881"/>
                  </a:lnTo>
                  <a:lnTo>
                    <a:pt x="3726" y="1894"/>
                  </a:lnTo>
                  <a:lnTo>
                    <a:pt x="3713" y="1905"/>
                  </a:lnTo>
                  <a:lnTo>
                    <a:pt x="3694" y="1909"/>
                  </a:lnTo>
                  <a:lnTo>
                    <a:pt x="3680" y="1907"/>
                  </a:lnTo>
                  <a:lnTo>
                    <a:pt x="3665" y="1896"/>
                  </a:lnTo>
                  <a:lnTo>
                    <a:pt x="3652" y="1880"/>
                  </a:lnTo>
                  <a:lnTo>
                    <a:pt x="3641" y="1861"/>
                  </a:lnTo>
                  <a:lnTo>
                    <a:pt x="3628" y="1837"/>
                  </a:lnTo>
                  <a:lnTo>
                    <a:pt x="3617" y="1814"/>
                  </a:lnTo>
                  <a:lnTo>
                    <a:pt x="3597" y="1775"/>
                  </a:lnTo>
                  <a:lnTo>
                    <a:pt x="3577" y="1744"/>
                  </a:lnTo>
                  <a:lnTo>
                    <a:pt x="3559" y="1715"/>
                  </a:lnTo>
                  <a:lnTo>
                    <a:pt x="3539" y="1689"/>
                  </a:lnTo>
                  <a:lnTo>
                    <a:pt x="3522" y="1671"/>
                  </a:lnTo>
                  <a:lnTo>
                    <a:pt x="3508" y="1654"/>
                  </a:lnTo>
                  <a:lnTo>
                    <a:pt x="3491" y="1639"/>
                  </a:lnTo>
                  <a:lnTo>
                    <a:pt x="3475" y="1623"/>
                  </a:lnTo>
                  <a:lnTo>
                    <a:pt x="3453" y="1605"/>
                  </a:lnTo>
                  <a:lnTo>
                    <a:pt x="3443" y="1597"/>
                  </a:lnTo>
                  <a:lnTo>
                    <a:pt x="3427" y="1590"/>
                  </a:lnTo>
                  <a:lnTo>
                    <a:pt x="3412" y="1588"/>
                  </a:lnTo>
                  <a:lnTo>
                    <a:pt x="3405" y="1594"/>
                  </a:lnTo>
                  <a:lnTo>
                    <a:pt x="3401" y="1603"/>
                  </a:lnTo>
                  <a:lnTo>
                    <a:pt x="3405" y="1616"/>
                  </a:lnTo>
                  <a:lnTo>
                    <a:pt x="3420" y="1632"/>
                  </a:lnTo>
                  <a:lnTo>
                    <a:pt x="3427" y="1641"/>
                  </a:lnTo>
                  <a:lnTo>
                    <a:pt x="3436" y="1649"/>
                  </a:lnTo>
                  <a:lnTo>
                    <a:pt x="3443" y="1656"/>
                  </a:lnTo>
                  <a:lnTo>
                    <a:pt x="3458" y="1671"/>
                  </a:lnTo>
                  <a:lnTo>
                    <a:pt x="3475" y="1682"/>
                  </a:lnTo>
                  <a:lnTo>
                    <a:pt x="3493" y="1687"/>
                  </a:lnTo>
                  <a:lnTo>
                    <a:pt x="3515" y="1689"/>
                  </a:lnTo>
                  <a:lnTo>
                    <a:pt x="3530" y="1693"/>
                  </a:lnTo>
                  <a:lnTo>
                    <a:pt x="3537" y="1702"/>
                  </a:lnTo>
                  <a:lnTo>
                    <a:pt x="3542" y="1716"/>
                  </a:lnTo>
                  <a:lnTo>
                    <a:pt x="3542" y="1733"/>
                  </a:lnTo>
                  <a:lnTo>
                    <a:pt x="3541" y="1751"/>
                  </a:lnTo>
                  <a:lnTo>
                    <a:pt x="3535" y="1771"/>
                  </a:lnTo>
                  <a:lnTo>
                    <a:pt x="3531" y="1788"/>
                  </a:lnTo>
                  <a:lnTo>
                    <a:pt x="3526" y="1803"/>
                  </a:lnTo>
                  <a:lnTo>
                    <a:pt x="3522" y="1814"/>
                  </a:lnTo>
                  <a:lnTo>
                    <a:pt x="3517" y="1826"/>
                  </a:lnTo>
                  <a:lnTo>
                    <a:pt x="3508" y="1841"/>
                  </a:lnTo>
                  <a:lnTo>
                    <a:pt x="3500" y="1856"/>
                  </a:lnTo>
                  <a:lnTo>
                    <a:pt x="3491" y="1870"/>
                  </a:lnTo>
                  <a:lnTo>
                    <a:pt x="3480" y="1881"/>
                  </a:lnTo>
                  <a:lnTo>
                    <a:pt x="3473" y="1891"/>
                  </a:lnTo>
                  <a:lnTo>
                    <a:pt x="3465" y="1892"/>
                  </a:lnTo>
                  <a:lnTo>
                    <a:pt x="3458" y="1891"/>
                  </a:lnTo>
                  <a:lnTo>
                    <a:pt x="3454" y="1881"/>
                  </a:lnTo>
                  <a:lnTo>
                    <a:pt x="3453" y="1865"/>
                  </a:lnTo>
                  <a:lnTo>
                    <a:pt x="3453" y="1828"/>
                  </a:lnTo>
                  <a:lnTo>
                    <a:pt x="3449" y="1793"/>
                  </a:lnTo>
                  <a:lnTo>
                    <a:pt x="3443" y="1764"/>
                  </a:lnTo>
                  <a:lnTo>
                    <a:pt x="3434" y="1746"/>
                  </a:lnTo>
                  <a:lnTo>
                    <a:pt x="3421" y="1729"/>
                  </a:lnTo>
                  <a:lnTo>
                    <a:pt x="3407" y="1716"/>
                  </a:lnTo>
                  <a:lnTo>
                    <a:pt x="3385" y="1707"/>
                  </a:lnTo>
                  <a:lnTo>
                    <a:pt x="3365" y="1696"/>
                  </a:lnTo>
                  <a:lnTo>
                    <a:pt x="3346" y="1683"/>
                  </a:lnTo>
                  <a:lnTo>
                    <a:pt x="3330" y="1669"/>
                  </a:lnTo>
                  <a:lnTo>
                    <a:pt x="3313" y="1656"/>
                  </a:lnTo>
                  <a:lnTo>
                    <a:pt x="3297" y="1643"/>
                  </a:lnTo>
                  <a:lnTo>
                    <a:pt x="3277" y="1632"/>
                  </a:lnTo>
                  <a:lnTo>
                    <a:pt x="3251" y="1625"/>
                  </a:lnTo>
                  <a:lnTo>
                    <a:pt x="3222" y="1621"/>
                  </a:lnTo>
                  <a:lnTo>
                    <a:pt x="3194" y="1621"/>
                  </a:lnTo>
                  <a:lnTo>
                    <a:pt x="3165" y="1619"/>
                  </a:lnTo>
                  <a:lnTo>
                    <a:pt x="3139" y="1617"/>
                  </a:lnTo>
                  <a:lnTo>
                    <a:pt x="3114" y="1617"/>
                  </a:lnTo>
                  <a:lnTo>
                    <a:pt x="3090" y="1617"/>
                  </a:lnTo>
                  <a:lnTo>
                    <a:pt x="3070" y="1621"/>
                  </a:lnTo>
                  <a:lnTo>
                    <a:pt x="3055" y="1625"/>
                  </a:lnTo>
                  <a:lnTo>
                    <a:pt x="3044" y="1634"/>
                  </a:lnTo>
                  <a:lnTo>
                    <a:pt x="3039" y="1645"/>
                  </a:lnTo>
                  <a:lnTo>
                    <a:pt x="3041" y="1661"/>
                  </a:lnTo>
                  <a:lnTo>
                    <a:pt x="3046" y="1689"/>
                  </a:lnTo>
                  <a:lnTo>
                    <a:pt x="3048" y="1715"/>
                  </a:lnTo>
                  <a:lnTo>
                    <a:pt x="3046" y="1738"/>
                  </a:lnTo>
                  <a:lnTo>
                    <a:pt x="3041" y="1757"/>
                  </a:lnTo>
                  <a:lnTo>
                    <a:pt x="3033" y="1771"/>
                  </a:lnTo>
                  <a:lnTo>
                    <a:pt x="3020" y="1779"/>
                  </a:lnTo>
                  <a:lnTo>
                    <a:pt x="3017" y="1779"/>
                  </a:lnTo>
                  <a:lnTo>
                    <a:pt x="3011" y="1781"/>
                  </a:lnTo>
                  <a:lnTo>
                    <a:pt x="2998" y="1781"/>
                  </a:lnTo>
                  <a:lnTo>
                    <a:pt x="2984" y="1782"/>
                  </a:lnTo>
                  <a:lnTo>
                    <a:pt x="2969" y="1784"/>
                  </a:lnTo>
                  <a:lnTo>
                    <a:pt x="2958" y="1790"/>
                  </a:lnTo>
                  <a:lnTo>
                    <a:pt x="2949" y="1799"/>
                  </a:lnTo>
                  <a:lnTo>
                    <a:pt x="2943" y="1810"/>
                  </a:lnTo>
                  <a:lnTo>
                    <a:pt x="2943" y="1825"/>
                  </a:lnTo>
                  <a:lnTo>
                    <a:pt x="2945" y="1841"/>
                  </a:lnTo>
                  <a:lnTo>
                    <a:pt x="2943" y="1852"/>
                  </a:lnTo>
                  <a:lnTo>
                    <a:pt x="2936" y="1859"/>
                  </a:lnTo>
                  <a:lnTo>
                    <a:pt x="2929" y="1867"/>
                  </a:lnTo>
                  <a:lnTo>
                    <a:pt x="2918" y="1872"/>
                  </a:lnTo>
                  <a:lnTo>
                    <a:pt x="2905" y="1881"/>
                  </a:lnTo>
                  <a:lnTo>
                    <a:pt x="2881" y="1898"/>
                  </a:lnTo>
                  <a:lnTo>
                    <a:pt x="2854" y="1911"/>
                  </a:lnTo>
                  <a:lnTo>
                    <a:pt x="2832" y="1916"/>
                  </a:lnTo>
                  <a:lnTo>
                    <a:pt x="2810" y="1914"/>
                  </a:lnTo>
                  <a:lnTo>
                    <a:pt x="2786" y="1905"/>
                  </a:lnTo>
                  <a:lnTo>
                    <a:pt x="2768" y="1896"/>
                  </a:lnTo>
                  <a:lnTo>
                    <a:pt x="2746" y="1894"/>
                  </a:lnTo>
                  <a:lnTo>
                    <a:pt x="2724" y="1894"/>
                  </a:lnTo>
                  <a:lnTo>
                    <a:pt x="2702" y="1896"/>
                  </a:lnTo>
                  <a:lnTo>
                    <a:pt x="2685" y="1894"/>
                  </a:lnTo>
                  <a:lnTo>
                    <a:pt x="2671" y="1892"/>
                  </a:lnTo>
                  <a:lnTo>
                    <a:pt x="2660" y="1889"/>
                  </a:lnTo>
                  <a:lnTo>
                    <a:pt x="2652" y="1880"/>
                  </a:lnTo>
                  <a:lnTo>
                    <a:pt x="2650" y="1865"/>
                  </a:lnTo>
                  <a:lnTo>
                    <a:pt x="2649" y="1843"/>
                  </a:lnTo>
                  <a:lnTo>
                    <a:pt x="2643" y="1823"/>
                  </a:lnTo>
                  <a:lnTo>
                    <a:pt x="2638" y="1806"/>
                  </a:lnTo>
                  <a:lnTo>
                    <a:pt x="2632" y="1790"/>
                  </a:lnTo>
                  <a:lnTo>
                    <a:pt x="2628" y="1773"/>
                  </a:lnTo>
                  <a:lnTo>
                    <a:pt x="2630" y="1755"/>
                  </a:lnTo>
                  <a:lnTo>
                    <a:pt x="2639" y="1735"/>
                  </a:lnTo>
                  <a:lnTo>
                    <a:pt x="2647" y="1716"/>
                  </a:lnTo>
                  <a:lnTo>
                    <a:pt x="2652" y="1698"/>
                  </a:lnTo>
                  <a:lnTo>
                    <a:pt x="2654" y="1680"/>
                  </a:lnTo>
                  <a:lnTo>
                    <a:pt x="2656" y="1665"/>
                  </a:lnTo>
                  <a:lnTo>
                    <a:pt x="2660" y="1652"/>
                  </a:lnTo>
                  <a:lnTo>
                    <a:pt x="2667" y="1641"/>
                  </a:lnTo>
                  <a:lnTo>
                    <a:pt x="2678" y="1636"/>
                  </a:lnTo>
                  <a:lnTo>
                    <a:pt x="2694" y="1632"/>
                  </a:lnTo>
                  <a:lnTo>
                    <a:pt x="2702" y="1632"/>
                  </a:lnTo>
                  <a:lnTo>
                    <a:pt x="2727" y="1634"/>
                  </a:lnTo>
                  <a:lnTo>
                    <a:pt x="2749" y="1638"/>
                  </a:lnTo>
                  <a:lnTo>
                    <a:pt x="2771" y="1641"/>
                  </a:lnTo>
                  <a:lnTo>
                    <a:pt x="2795" y="1643"/>
                  </a:lnTo>
                  <a:lnTo>
                    <a:pt x="2826" y="1645"/>
                  </a:lnTo>
                  <a:lnTo>
                    <a:pt x="2841" y="1643"/>
                  </a:lnTo>
                  <a:lnTo>
                    <a:pt x="2854" y="1639"/>
                  </a:lnTo>
                  <a:lnTo>
                    <a:pt x="2876" y="1628"/>
                  </a:lnTo>
                  <a:lnTo>
                    <a:pt x="2894" y="1614"/>
                  </a:lnTo>
                  <a:lnTo>
                    <a:pt x="2905" y="1597"/>
                  </a:lnTo>
                  <a:lnTo>
                    <a:pt x="2909" y="1577"/>
                  </a:lnTo>
                  <a:lnTo>
                    <a:pt x="2903" y="1557"/>
                  </a:lnTo>
                  <a:lnTo>
                    <a:pt x="2887" y="1537"/>
                  </a:lnTo>
                  <a:lnTo>
                    <a:pt x="2868" y="1513"/>
                  </a:lnTo>
                  <a:lnTo>
                    <a:pt x="2857" y="1487"/>
                  </a:lnTo>
                  <a:lnTo>
                    <a:pt x="2856" y="1460"/>
                  </a:lnTo>
                  <a:lnTo>
                    <a:pt x="2859" y="1432"/>
                  </a:lnTo>
                  <a:lnTo>
                    <a:pt x="2868" y="1405"/>
                  </a:lnTo>
                  <a:lnTo>
                    <a:pt x="2881" y="1377"/>
                  </a:lnTo>
                  <a:lnTo>
                    <a:pt x="2894" y="1359"/>
                  </a:lnTo>
                  <a:lnTo>
                    <a:pt x="2907" y="1348"/>
                  </a:lnTo>
                  <a:lnTo>
                    <a:pt x="2921" y="1342"/>
                  </a:lnTo>
                  <a:lnTo>
                    <a:pt x="2938" y="1340"/>
                  </a:lnTo>
                  <a:lnTo>
                    <a:pt x="2958" y="1339"/>
                  </a:lnTo>
                  <a:lnTo>
                    <a:pt x="2984" y="1335"/>
                  </a:lnTo>
                  <a:lnTo>
                    <a:pt x="2995" y="1333"/>
                  </a:lnTo>
                  <a:lnTo>
                    <a:pt x="3020" y="1324"/>
                  </a:lnTo>
                  <a:lnTo>
                    <a:pt x="3064" y="1306"/>
                  </a:lnTo>
                  <a:lnTo>
                    <a:pt x="3105" y="1280"/>
                  </a:lnTo>
                  <a:lnTo>
                    <a:pt x="3141" y="1252"/>
                  </a:lnTo>
                  <a:lnTo>
                    <a:pt x="3171" y="1225"/>
                  </a:lnTo>
                  <a:lnTo>
                    <a:pt x="3183" y="1208"/>
                  </a:lnTo>
                  <a:lnTo>
                    <a:pt x="3193" y="1188"/>
                  </a:lnTo>
                  <a:lnTo>
                    <a:pt x="3200" y="1168"/>
                  </a:lnTo>
                  <a:lnTo>
                    <a:pt x="3205" y="1148"/>
                  </a:lnTo>
                  <a:lnTo>
                    <a:pt x="3211" y="1130"/>
                  </a:lnTo>
                  <a:lnTo>
                    <a:pt x="3218" y="1115"/>
                  </a:lnTo>
                  <a:lnTo>
                    <a:pt x="3229" y="1104"/>
                  </a:lnTo>
                  <a:lnTo>
                    <a:pt x="3244" y="1100"/>
                  </a:lnTo>
                  <a:lnTo>
                    <a:pt x="3258" y="1102"/>
                  </a:lnTo>
                  <a:lnTo>
                    <a:pt x="3266" y="1109"/>
                  </a:lnTo>
                  <a:lnTo>
                    <a:pt x="3273" y="1117"/>
                  </a:lnTo>
                  <a:lnTo>
                    <a:pt x="3279" y="1126"/>
                  </a:lnTo>
                  <a:lnTo>
                    <a:pt x="3286" y="1135"/>
                  </a:lnTo>
                  <a:lnTo>
                    <a:pt x="3295" y="1144"/>
                  </a:lnTo>
                  <a:lnTo>
                    <a:pt x="3312" y="1150"/>
                  </a:lnTo>
                  <a:lnTo>
                    <a:pt x="3334" y="1152"/>
                  </a:lnTo>
                  <a:lnTo>
                    <a:pt x="3363" y="1150"/>
                  </a:lnTo>
                  <a:lnTo>
                    <a:pt x="3387" y="1146"/>
                  </a:lnTo>
                  <a:lnTo>
                    <a:pt x="3405" y="1141"/>
                  </a:lnTo>
                  <a:lnTo>
                    <a:pt x="3423" y="1135"/>
                  </a:lnTo>
                  <a:lnTo>
                    <a:pt x="3443" y="1130"/>
                  </a:lnTo>
                  <a:lnTo>
                    <a:pt x="3464" y="1124"/>
                  </a:lnTo>
                  <a:lnTo>
                    <a:pt x="3487" y="1124"/>
                  </a:lnTo>
                  <a:lnTo>
                    <a:pt x="3513" y="1126"/>
                  </a:lnTo>
                  <a:lnTo>
                    <a:pt x="3537" y="1133"/>
                  </a:lnTo>
                  <a:lnTo>
                    <a:pt x="3559" y="1141"/>
                  </a:lnTo>
                  <a:lnTo>
                    <a:pt x="3581" y="1146"/>
                  </a:lnTo>
                  <a:lnTo>
                    <a:pt x="3601" y="1150"/>
                  </a:lnTo>
                  <a:lnTo>
                    <a:pt x="3619" y="1146"/>
                  </a:lnTo>
                  <a:lnTo>
                    <a:pt x="3639" y="1135"/>
                  </a:lnTo>
                  <a:lnTo>
                    <a:pt x="3650" y="1122"/>
                  </a:lnTo>
                  <a:lnTo>
                    <a:pt x="3654" y="1108"/>
                  </a:lnTo>
                  <a:lnTo>
                    <a:pt x="3654" y="1093"/>
                  </a:lnTo>
                  <a:lnTo>
                    <a:pt x="3652" y="1080"/>
                  </a:lnTo>
                  <a:lnTo>
                    <a:pt x="3649" y="1065"/>
                  </a:lnTo>
                  <a:lnTo>
                    <a:pt x="3645" y="1052"/>
                  </a:lnTo>
                  <a:lnTo>
                    <a:pt x="3645" y="1043"/>
                  </a:lnTo>
                  <a:lnTo>
                    <a:pt x="3649" y="1034"/>
                  </a:lnTo>
                  <a:lnTo>
                    <a:pt x="3658" y="1029"/>
                  </a:lnTo>
                  <a:lnTo>
                    <a:pt x="3674" y="1027"/>
                  </a:lnTo>
                  <a:lnTo>
                    <a:pt x="3696" y="1027"/>
                  </a:lnTo>
                  <a:lnTo>
                    <a:pt x="3716" y="1027"/>
                  </a:lnTo>
                  <a:lnTo>
                    <a:pt x="3735" y="1027"/>
                  </a:lnTo>
                  <a:lnTo>
                    <a:pt x="3749" y="1025"/>
                  </a:lnTo>
                  <a:lnTo>
                    <a:pt x="3760" y="1021"/>
                  </a:lnTo>
                  <a:lnTo>
                    <a:pt x="3766" y="1016"/>
                  </a:lnTo>
                  <a:lnTo>
                    <a:pt x="3766" y="1008"/>
                  </a:lnTo>
                  <a:lnTo>
                    <a:pt x="3760" y="996"/>
                  </a:lnTo>
                  <a:lnTo>
                    <a:pt x="3747" y="981"/>
                  </a:lnTo>
                  <a:lnTo>
                    <a:pt x="3735" y="968"/>
                  </a:lnTo>
                  <a:lnTo>
                    <a:pt x="3729" y="959"/>
                  </a:lnTo>
                  <a:lnTo>
                    <a:pt x="3729" y="953"/>
                  </a:lnTo>
                  <a:lnTo>
                    <a:pt x="3735" y="950"/>
                  </a:lnTo>
                  <a:lnTo>
                    <a:pt x="3744" y="948"/>
                  </a:lnTo>
                  <a:lnTo>
                    <a:pt x="3755" y="946"/>
                  </a:lnTo>
                  <a:lnTo>
                    <a:pt x="3769" y="944"/>
                  </a:lnTo>
                  <a:lnTo>
                    <a:pt x="3786" y="942"/>
                  </a:lnTo>
                  <a:lnTo>
                    <a:pt x="3804" y="937"/>
                  </a:lnTo>
                  <a:lnTo>
                    <a:pt x="3821" y="931"/>
                  </a:lnTo>
                  <a:lnTo>
                    <a:pt x="3841" y="917"/>
                  </a:lnTo>
                  <a:lnTo>
                    <a:pt x="3854" y="904"/>
                  </a:lnTo>
                  <a:lnTo>
                    <a:pt x="3859" y="891"/>
                  </a:lnTo>
                  <a:lnTo>
                    <a:pt x="3857" y="878"/>
                  </a:lnTo>
                  <a:lnTo>
                    <a:pt x="3846" y="871"/>
                  </a:lnTo>
                  <a:lnTo>
                    <a:pt x="3828" y="867"/>
                  </a:lnTo>
                  <a:lnTo>
                    <a:pt x="3804" y="869"/>
                  </a:lnTo>
                  <a:lnTo>
                    <a:pt x="3779" y="873"/>
                  </a:lnTo>
                  <a:lnTo>
                    <a:pt x="3755" y="880"/>
                  </a:lnTo>
                  <a:lnTo>
                    <a:pt x="3733" y="886"/>
                  </a:lnTo>
                  <a:lnTo>
                    <a:pt x="3713" y="889"/>
                  </a:lnTo>
                  <a:lnTo>
                    <a:pt x="3694" y="889"/>
                  </a:lnTo>
                  <a:lnTo>
                    <a:pt x="3678" y="884"/>
                  </a:lnTo>
                  <a:lnTo>
                    <a:pt x="3663" y="873"/>
                  </a:lnTo>
                  <a:lnTo>
                    <a:pt x="3650" y="851"/>
                  </a:lnTo>
                  <a:lnTo>
                    <a:pt x="3645" y="825"/>
                  </a:lnTo>
                  <a:lnTo>
                    <a:pt x="3649" y="799"/>
                  </a:lnTo>
                  <a:lnTo>
                    <a:pt x="3660" y="772"/>
                  </a:lnTo>
                  <a:lnTo>
                    <a:pt x="3674" y="746"/>
                  </a:lnTo>
                  <a:lnTo>
                    <a:pt x="3693" y="721"/>
                  </a:lnTo>
                  <a:lnTo>
                    <a:pt x="3715" y="697"/>
                  </a:lnTo>
                  <a:lnTo>
                    <a:pt x="3735" y="673"/>
                  </a:lnTo>
                  <a:lnTo>
                    <a:pt x="3753" y="653"/>
                  </a:lnTo>
                  <a:lnTo>
                    <a:pt x="3758" y="645"/>
                  </a:lnTo>
                  <a:lnTo>
                    <a:pt x="3762" y="638"/>
                  </a:lnTo>
                  <a:lnTo>
                    <a:pt x="3762" y="631"/>
                  </a:lnTo>
                  <a:lnTo>
                    <a:pt x="3762" y="623"/>
                  </a:lnTo>
                  <a:close/>
                  <a:moveTo>
                    <a:pt x="2273" y="568"/>
                  </a:moveTo>
                  <a:lnTo>
                    <a:pt x="2288" y="572"/>
                  </a:lnTo>
                  <a:lnTo>
                    <a:pt x="2313" y="583"/>
                  </a:lnTo>
                  <a:lnTo>
                    <a:pt x="2335" y="589"/>
                  </a:lnTo>
                  <a:lnTo>
                    <a:pt x="2354" y="592"/>
                  </a:lnTo>
                  <a:lnTo>
                    <a:pt x="2370" y="594"/>
                  </a:lnTo>
                  <a:lnTo>
                    <a:pt x="2389" y="596"/>
                  </a:lnTo>
                  <a:lnTo>
                    <a:pt x="2409" y="598"/>
                  </a:lnTo>
                  <a:lnTo>
                    <a:pt x="2410" y="596"/>
                  </a:lnTo>
                  <a:lnTo>
                    <a:pt x="2429" y="592"/>
                  </a:lnTo>
                  <a:lnTo>
                    <a:pt x="2445" y="592"/>
                  </a:lnTo>
                  <a:lnTo>
                    <a:pt x="2473" y="596"/>
                  </a:lnTo>
                  <a:lnTo>
                    <a:pt x="2493" y="607"/>
                  </a:lnTo>
                  <a:lnTo>
                    <a:pt x="2506" y="623"/>
                  </a:lnTo>
                  <a:lnTo>
                    <a:pt x="2509" y="644"/>
                  </a:lnTo>
                  <a:lnTo>
                    <a:pt x="2506" y="666"/>
                  </a:lnTo>
                  <a:lnTo>
                    <a:pt x="2493" y="688"/>
                  </a:lnTo>
                  <a:lnTo>
                    <a:pt x="2471" y="708"/>
                  </a:lnTo>
                  <a:lnTo>
                    <a:pt x="2445" y="728"/>
                  </a:lnTo>
                  <a:lnTo>
                    <a:pt x="2410" y="746"/>
                  </a:lnTo>
                  <a:lnTo>
                    <a:pt x="2383" y="754"/>
                  </a:lnTo>
                  <a:lnTo>
                    <a:pt x="2354" y="757"/>
                  </a:lnTo>
                  <a:lnTo>
                    <a:pt x="2324" y="755"/>
                  </a:lnTo>
                  <a:lnTo>
                    <a:pt x="2293" y="744"/>
                  </a:lnTo>
                  <a:lnTo>
                    <a:pt x="2262" y="726"/>
                  </a:lnTo>
                  <a:lnTo>
                    <a:pt x="2258" y="722"/>
                  </a:lnTo>
                  <a:lnTo>
                    <a:pt x="2235" y="697"/>
                  </a:lnTo>
                  <a:lnTo>
                    <a:pt x="2220" y="669"/>
                  </a:lnTo>
                  <a:lnTo>
                    <a:pt x="2216" y="642"/>
                  </a:lnTo>
                  <a:lnTo>
                    <a:pt x="2218" y="618"/>
                  </a:lnTo>
                  <a:lnTo>
                    <a:pt x="2227" y="596"/>
                  </a:lnTo>
                  <a:lnTo>
                    <a:pt x="2240" y="579"/>
                  </a:lnTo>
                  <a:lnTo>
                    <a:pt x="2258" y="570"/>
                  </a:lnTo>
                  <a:lnTo>
                    <a:pt x="2273" y="568"/>
                  </a:lnTo>
                  <a:close/>
                  <a:moveTo>
                    <a:pt x="846" y="475"/>
                  </a:moveTo>
                  <a:lnTo>
                    <a:pt x="852" y="482"/>
                  </a:lnTo>
                  <a:lnTo>
                    <a:pt x="859" y="488"/>
                  </a:lnTo>
                  <a:lnTo>
                    <a:pt x="868" y="493"/>
                  </a:lnTo>
                  <a:lnTo>
                    <a:pt x="874" y="495"/>
                  </a:lnTo>
                  <a:lnTo>
                    <a:pt x="899" y="508"/>
                  </a:lnTo>
                  <a:lnTo>
                    <a:pt x="921" y="526"/>
                  </a:lnTo>
                  <a:lnTo>
                    <a:pt x="938" y="548"/>
                  </a:lnTo>
                  <a:lnTo>
                    <a:pt x="947" y="565"/>
                  </a:lnTo>
                  <a:lnTo>
                    <a:pt x="953" y="583"/>
                  </a:lnTo>
                  <a:lnTo>
                    <a:pt x="953" y="598"/>
                  </a:lnTo>
                  <a:lnTo>
                    <a:pt x="947" y="609"/>
                  </a:lnTo>
                  <a:lnTo>
                    <a:pt x="938" y="614"/>
                  </a:lnTo>
                  <a:lnTo>
                    <a:pt x="931" y="616"/>
                  </a:lnTo>
                  <a:lnTo>
                    <a:pt x="921" y="616"/>
                  </a:lnTo>
                  <a:lnTo>
                    <a:pt x="912" y="612"/>
                  </a:lnTo>
                  <a:lnTo>
                    <a:pt x="888" y="609"/>
                  </a:lnTo>
                  <a:lnTo>
                    <a:pt x="868" y="605"/>
                  </a:lnTo>
                  <a:lnTo>
                    <a:pt x="848" y="607"/>
                  </a:lnTo>
                  <a:lnTo>
                    <a:pt x="834" y="612"/>
                  </a:lnTo>
                  <a:lnTo>
                    <a:pt x="824" y="620"/>
                  </a:lnTo>
                  <a:lnTo>
                    <a:pt x="821" y="631"/>
                  </a:lnTo>
                  <a:lnTo>
                    <a:pt x="824" y="645"/>
                  </a:lnTo>
                  <a:lnTo>
                    <a:pt x="834" y="662"/>
                  </a:lnTo>
                  <a:lnTo>
                    <a:pt x="854" y="682"/>
                  </a:lnTo>
                  <a:lnTo>
                    <a:pt x="861" y="691"/>
                  </a:lnTo>
                  <a:lnTo>
                    <a:pt x="868" y="699"/>
                  </a:lnTo>
                  <a:lnTo>
                    <a:pt x="881" y="722"/>
                  </a:lnTo>
                  <a:lnTo>
                    <a:pt x="887" y="746"/>
                  </a:lnTo>
                  <a:lnTo>
                    <a:pt x="887" y="766"/>
                  </a:lnTo>
                  <a:lnTo>
                    <a:pt x="879" y="785"/>
                  </a:lnTo>
                  <a:lnTo>
                    <a:pt x="868" y="799"/>
                  </a:lnTo>
                  <a:lnTo>
                    <a:pt x="854" y="807"/>
                  </a:lnTo>
                  <a:lnTo>
                    <a:pt x="837" y="810"/>
                  </a:lnTo>
                  <a:lnTo>
                    <a:pt x="821" y="807"/>
                  </a:lnTo>
                  <a:lnTo>
                    <a:pt x="797" y="798"/>
                  </a:lnTo>
                  <a:lnTo>
                    <a:pt x="766" y="785"/>
                  </a:lnTo>
                  <a:lnTo>
                    <a:pt x="724" y="770"/>
                  </a:lnTo>
                  <a:lnTo>
                    <a:pt x="678" y="755"/>
                  </a:lnTo>
                  <a:lnTo>
                    <a:pt x="628" y="739"/>
                  </a:lnTo>
                  <a:lnTo>
                    <a:pt x="577" y="726"/>
                  </a:lnTo>
                  <a:lnTo>
                    <a:pt x="650" y="649"/>
                  </a:lnTo>
                  <a:lnTo>
                    <a:pt x="678" y="622"/>
                  </a:lnTo>
                  <a:lnTo>
                    <a:pt x="727" y="576"/>
                  </a:lnTo>
                  <a:lnTo>
                    <a:pt x="766" y="543"/>
                  </a:lnTo>
                  <a:lnTo>
                    <a:pt x="766" y="543"/>
                  </a:lnTo>
                  <a:lnTo>
                    <a:pt x="846" y="475"/>
                  </a:lnTo>
                  <a:close/>
                  <a:moveTo>
                    <a:pt x="3513" y="416"/>
                  </a:moveTo>
                  <a:lnTo>
                    <a:pt x="3552" y="444"/>
                  </a:lnTo>
                  <a:lnTo>
                    <a:pt x="3632" y="508"/>
                  </a:lnTo>
                  <a:lnTo>
                    <a:pt x="3711" y="576"/>
                  </a:lnTo>
                  <a:lnTo>
                    <a:pt x="3747" y="611"/>
                  </a:lnTo>
                  <a:lnTo>
                    <a:pt x="3733" y="605"/>
                  </a:lnTo>
                  <a:lnTo>
                    <a:pt x="3716" y="605"/>
                  </a:lnTo>
                  <a:lnTo>
                    <a:pt x="3698" y="607"/>
                  </a:lnTo>
                  <a:lnTo>
                    <a:pt x="3683" y="614"/>
                  </a:lnTo>
                  <a:lnTo>
                    <a:pt x="3671" y="625"/>
                  </a:lnTo>
                  <a:lnTo>
                    <a:pt x="3661" y="642"/>
                  </a:lnTo>
                  <a:lnTo>
                    <a:pt x="3650" y="671"/>
                  </a:lnTo>
                  <a:lnTo>
                    <a:pt x="3632" y="695"/>
                  </a:lnTo>
                  <a:lnTo>
                    <a:pt x="3610" y="719"/>
                  </a:lnTo>
                  <a:lnTo>
                    <a:pt x="3588" y="741"/>
                  </a:lnTo>
                  <a:lnTo>
                    <a:pt x="3570" y="766"/>
                  </a:lnTo>
                  <a:lnTo>
                    <a:pt x="3555" y="794"/>
                  </a:lnTo>
                  <a:lnTo>
                    <a:pt x="3552" y="818"/>
                  </a:lnTo>
                  <a:lnTo>
                    <a:pt x="3553" y="840"/>
                  </a:lnTo>
                  <a:lnTo>
                    <a:pt x="3563" y="862"/>
                  </a:lnTo>
                  <a:lnTo>
                    <a:pt x="3572" y="884"/>
                  </a:lnTo>
                  <a:lnTo>
                    <a:pt x="3581" y="904"/>
                  </a:lnTo>
                  <a:lnTo>
                    <a:pt x="3584" y="922"/>
                  </a:lnTo>
                  <a:lnTo>
                    <a:pt x="3583" y="941"/>
                  </a:lnTo>
                  <a:lnTo>
                    <a:pt x="3572" y="959"/>
                  </a:lnTo>
                  <a:lnTo>
                    <a:pt x="3552" y="981"/>
                  </a:lnTo>
                  <a:lnTo>
                    <a:pt x="3533" y="1005"/>
                  </a:lnTo>
                  <a:lnTo>
                    <a:pt x="3519" y="1023"/>
                  </a:lnTo>
                  <a:lnTo>
                    <a:pt x="3504" y="1040"/>
                  </a:lnTo>
                  <a:lnTo>
                    <a:pt x="3487" y="1051"/>
                  </a:lnTo>
                  <a:lnTo>
                    <a:pt x="3469" y="1054"/>
                  </a:lnTo>
                  <a:lnTo>
                    <a:pt x="3460" y="1056"/>
                  </a:lnTo>
                  <a:lnTo>
                    <a:pt x="3451" y="1062"/>
                  </a:lnTo>
                  <a:lnTo>
                    <a:pt x="3443" y="1067"/>
                  </a:lnTo>
                  <a:lnTo>
                    <a:pt x="3431" y="1076"/>
                  </a:lnTo>
                  <a:lnTo>
                    <a:pt x="3420" y="1087"/>
                  </a:lnTo>
                  <a:lnTo>
                    <a:pt x="3410" y="1097"/>
                  </a:lnTo>
                  <a:lnTo>
                    <a:pt x="3401" y="1102"/>
                  </a:lnTo>
                  <a:lnTo>
                    <a:pt x="3392" y="1102"/>
                  </a:lnTo>
                  <a:lnTo>
                    <a:pt x="3385" y="1097"/>
                  </a:lnTo>
                  <a:lnTo>
                    <a:pt x="3379" y="1084"/>
                  </a:lnTo>
                  <a:lnTo>
                    <a:pt x="3372" y="1060"/>
                  </a:lnTo>
                  <a:lnTo>
                    <a:pt x="3361" y="1036"/>
                  </a:lnTo>
                  <a:lnTo>
                    <a:pt x="3350" y="1016"/>
                  </a:lnTo>
                  <a:lnTo>
                    <a:pt x="3335" y="999"/>
                  </a:lnTo>
                  <a:lnTo>
                    <a:pt x="3321" y="988"/>
                  </a:lnTo>
                  <a:lnTo>
                    <a:pt x="3306" y="986"/>
                  </a:lnTo>
                  <a:lnTo>
                    <a:pt x="3290" y="994"/>
                  </a:lnTo>
                  <a:lnTo>
                    <a:pt x="3279" y="1003"/>
                  </a:lnTo>
                  <a:lnTo>
                    <a:pt x="3269" y="1016"/>
                  </a:lnTo>
                  <a:lnTo>
                    <a:pt x="3262" y="1030"/>
                  </a:lnTo>
                  <a:lnTo>
                    <a:pt x="3257" y="1043"/>
                  </a:lnTo>
                  <a:lnTo>
                    <a:pt x="3251" y="1056"/>
                  </a:lnTo>
                  <a:lnTo>
                    <a:pt x="3244" y="1065"/>
                  </a:lnTo>
                  <a:lnTo>
                    <a:pt x="3238" y="1069"/>
                  </a:lnTo>
                  <a:lnTo>
                    <a:pt x="3229" y="1067"/>
                  </a:lnTo>
                  <a:lnTo>
                    <a:pt x="3218" y="1056"/>
                  </a:lnTo>
                  <a:lnTo>
                    <a:pt x="3204" y="1038"/>
                  </a:lnTo>
                  <a:lnTo>
                    <a:pt x="3185" y="1007"/>
                  </a:lnTo>
                  <a:lnTo>
                    <a:pt x="3169" y="974"/>
                  </a:lnTo>
                  <a:lnTo>
                    <a:pt x="3154" y="939"/>
                  </a:lnTo>
                  <a:lnTo>
                    <a:pt x="3145" y="904"/>
                  </a:lnTo>
                  <a:lnTo>
                    <a:pt x="3139" y="871"/>
                  </a:lnTo>
                  <a:lnTo>
                    <a:pt x="3139" y="838"/>
                  </a:lnTo>
                  <a:lnTo>
                    <a:pt x="3149" y="809"/>
                  </a:lnTo>
                  <a:lnTo>
                    <a:pt x="3165" y="783"/>
                  </a:lnTo>
                  <a:lnTo>
                    <a:pt x="3202" y="748"/>
                  </a:lnTo>
                  <a:lnTo>
                    <a:pt x="3240" y="713"/>
                  </a:lnTo>
                  <a:lnTo>
                    <a:pt x="3279" y="678"/>
                  </a:lnTo>
                  <a:lnTo>
                    <a:pt x="3315" y="644"/>
                  </a:lnTo>
                  <a:lnTo>
                    <a:pt x="3346" y="609"/>
                  </a:lnTo>
                  <a:lnTo>
                    <a:pt x="3365" y="583"/>
                  </a:lnTo>
                  <a:lnTo>
                    <a:pt x="3387" y="552"/>
                  </a:lnTo>
                  <a:lnTo>
                    <a:pt x="3414" y="519"/>
                  </a:lnTo>
                  <a:lnTo>
                    <a:pt x="3443" y="484"/>
                  </a:lnTo>
                  <a:lnTo>
                    <a:pt x="3478" y="447"/>
                  </a:lnTo>
                  <a:lnTo>
                    <a:pt x="3513" y="416"/>
                  </a:lnTo>
                  <a:close/>
                  <a:moveTo>
                    <a:pt x="2707" y="271"/>
                  </a:moveTo>
                  <a:lnTo>
                    <a:pt x="2716" y="271"/>
                  </a:lnTo>
                  <a:lnTo>
                    <a:pt x="2731" y="273"/>
                  </a:lnTo>
                  <a:lnTo>
                    <a:pt x="2742" y="280"/>
                  </a:lnTo>
                  <a:lnTo>
                    <a:pt x="2753" y="291"/>
                  </a:lnTo>
                  <a:lnTo>
                    <a:pt x="2760" y="302"/>
                  </a:lnTo>
                  <a:lnTo>
                    <a:pt x="2766" y="315"/>
                  </a:lnTo>
                  <a:lnTo>
                    <a:pt x="2766" y="328"/>
                  </a:lnTo>
                  <a:lnTo>
                    <a:pt x="2760" y="339"/>
                  </a:lnTo>
                  <a:lnTo>
                    <a:pt x="2751" y="345"/>
                  </a:lnTo>
                  <a:lnTo>
                    <a:pt x="2735" y="348"/>
                  </a:lnTo>
                  <a:lnTo>
                    <a:pt x="2716" y="345"/>
                  </a:lnTo>
                  <a:lnTo>
                    <a:pt x="2702" y="337"/>
                  </a:lnTo>
                  <a:lnTo>
                    <a:pt x="2689" y="328"/>
                  </a:lnTo>
                  <a:lnTo>
                    <a:pt x="2680" y="317"/>
                  </a:lnTo>
                  <a:lnTo>
                    <a:pt x="2674" y="304"/>
                  </a:lnTo>
                  <a:lnTo>
                    <a:pt x="2672" y="293"/>
                  </a:lnTo>
                  <a:lnTo>
                    <a:pt x="2676" y="282"/>
                  </a:lnTo>
                  <a:lnTo>
                    <a:pt x="2685" y="275"/>
                  </a:lnTo>
                  <a:lnTo>
                    <a:pt x="2702" y="271"/>
                  </a:lnTo>
                  <a:lnTo>
                    <a:pt x="2707" y="271"/>
                  </a:lnTo>
                  <a:close/>
                  <a:moveTo>
                    <a:pt x="2218" y="0"/>
                  </a:moveTo>
                  <a:lnTo>
                    <a:pt x="2258" y="0"/>
                  </a:lnTo>
                  <a:lnTo>
                    <a:pt x="2258" y="0"/>
                  </a:lnTo>
                  <a:lnTo>
                    <a:pt x="2301" y="0"/>
                  </a:lnTo>
                  <a:lnTo>
                    <a:pt x="2299" y="16"/>
                  </a:lnTo>
                  <a:lnTo>
                    <a:pt x="2293" y="33"/>
                  </a:lnTo>
                  <a:lnTo>
                    <a:pt x="2279" y="49"/>
                  </a:lnTo>
                  <a:lnTo>
                    <a:pt x="2268" y="62"/>
                  </a:lnTo>
                  <a:lnTo>
                    <a:pt x="2258" y="75"/>
                  </a:lnTo>
                  <a:lnTo>
                    <a:pt x="2247" y="90"/>
                  </a:lnTo>
                  <a:lnTo>
                    <a:pt x="2238" y="104"/>
                  </a:lnTo>
                  <a:lnTo>
                    <a:pt x="2229" y="117"/>
                  </a:lnTo>
                  <a:lnTo>
                    <a:pt x="2218" y="126"/>
                  </a:lnTo>
                  <a:lnTo>
                    <a:pt x="2207" y="134"/>
                  </a:lnTo>
                  <a:lnTo>
                    <a:pt x="2191" y="139"/>
                  </a:lnTo>
                  <a:lnTo>
                    <a:pt x="2167" y="141"/>
                  </a:lnTo>
                  <a:lnTo>
                    <a:pt x="2154" y="143"/>
                  </a:lnTo>
                  <a:lnTo>
                    <a:pt x="2147" y="148"/>
                  </a:lnTo>
                  <a:lnTo>
                    <a:pt x="2147" y="156"/>
                  </a:lnTo>
                  <a:lnTo>
                    <a:pt x="2152" y="167"/>
                  </a:lnTo>
                  <a:lnTo>
                    <a:pt x="2160" y="180"/>
                  </a:lnTo>
                  <a:lnTo>
                    <a:pt x="2169" y="192"/>
                  </a:lnTo>
                  <a:lnTo>
                    <a:pt x="2178" y="207"/>
                  </a:lnTo>
                  <a:lnTo>
                    <a:pt x="2187" y="220"/>
                  </a:lnTo>
                  <a:lnTo>
                    <a:pt x="2194" y="233"/>
                  </a:lnTo>
                  <a:lnTo>
                    <a:pt x="2198" y="242"/>
                  </a:lnTo>
                  <a:lnTo>
                    <a:pt x="2196" y="251"/>
                  </a:lnTo>
                  <a:lnTo>
                    <a:pt x="2187" y="257"/>
                  </a:lnTo>
                  <a:lnTo>
                    <a:pt x="2172" y="258"/>
                  </a:lnTo>
                  <a:lnTo>
                    <a:pt x="2149" y="262"/>
                  </a:lnTo>
                  <a:lnTo>
                    <a:pt x="2128" y="269"/>
                  </a:lnTo>
                  <a:lnTo>
                    <a:pt x="2112" y="282"/>
                  </a:lnTo>
                  <a:lnTo>
                    <a:pt x="2101" y="295"/>
                  </a:lnTo>
                  <a:lnTo>
                    <a:pt x="2094" y="312"/>
                  </a:lnTo>
                  <a:lnTo>
                    <a:pt x="2094" y="326"/>
                  </a:lnTo>
                  <a:lnTo>
                    <a:pt x="2097" y="339"/>
                  </a:lnTo>
                  <a:lnTo>
                    <a:pt x="2106" y="350"/>
                  </a:lnTo>
                  <a:lnTo>
                    <a:pt x="2123" y="356"/>
                  </a:lnTo>
                  <a:lnTo>
                    <a:pt x="2145" y="356"/>
                  </a:lnTo>
                  <a:lnTo>
                    <a:pt x="2172" y="354"/>
                  </a:lnTo>
                  <a:lnTo>
                    <a:pt x="2193" y="356"/>
                  </a:lnTo>
                  <a:lnTo>
                    <a:pt x="2204" y="361"/>
                  </a:lnTo>
                  <a:lnTo>
                    <a:pt x="2207" y="370"/>
                  </a:lnTo>
                  <a:lnTo>
                    <a:pt x="2200" y="381"/>
                  </a:lnTo>
                  <a:lnTo>
                    <a:pt x="2187" y="394"/>
                  </a:lnTo>
                  <a:lnTo>
                    <a:pt x="2165" y="409"/>
                  </a:lnTo>
                  <a:lnTo>
                    <a:pt x="2134" y="425"/>
                  </a:lnTo>
                  <a:lnTo>
                    <a:pt x="2103" y="438"/>
                  </a:lnTo>
                  <a:lnTo>
                    <a:pt x="2068" y="449"/>
                  </a:lnTo>
                  <a:lnTo>
                    <a:pt x="2031" y="458"/>
                  </a:lnTo>
                  <a:lnTo>
                    <a:pt x="1995" y="467"/>
                  </a:lnTo>
                  <a:lnTo>
                    <a:pt x="1960" y="477"/>
                  </a:lnTo>
                  <a:lnTo>
                    <a:pt x="1927" y="488"/>
                  </a:lnTo>
                  <a:lnTo>
                    <a:pt x="1898" y="500"/>
                  </a:lnTo>
                  <a:lnTo>
                    <a:pt x="1874" y="517"/>
                  </a:lnTo>
                  <a:lnTo>
                    <a:pt x="1856" y="537"/>
                  </a:lnTo>
                  <a:lnTo>
                    <a:pt x="1839" y="557"/>
                  </a:lnTo>
                  <a:lnTo>
                    <a:pt x="1819" y="572"/>
                  </a:lnTo>
                  <a:lnTo>
                    <a:pt x="1793" y="585"/>
                  </a:lnTo>
                  <a:lnTo>
                    <a:pt x="1766" y="594"/>
                  </a:lnTo>
                  <a:lnTo>
                    <a:pt x="1738" y="605"/>
                  </a:lnTo>
                  <a:lnTo>
                    <a:pt x="1711" y="614"/>
                  </a:lnTo>
                  <a:lnTo>
                    <a:pt x="1687" y="623"/>
                  </a:lnTo>
                  <a:lnTo>
                    <a:pt x="1669" y="636"/>
                  </a:lnTo>
                  <a:lnTo>
                    <a:pt x="1656" y="649"/>
                  </a:lnTo>
                  <a:lnTo>
                    <a:pt x="1652" y="667"/>
                  </a:lnTo>
                  <a:lnTo>
                    <a:pt x="1652" y="684"/>
                  </a:lnTo>
                  <a:lnTo>
                    <a:pt x="1650" y="708"/>
                  </a:lnTo>
                  <a:lnTo>
                    <a:pt x="1647" y="733"/>
                  </a:lnTo>
                  <a:lnTo>
                    <a:pt x="1643" y="763"/>
                  </a:lnTo>
                  <a:lnTo>
                    <a:pt x="1636" y="792"/>
                  </a:lnTo>
                  <a:lnTo>
                    <a:pt x="1628" y="821"/>
                  </a:lnTo>
                  <a:lnTo>
                    <a:pt x="1617" y="851"/>
                  </a:lnTo>
                  <a:lnTo>
                    <a:pt x="1605" y="876"/>
                  </a:lnTo>
                  <a:lnTo>
                    <a:pt x="1590" y="898"/>
                  </a:lnTo>
                  <a:lnTo>
                    <a:pt x="1573" y="915"/>
                  </a:lnTo>
                  <a:lnTo>
                    <a:pt x="1551" y="926"/>
                  </a:lnTo>
                  <a:lnTo>
                    <a:pt x="1528" y="930"/>
                  </a:lnTo>
                  <a:lnTo>
                    <a:pt x="1502" y="924"/>
                  </a:lnTo>
                  <a:lnTo>
                    <a:pt x="1464" y="908"/>
                  </a:lnTo>
                  <a:lnTo>
                    <a:pt x="1432" y="886"/>
                  </a:lnTo>
                  <a:lnTo>
                    <a:pt x="1407" y="860"/>
                  </a:lnTo>
                  <a:lnTo>
                    <a:pt x="1385" y="831"/>
                  </a:lnTo>
                  <a:lnTo>
                    <a:pt x="1365" y="801"/>
                  </a:lnTo>
                  <a:lnTo>
                    <a:pt x="1348" y="770"/>
                  </a:lnTo>
                  <a:lnTo>
                    <a:pt x="1334" y="739"/>
                  </a:lnTo>
                  <a:lnTo>
                    <a:pt x="1319" y="710"/>
                  </a:lnTo>
                  <a:lnTo>
                    <a:pt x="1304" y="682"/>
                  </a:lnTo>
                  <a:lnTo>
                    <a:pt x="1291" y="658"/>
                  </a:lnTo>
                  <a:lnTo>
                    <a:pt x="1286" y="633"/>
                  </a:lnTo>
                  <a:lnTo>
                    <a:pt x="1288" y="609"/>
                  </a:lnTo>
                  <a:lnTo>
                    <a:pt x="1290" y="585"/>
                  </a:lnTo>
                  <a:lnTo>
                    <a:pt x="1295" y="563"/>
                  </a:lnTo>
                  <a:lnTo>
                    <a:pt x="1299" y="543"/>
                  </a:lnTo>
                  <a:lnTo>
                    <a:pt x="1299" y="526"/>
                  </a:lnTo>
                  <a:lnTo>
                    <a:pt x="1293" y="511"/>
                  </a:lnTo>
                  <a:lnTo>
                    <a:pt x="1282" y="500"/>
                  </a:lnTo>
                  <a:lnTo>
                    <a:pt x="1275" y="493"/>
                  </a:lnTo>
                  <a:lnTo>
                    <a:pt x="1273" y="482"/>
                  </a:lnTo>
                  <a:lnTo>
                    <a:pt x="1277" y="469"/>
                  </a:lnTo>
                  <a:lnTo>
                    <a:pt x="1284" y="456"/>
                  </a:lnTo>
                  <a:lnTo>
                    <a:pt x="1293" y="442"/>
                  </a:lnTo>
                  <a:lnTo>
                    <a:pt x="1304" y="427"/>
                  </a:lnTo>
                  <a:lnTo>
                    <a:pt x="1317" y="412"/>
                  </a:lnTo>
                  <a:lnTo>
                    <a:pt x="1328" y="401"/>
                  </a:lnTo>
                  <a:lnTo>
                    <a:pt x="1337" y="390"/>
                  </a:lnTo>
                  <a:lnTo>
                    <a:pt x="1345" y="385"/>
                  </a:lnTo>
                  <a:lnTo>
                    <a:pt x="1346" y="381"/>
                  </a:lnTo>
                  <a:lnTo>
                    <a:pt x="1345" y="381"/>
                  </a:lnTo>
                  <a:lnTo>
                    <a:pt x="1335" y="387"/>
                  </a:lnTo>
                  <a:lnTo>
                    <a:pt x="1319" y="396"/>
                  </a:lnTo>
                  <a:lnTo>
                    <a:pt x="1301" y="400"/>
                  </a:lnTo>
                  <a:lnTo>
                    <a:pt x="1284" y="400"/>
                  </a:lnTo>
                  <a:lnTo>
                    <a:pt x="1268" y="398"/>
                  </a:lnTo>
                  <a:lnTo>
                    <a:pt x="1255" y="392"/>
                  </a:lnTo>
                  <a:lnTo>
                    <a:pt x="1246" y="385"/>
                  </a:lnTo>
                  <a:lnTo>
                    <a:pt x="1242" y="376"/>
                  </a:lnTo>
                  <a:lnTo>
                    <a:pt x="1244" y="368"/>
                  </a:lnTo>
                  <a:lnTo>
                    <a:pt x="1253" y="361"/>
                  </a:lnTo>
                  <a:lnTo>
                    <a:pt x="1271" y="356"/>
                  </a:lnTo>
                  <a:lnTo>
                    <a:pt x="1293" y="348"/>
                  </a:lnTo>
                  <a:lnTo>
                    <a:pt x="1308" y="337"/>
                  </a:lnTo>
                  <a:lnTo>
                    <a:pt x="1315" y="324"/>
                  </a:lnTo>
                  <a:lnTo>
                    <a:pt x="1317" y="312"/>
                  </a:lnTo>
                  <a:lnTo>
                    <a:pt x="1315" y="299"/>
                  </a:lnTo>
                  <a:lnTo>
                    <a:pt x="1308" y="290"/>
                  </a:lnTo>
                  <a:lnTo>
                    <a:pt x="1297" y="282"/>
                  </a:lnTo>
                  <a:lnTo>
                    <a:pt x="1282" y="279"/>
                  </a:lnTo>
                  <a:lnTo>
                    <a:pt x="1266" y="280"/>
                  </a:lnTo>
                  <a:lnTo>
                    <a:pt x="1246" y="284"/>
                  </a:lnTo>
                  <a:lnTo>
                    <a:pt x="1227" y="284"/>
                  </a:lnTo>
                  <a:lnTo>
                    <a:pt x="1211" y="280"/>
                  </a:lnTo>
                  <a:lnTo>
                    <a:pt x="1198" y="273"/>
                  </a:lnTo>
                  <a:lnTo>
                    <a:pt x="1193" y="264"/>
                  </a:lnTo>
                  <a:lnTo>
                    <a:pt x="1193" y="251"/>
                  </a:lnTo>
                  <a:lnTo>
                    <a:pt x="1209" y="242"/>
                  </a:lnTo>
                  <a:lnTo>
                    <a:pt x="1306" y="196"/>
                  </a:lnTo>
                  <a:lnTo>
                    <a:pt x="1374" y="167"/>
                  </a:lnTo>
                  <a:lnTo>
                    <a:pt x="1405" y="154"/>
                  </a:lnTo>
                  <a:lnTo>
                    <a:pt x="1508" y="115"/>
                  </a:lnTo>
                  <a:lnTo>
                    <a:pt x="1630" y="79"/>
                  </a:lnTo>
                  <a:lnTo>
                    <a:pt x="1757" y="47"/>
                  </a:lnTo>
                  <a:lnTo>
                    <a:pt x="1885" y="24"/>
                  </a:lnTo>
                  <a:lnTo>
                    <a:pt x="2017" y="9"/>
                  </a:lnTo>
                  <a:lnTo>
                    <a:pt x="2150" y="0"/>
                  </a:lnTo>
                  <a:lnTo>
                    <a:pt x="2218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31BEF023-9F20-4777-AC54-24E8DB339521}"/>
                </a:ext>
              </a:extLst>
            </p:cNvPr>
            <p:cNvGrpSpPr/>
            <p:nvPr/>
          </p:nvGrpSpPr>
          <p:grpSpPr>
            <a:xfrm>
              <a:off x="7786688" y="1071563"/>
              <a:ext cx="1416050" cy="2498725"/>
              <a:chOff x="7786688" y="1071563"/>
              <a:chExt cx="1416050" cy="2498725"/>
            </a:xfrm>
          </p:grpSpPr>
          <p:sp>
            <p:nvSpPr>
              <p:cNvPr id="270" name="Freeform 206">
                <a:extLst>
                  <a:ext uri="{FF2B5EF4-FFF2-40B4-BE49-F238E27FC236}">
                    <a16:creationId xmlns:a16="http://schemas.microsoft.com/office/drawing/2014/main" id="{A662FD91-56D1-44F1-95A3-1D22A64208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6688" y="1071563"/>
                <a:ext cx="1416050" cy="2498725"/>
              </a:xfrm>
              <a:custGeom>
                <a:avLst/>
                <a:gdLst>
                  <a:gd name="T0" fmla="*/ 891 w 1783"/>
                  <a:gd name="T1" fmla="*/ 0 h 3148"/>
                  <a:gd name="T2" fmla="*/ 989 w 1783"/>
                  <a:gd name="T3" fmla="*/ 5 h 3148"/>
                  <a:gd name="T4" fmla="*/ 1082 w 1783"/>
                  <a:gd name="T5" fmla="*/ 20 h 3148"/>
                  <a:gd name="T6" fmla="*/ 1174 w 1783"/>
                  <a:gd name="T7" fmla="*/ 45 h 3148"/>
                  <a:gd name="T8" fmla="*/ 1260 w 1783"/>
                  <a:gd name="T9" fmla="*/ 78 h 3148"/>
                  <a:gd name="T10" fmla="*/ 1342 w 1783"/>
                  <a:gd name="T11" fmla="*/ 121 h 3148"/>
                  <a:gd name="T12" fmla="*/ 1417 w 1783"/>
                  <a:gd name="T13" fmla="*/ 172 h 3148"/>
                  <a:gd name="T14" fmla="*/ 1489 w 1783"/>
                  <a:gd name="T15" fmla="*/ 229 h 3148"/>
                  <a:gd name="T16" fmla="*/ 1553 w 1783"/>
                  <a:gd name="T17" fmla="*/ 293 h 3148"/>
                  <a:gd name="T18" fmla="*/ 1611 w 1783"/>
                  <a:gd name="T19" fmla="*/ 364 h 3148"/>
                  <a:gd name="T20" fmla="*/ 1661 w 1783"/>
                  <a:gd name="T21" fmla="*/ 441 h 3148"/>
                  <a:gd name="T22" fmla="*/ 1705 w 1783"/>
                  <a:gd name="T23" fmla="*/ 524 h 3148"/>
                  <a:gd name="T24" fmla="*/ 1738 w 1783"/>
                  <a:gd name="T25" fmla="*/ 610 h 3148"/>
                  <a:gd name="T26" fmla="*/ 1763 w 1783"/>
                  <a:gd name="T27" fmla="*/ 700 h 3148"/>
                  <a:gd name="T28" fmla="*/ 1778 w 1783"/>
                  <a:gd name="T29" fmla="*/ 795 h 3148"/>
                  <a:gd name="T30" fmla="*/ 1783 w 1783"/>
                  <a:gd name="T31" fmla="*/ 893 h 3148"/>
                  <a:gd name="T32" fmla="*/ 1782 w 1783"/>
                  <a:gd name="T33" fmla="*/ 948 h 3148"/>
                  <a:gd name="T34" fmla="*/ 1774 w 1783"/>
                  <a:gd name="T35" fmla="*/ 1006 h 3148"/>
                  <a:gd name="T36" fmla="*/ 1765 w 1783"/>
                  <a:gd name="T37" fmla="*/ 1067 h 3148"/>
                  <a:gd name="T38" fmla="*/ 1752 w 1783"/>
                  <a:gd name="T39" fmla="*/ 1126 h 3148"/>
                  <a:gd name="T40" fmla="*/ 1736 w 1783"/>
                  <a:gd name="T41" fmla="*/ 1179 h 3148"/>
                  <a:gd name="T42" fmla="*/ 1719 w 1783"/>
                  <a:gd name="T43" fmla="*/ 1226 h 3148"/>
                  <a:gd name="T44" fmla="*/ 891 w 1783"/>
                  <a:gd name="T45" fmla="*/ 3148 h 3148"/>
                  <a:gd name="T46" fmla="*/ 67 w 1783"/>
                  <a:gd name="T47" fmla="*/ 1234 h 3148"/>
                  <a:gd name="T48" fmla="*/ 47 w 1783"/>
                  <a:gd name="T49" fmla="*/ 1184 h 3148"/>
                  <a:gd name="T50" fmla="*/ 31 w 1783"/>
                  <a:gd name="T51" fmla="*/ 1127 h 3148"/>
                  <a:gd name="T52" fmla="*/ 18 w 1783"/>
                  <a:gd name="T53" fmla="*/ 1069 h 3148"/>
                  <a:gd name="T54" fmla="*/ 7 w 1783"/>
                  <a:gd name="T55" fmla="*/ 1006 h 3148"/>
                  <a:gd name="T56" fmla="*/ 1 w 1783"/>
                  <a:gd name="T57" fmla="*/ 948 h 3148"/>
                  <a:gd name="T58" fmla="*/ 0 w 1783"/>
                  <a:gd name="T59" fmla="*/ 893 h 3148"/>
                  <a:gd name="T60" fmla="*/ 5 w 1783"/>
                  <a:gd name="T61" fmla="*/ 795 h 3148"/>
                  <a:gd name="T62" fmla="*/ 20 w 1783"/>
                  <a:gd name="T63" fmla="*/ 700 h 3148"/>
                  <a:gd name="T64" fmla="*/ 45 w 1783"/>
                  <a:gd name="T65" fmla="*/ 610 h 3148"/>
                  <a:gd name="T66" fmla="*/ 78 w 1783"/>
                  <a:gd name="T67" fmla="*/ 524 h 3148"/>
                  <a:gd name="T68" fmla="*/ 120 w 1783"/>
                  <a:gd name="T69" fmla="*/ 441 h 3148"/>
                  <a:gd name="T70" fmla="*/ 172 w 1783"/>
                  <a:gd name="T71" fmla="*/ 364 h 3148"/>
                  <a:gd name="T72" fmla="*/ 228 w 1783"/>
                  <a:gd name="T73" fmla="*/ 293 h 3148"/>
                  <a:gd name="T74" fmla="*/ 293 w 1783"/>
                  <a:gd name="T75" fmla="*/ 229 h 3148"/>
                  <a:gd name="T76" fmla="*/ 364 w 1783"/>
                  <a:gd name="T77" fmla="*/ 172 h 3148"/>
                  <a:gd name="T78" fmla="*/ 441 w 1783"/>
                  <a:gd name="T79" fmla="*/ 121 h 3148"/>
                  <a:gd name="T80" fmla="*/ 523 w 1783"/>
                  <a:gd name="T81" fmla="*/ 78 h 3148"/>
                  <a:gd name="T82" fmla="*/ 609 w 1783"/>
                  <a:gd name="T83" fmla="*/ 45 h 3148"/>
                  <a:gd name="T84" fmla="*/ 699 w 1783"/>
                  <a:gd name="T85" fmla="*/ 20 h 3148"/>
                  <a:gd name="T86" fmla="*/ 794 w 1783"/>
                  <a:gd name="T87" fmla="*/ 5 h 3148"/>
                  <a:gd name="T88" fmla="*/ 891 w 1783"/>
                  <a:gd name="T89" fmla="*/ 0 h 3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783" h="3148">
                    <a:moveTo>
                      <a:pt x="891" y="0"/>
                    </a:moveTo>
                    <a:lnTo>
                      <a:pt x="989" y="5"/>
                    </a:lnTo>
                    <a:lnTo>
                      <a:pt x="1082" y="20"/>
                    </a:lnTo>
                    <a:lnTo>
                      <a:pt x="1174" y="45"/>
                    </a:lnTo>
                    <a:lnTo>
                      <a:pt x="1260" y="78"/>
                    </a:lnTo>
                    <a:lnTo>
                      <a:pt x="1342" y="121"/>
                    </a:lnTo>
                    <a:lnTo>
                      <a:pt x="1417" y="172"/>
                    </a:lnTo>
                    <a:lnTo>
                      <a:pt x="1489" y="229"/>
                    </a:lnTo>
                    <a:lnTo>
                      <a:pt x="1553" y="293"/>
                    </a:lnTo>
                    <a:lnTo>
                      <a:pt x="1611" y="364"/>
                    </a:lnTo>
                    <a:lnTo>
                      <a:pt x="1661" y="441"/>
                    </a:lnTo>
                    <a:lnTo>
                      <a:pt x="1705" y="524"/>
                    </a:lnTo>
                    <a:lnTo>
                      <a:pt x="1738" y="610"/>
                    </a:lnTo>
                    <a:lnTo>
                      <a:pt x="1763" y="700"/>
                    </a:lnTo>
                    <a:lnTo>
                      <a:pt x="1778" y="795"/>
                    </a:lnTo>
                    <a:lnTo>
                      <a:pt x="1783" y="893"/>
                    </a:lnTo>
                    <a:lnTo>
                      <a:pt x="1782" y="948"/>
                    </a:lnTo>
                    <a:lnTo>
                      <a:pt x="1774" y="1006"/>
                    </a:lnTo>
                    <a:lnTo>
                      <a:pt x="1765" y="1067"/>
                    </a:lnTo>
                    <a:lnTo>
                      <a:pt x="1752" y="1126"/>
                    </a:lnTo>
                    <a:lnTo>
                      <a:pt x="1736" y="1179"/>
                    </a:lnTo>
                    <a:lnTo>
                      <a:pt x="1719" y="1226"/>
                    </a:lnTo>
                    <a:lnTo>
                      <a:pt x="891" y="3148"/>
                    </a:lnTo>
                    <a:lnTo>
                      <a:pt x="67" y="1234"/>
                    </a:lnTo>
                    <a:lnTo>
                      <a:pt x="47" y="1184"/>
                    </a:lnTo>
                    <a:lnTo>
                      <a:pt x="31" y="1127"/>
                    </a:lnTo>
                    <a:lnTo>
                      <a:pt x="18" y="1069"/>
                    </a:lnTo>
                    <a:lnTo>
                      <a:pt x="7" y="1006"/>
                    </a:lnTo>
                    <a:lnTo>
                      <a:pt x="1" y="948"/>
                    </a:lnTo>
                    <a:lnTo>
                      <a:pt x="0" y="893"/>
                    </a:lnTo>
                    <a:lnTo>
                      <a:pt x="5" y="795"/>
                    </a:lnTo>
                    <a:lnTo>
                      <a:pt x="20" y="700"/>
                    </a:lnTo>
                    <a:lnTo>
                      <a:pt x="45" y="610"/>
                    </a:lnTo>
                    <a:lnTo>
                      <a:pt x="78" y="524"/>
                    </a:lnTo>
                    <a:lnTo>
                      <a:pt x="120" y="441"/>
                    </a:lnTo>
                    <a:lnTo>
                      <a:pt x="172" y="364"/>
                    </a:lnTo>
                    <a:lnTo>
                      <a:pt x="228" y="293"/>
                    </a:lnTo>
                    <a:lnTo>
                      <a:pt x="293" y="229"/>
                    </a:lnTo>
                    <a:lnTo>
                      <a:pt x="364" y="172"/>
                    </a:lnTo>
                    <a:lnTo>
                      <a:pt x="441" y="121"/>
                    </a:lnTo>
                    <a:lnTo>
                      <a:pt x="523" y="78"/>
                    </a:lnTo>
                    <a:lnTo>
                      <a:pt x="609" y="45"/>
                    </a:lnTo>
                    <a:lnTo>
                      <a:pt x="699" y="20"/>
                    </a:lnTo>
                    <a:lnTo>
                      <a:pt x="794" y="5"/>
                    </a:lnTo>
                    <a:lnTo>
                      <a:pt x="891" y="0"/>
                    </a:lnTo>
                    <a:close/>
                  </a:path>
                </a:pathLst>
              </a:custGeom>
              <a:solidFill>
                <a:srgbClr val="A7CCD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Freeform 207">
                <a:extLst>
                  <a:ext uri="{FF2B5EF4-FFF2-40B4-BE49-F238E27FC236}">
                    <a16:creationId xmlns:a16="http://schemas.microsoft.com/office/drawing/2014/main" id="{F97A364D-AA34-402C-BC02-6B120425F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3688" y="1198563"/>
                <a:ext cx="1163637" cy="1163638"/>
              </a:xfrm>
              <a:custGeom>
                <a:avLst/>
                <a:gdLst>
                  <a:gd name="T0" fmla="*/ 732 w 1465"/>
                  <a:gd name="T1" fmla="*/ 0 h 1467"/>
                  <a:gd name="T2" fmla="*/ 824 w 1465"/>
                  <a:gd name="T3" fmla="*/ 6 h 1467"/>
                  <a:gd name="T4" fmla="*/ 912 w 1465"/>
                  <a:gd name="T5" fmla="*/ 22 h 1467"/>
                  <a:gd name="T6" fmla="*/ 996 w 1465"/>
                  <a:gd name="T7" fmla="*/ 50 h 1467"/>
                  <a:gd name="T8" fmla="*/ 1075 w 1465"/>
                  <a:gd name="T9" fmla="*/ 86 h 1467"/>
                  <a:gd name="T10" fmla="*/ 1150 w 1465"/>
                  <a:gd name="T11" fmla="*/ 132 h 1467"/>
                  <a:gd name="T12" fmla="*/ 1218 w 1465"/>
                  <a:gd name="T13" fmla="*/ 185 h 1467"/>
                  <a:gd name="T14" fmla="*/ 1278 w 1465"/>
                  <a:gd name="T15" fmla="*/ 248 h 1467"/>
                  <a:gd name="T16" fmla="*/ 1333 w 1465"/>
                  <a:gd name="T17" fmla="*/ 315 h 1467"/>
                  <a:gd name="T18" fmla="*/ 1379 w 1465"/>
                  <a:gd name="T19" fmla="*/ 389 h 1467"/>
                  <a:gd name="T20" fmla="*/ 1416 w 1465"/>
                  <a:gd name="T21" fmla="*/ 470 h 1467"/>
                  <a:gd name="T22" fmla="*/ 1441 w 1465"/>
                  <a:gd name="T23" fmla="*/ 554 h 1467"/>
                  <a:gd name="T24" fmla="*/ 1458 w 1465"/>
                  <a:gd name="T25" fmla="*/ 642 h 1467"/>
                  <a:gd name="T26" fmla="*/ 1465 w 1465"/>
                  <a:gd name="T27" fmla="*/ 734 h 1467"/>
                  <a:gd name="T28" fmla="*/ 1458 w 1465"/>
                  <a:gd name="T29" fmla="*/ 825 h 1467"/>
                  <a:gd name="T30" fmla="*/ 1441 w 1465"/>
                  <a:gd name="T31" fmla="*/ 913 h 1467"/>
                  <a:gd name="T32" fmla="*/ 1416 w 1465"/>
                  <a:gd name="T33" fmla="*/ 998 h 1467"/>
                  <a:gd name="T34" fmla="*/ 1379 w 1465"/>
                  <a:gd name="T35" fmla="*/ 1078 h 1467"/>
                  <a:gd name="T36" fmla="*/ 1333 w 1465"/>
                  <a:gd name="T37" fmla="*/ 1152 h 1467"/>
                  <a:gd name="T38" fmla="*/ 1278 w 1465"/>
                  <a:gd name="T39" fmla="*/ 1220 h 1467"/>
                  <a:gd name="T40" fmla="*/ 1218 w 1465"/>
                  <a:gd name="T41" fmla="*/ 1282 h 1467"/>
                  <a:gd name="T42" fmla="*/ 1150 w 1465"/>
                  <a:gd name="T43" fmla="*/ 1335 h 1467"/>
                  <a:gd name="T44" fmla="*/ 1075 w 1465"/>
                  <a:gd name="T45" fmla="*/ 1381 h 1467"/>
                  <a:gd name="T46" fmla="*/ 996 w 1465"/>
                  <a:gd name="T47" fmla="*/ 1418 h 1467"/>
                  <a:gd name="T48" fmla="*/ 912 w 1465"/>
                  <a:gd name="T49" fmla="*/ 1443 h 1467"/>
                  <a:gd name="T50" fmla="*/ 824 w 1465"/>
                  <a:gd name="T51" fmla="*/ 1462 h 1467"/>
                  <a:gd name="T52" fmla="*/ 732 w 1465"/>
                  <a:gd name="T53" fmla="*/ 1467 h 1467"/>
                  <a:gd name="T54" fmla="*/ 641 w 1465"/>
                  <a:gd name="T55" fmla="*/ 1462 h 1467"/>
                  <a:gd name="T56" fmla="*/ 553 w 1465"/>
                  <a:gd name="T57" fmla="*/ 1443 h 1467"/>
                  <a:gd name="T58" fmla="*/ 469 w 1465"/>
                  <a:gd name="T59" fmla="*/ 1418 h 1467"/>
                  <a:gd name="T60" fmla="*/ 388 w 1465"/>
                  <a:gd name="T61" fmla="*/ 1381 h 1467"/>
                  <a:gd name="T62" fmla="*/ 315 w 1465"/>
                  <a:gd name="T63" fmla="*/ 1335 h 1467"/>
                  <a:gd name="T64" fmla="*/ 245 w 1465"/>
                  <a:gd name="T65" fmla="*/ 1282 h 1467"/>
                  <a:gd name="T66" fmla="*/ 185 w 1465"/>
                  <a:gd name="T67" fmla="*/ 1220 h 1467"/>
                  <a:gd name="T68" fmla="*/ 132 w 1465"/>
                  <a:gd name="T69" fmla="*/ 1152 h 1467"/>
                  <a:gd name="T70" fmla="*/ 86 w 1465"/>
                  <a:gd name="T71" fmla="*/ 1078 h 1467"/>
                  <a:gd name="T72" fmla="*/ 49 w 1465"/>
                  <a:gd name="T73" fmla="*/ 998 h 1467"/>
                  <a:gd name="T74" fmla="*/ 22 w 1465"/>
                  <a:gd name="T75" fmla="*/ 913 h 1467"/>
                  <a:gd name="T76" fmla="*/ 5 w 1465"/>
                  <a:gd name="T77" fmla="*/ 825 h 1467"/>
                  <a:gd name="T78" fmla="*/ 0 w 1465"/>
                  <a:gd name="T79" fmla="*/ 734 h 1467"/>
                  <a:gd name="T80" fmla="*/ 5 w 1465"/>
                  <a:gd name="T81" fmla="*/ 642 h 1467"/>
                  <a:gd name="T82" fmla="*/ 22 w 1465"/>
                  <a:gd name="T83" fmla="*/ 554 h 1467"/>
                  <a:gd name="T84" fmla="*/ 49 w 1465"/>
                  <a:gd name="T85" fmla="*/ 470 h 1467"/>
                  <a:gd name="T86" fmla="*/ 86 w 1465"/>
                  <a:gd name="T87" fmla="*/ 389 h 1467"/>
                  <a:gd name="T88" fmla="*/ 132 w 1465"/>
                  <a:gd name="T89" fmla="*/ 315 h 1467"/>
                  <a:gd name="T90" fmla="*/ 185 w 1465"/>
                  <a:gd name="T91" fmla="*/ 248 h 1467"/>
                  <a:gd name="T92" fmla="*/ 245 w 1465"/>
                  <a:gd name="T93" fmla="*/ 185 h 1467"/>
                  <a:gd name="T94" fmla="*/ 315 w 1465"/>
                  <a:gd name="T95" fmla="*/ 132 h 1467"/>
                  <a:gd name="T96" fmla="*/ 388 w 1465"/>
                  <a:gd name="T97" fmla="*/ 86 h 1467"/>
                  <a:gd name="T98" fmla="*/ 469 w 1465"/>
                  <a:gd name="T99" fmla="*/ 50 h 1467"/>
                  <a:gd name="T100" fmla="*/ 553 w 1465"/>
                  <a:gd name="T101" fmla="*/ 22 h 1467"/>
                  <a:gd name="T102" fmla="*/ 641 w 1465"/>
                  <a:gd name="T103" fmla="*/ 6 h 1467"/>
                  <a:gd name="T104" fmla="*/ 732 w 1465"/>
                  <a:gd name="T105" fmla="*/ 0 h 1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65" h="1467">
                    <a:moveTo>
                      <a:pt x="732" y="0"/>
                    </a:moveTo>
                    <a:lnTo>
                      <a:pt x="824" y="6"/>
                    </a:lnTo>
                    <a:lnTo>
                      <a:pt x="912" y="22"/>
                    </a:lnTo>
                    <a:lnTo>
                      <a:pt x="996" y="50"/>
                    </a:lnTo>
                    <a:lnTo>
                      <a:pt x="1075" y="86"/>
                    </a:lnTo>
                    <a:lnTo>
                      <a:pt x="1150" y="132"/>
                    </a:lnTo>
                    <a:lnTo>
                      <a:pt x="1218" y="185"/>
                    </a:lnTo>
                    <a:lnTo>
                      <a:pt x="1278" y="248"/>
                    </a:lnTo>
                    <a:lnTo>
                      <a:pt x="1333" y="315"/>
                    </a:lnTo>
                    <a:lnTo>
                      <a:pt x="1379" y="389"/>
                    </a:lnTo>
                    <a:lnTo>
                      <a:pt x="1416" y="470"/>
                    </a:lnTo>
                    <a:lnTo>
                      <a:pt x="1441" y="554"/>
                    </a:lnTo>
                    <a:lnTo>
                      <a:pt x="1458" y="642"/>
                    </a:lnTo>
                    <a:lnTo>
                      <a:pt x="1465" y="734"/>
                    </a:lnTo>
                    <a:lnTo>
                      <a:pt x="1458" y="825"/>
                    </a:lnTo>
                    <a:lnTo>
                      <a:pt x="1441" y="913"/>
                    </a:lnTo>
                    <a:lnTo>
                      <a:pt x="1416" y="998"/>
                    </a:lnTo>
                    <a:lnTo>
                      <a:pt x="1379" y="1078"/>
                    </a:lnTo>
                    <a:lnTo>
                      <a:pt x="1333" y="1152"/>
                    </a:lnTo>
                    <a:lnTo>
                      <a:pt x="1278" y="1220"/>
                    </a:lnTo>
                    <a:lnTo>
                      <a:pt x="1218" y="1282"/>
                    </a:lnTo>
                    <a:lnTo>
                      <a:pt x="1150" y="1335"/>
                    </a:lnTo>
                    <a:lnTo>
                      <a:pt x="1075" y="1381"/>
                    </a:lnTo>
                    <a:lnTo>
                      <a:pt x="996" y="1418"/>
                    </a:lnTo>
                    <a:lnTo>
                      <a:pt x="912" y="1443"/>
                    </a:lnTo>
                    <a:lnTo>
                      <a:pt x="824" y="1462"/>
                    </a:lnTo>
                    <a:lnTo>
                      <a:pt x="732" y="1467"/>
                    </a:lnTo>
                    <a:lnTo>
                      <a:pt x="641" y="1462"/>
                    </a:lnTo>
                    <a:lnTo>
                      <a:pt x="553" y="1443"/>
                    </a:lnTo>
                    <a:lnTo>
                      <a:pt x="469" y="1418"/>
                    </a:lnTo>
                    <a:lnTo>
                      <a:pt x="388" y="1381"/>
                    </a:lnTo>
                    <a:lnTo>
                      <a:pt x="315" y="1335"/>
                    </a:lnTo>
                    <a:lnTo>
                      <a:pt x="245" y="1282"/>
                    </a:lnTo>
                    <a:lnTo>
                      <a:pt x="185" y="1220"/>
                    </a:lnTo>
                    <a:lnTo>
                      <a:pt x="132" y="1152"/>
                    </a:lnTo>
                    <a:lnTo>
                      <a:pt x="86" y="1078"/>
                    </a:lnTo>
                    <a:lnTo>
                      <a:pt x="49" y="998"/>
                    </a:lnTo>
                    <a:lnTo>
                      <a:pt x="22" y="913"/>
                    </a:lnTo>
                    <a:lnTo>
                      <a:pt x="5" y="825"/>
                    </a:lnTo>
                    <a:lnTo>
                      <a:pt x="0" y="734"/>
                    </a:lnTo>
                    <a:lnTo>
                      <a:pt x="5" y="642"/>
                    </a:lnTo>
                    <a:lnTo>
                      <a:pt x="22" y="554"/>
                    </a:lnTo>
                    <a:lnTo>
                      <a:pt x="49" y="470"/>
                    </a:lnTo>
                    <a:lnTo>
                      <a:pt x="86" y="389"/>
                    </a:lnTo>
                    <a:lnTo>
                      <a:pt x="132" y="315"/>
                    </a:lnTo>
                    <a:lnTo>
                      <a:pt x="185" y="248"/>
                    </a:lnTo>
                    <a:lnTo>
                      <a:pt x="245" y="185"/>
                    </a:lnTo>
                    <a:lnTo>
                      <a:pt x="315" y="132"/>
                    </a:lnTo>
                    <a:lnTo>
                      <a:pt x="388" y="86"/>
                    </a:lnTo>
                    <a:lnTo>
                      <a:pt x="469" y="50"/>
                    </a:lnTo>
                    <a:lnTo>
                      <a:pt x="553" y="22"/>
                    </a:lnTo>
                    <a:lnTo>
                      <a:pt x="641" y="6"/>
                    </a:lnTo>
                    <a:lnTo>
                      <a:pt x="732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7" name="Group 266">
              <a:extLst>
                <a:ext uri="{FF2B5EF4-FFF2-40B4-BE49-F238E27FC236}">
                  <a16:creationId xmlns:a16="http://schemas.microsoft.com/office/drawing/2014/main" id="{125CC6FD-E7B9-48A6-BCCD-007A87697BDC}"/>
                </a:ext>
              </a:extLst>
            </p:cNvPr>
            <p:cNvGrpSpPr/>
            <p:nvPr/>
          </p:nvGrpSpPr>
          <p:grpSpPr>
            <a:xfrm>
              <a:off x="6542088" y="2811463"/>
              <a:ext cx="823912" cy="1454150"/>
              <a:chOff x="6542088" y="2811463"/>
              <a:chExt cx="823912" cy="1454150"/>
            </a:xfrm>
          </p:grpSpPr>
          <p:sp>
            <p:nvSpPr>
              <p:cNvPr id="268" name="Freeform 204">
                <a:extLst>
                  <a:ext uri="{FF2B5EF4-FFF2-40B4-BE49-F238E27FC236}">
                    <a16:creationId xmlns:a16="http://schemas.microsoft.com/office/drawing/2014/main" id="{CA72B033-152F-48E3-A0C3-7F0D4187B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2088" y="2811463"/>
                <a:ext cx="823912" cy="1454150"/>
              </a:xfrm>
              <a:custGeom>
                <a:avLst/>
                <a:gdLst>
                  <a:gd name="T0" fmla="*/ 518 w 1036"/>
                  <a:gd name="T1" fmla="*/ 0 h 1832"/>
                  <a:gd name="T2" fmla="*/ 595 w 1036"/>
                  <a:gd name="T3" fmla="*/ 7 h 1832"/>
                  <a:gd name="T4" fmla="*/ 668 w 1036"/>
                  <a:gd name="T5" fmla="*/ 22 h 1832"/>
                  <a:gd name="T6" fmla="*/ 738 w 1036"/>
                  <a:gd name="T7" fmla="*/ 50 h 1832"/>
                  <a:gd name="T8" fmla="*/ 800 w 1036"/>
                  <a:gd name="T9" fmla="*/ 84 h 1832"/>
                  <a:gd name="T10" fmla="*/ 859 w 1036"/>
                  <a:gd name="T11" fmla="*/ 128 h 1832"/>
                  <a:gd name="T12" fmla="*/ 910 w 1036"/>
                  <a:gd name="T13" fmla="*/ 180 h 1832"/>
                  <a:gd name="T14" fmla="*/ 954 w 1036"/>
                  <a:gd name="T15" fmla="*/ 237 h 1832"/>
                  <a:gd name="T16" fmla="*/ 989 w 1036"/>
                  <a:gd name="T17" fmla="*/ 301 h 1832"/>
                  <a:gd name="T18" fmla="*/ 1014 w 1036"/>
                  <a:gd name="T19" fmla="*/ 371 h 1832"/>
                  <a:gd name="T20" fmla="*/ 1031 w 1036"/>
                  <a:gd name="T21" fmla="*/ 444 h 1832"/>
                  <a:gd name="T22" fmla="*/ 1036 w 1036"/>
                  <a:gd name="T23" fmla="*/ 521 h 1832"/>
                  <a:gd name="T24" fmla="*/ 1035 w 1036"/>
                  <a:gd name="T25" fmla="*/ 559 h 1832"/>
                  <a:gd name="T26" fmla="*/ 1029 w 1036"/>
                  <a:gd name="T27" fmla="*/ 600 h 1832"/>
                  <a:gd name="T28" fmla="*/ 1022 w 1036"/>
                  <a:gd name="T29" fmla="*/ 642 h 1832"/>
                  <a:gd name="T30" fmla="*/ 1013 w 1036"/>
                  <a:gd name="T31" fmla="*/ 680 h 1832"/>
                  <a:gd name="T32" fmla="*/ 1000 w 1036"/>
                  <a:gd name="T33" fmla="*/ 713 h 1832"/>
                  <a:gd name="T34" fmla="*/ 518 w 1036"/>
                  <a:gd name="T35" fmla="*/ 1832 h 1832"/>
                  <a:gd name="T36" fmla="*/ 40 w 1036"/>
                  <a:gd name="T37" fmla="*/ 719 h 1832"/>
                  <a:gd name="T38" fmla="*/ 27 w 1036"/>
                  <a:gd name="T39" fmla="*/ 684 h 1832"/>
                  <a:gd name="T40" fmla="*/ 16 w 1036"/>
                  <a:gd name="T41" fmla="*/ 644 h 1832"/>
                  <a:gd name="T42" fmla="*/ 7 w 1036"/>
                  <a:gd name="T43" fmla="*/ 602 h 1832"/>
                  <a:gd name="T44" fmla="*/ 2 w 1036"/>
                  <a:gd name="T45" fmla="*/ 559 h 1832"/>
                  <a:gd name="T46" fmla="*/ 0 w 1036"/>
                  <a:gd name="T47" fmla="*/ 521 h 1832"/>
                  <a:gd name="T48" fmla="*/ 5 w 1036"/>
                  <a:gd name="T49" fmla="*/ 444 h 1832"/>
                  <a:gd name="T50" fmla="*/ 22 w 1036"/>
                  <a:gd name="T51" fmla="*/ 371 h 1832"/>
                  <a:gd name="T52" fmla="*/ 49 w 1036"/>
                  <a:gd name="T53" fmla="*/ 301 h 1832"/>
                  <a:gd name="T54" fmla="*/ 84 w 1036"/>
                  <a:gd name="T55" fmla="*/ 237 h 1832"/>
                  <a:gd name="T56" fmla="*/ 128 w 1036"/>
                  <a:gd name="T57" fmla="*/ 180 h 1832"/>
                  <a:gd name="T58" fmla="*/ 179 w 1036"/>
                  <a:gd name="T59" fmla="*/ 128 h 1832"/>
                  <a:gd name="T60" fmla="*/ 236 w 1036"/>
                  <a:gd name="T61" fmla="*/ 84 h 1832"/>
                  <a:gd name="T62" fmla="*/ 300 w 1036"/>
                  <a:gd name="T63" fmla="*/ 50 h 1832"/>
                  <a:gd name="T64" fmla="*/ 370 w 1036"/>
                  <a:gd name="T65" fmla="*/ 22 h 1832"/>
                  <a:gd name="T66" fmla="*/ 441 w 1036"/>
                  <a:gd name="T67" fmla="*/ 7 h 1832"/>
                  <a:gd name="T68" fmla="*/ 518 w 1036"/>
                  <a:gd name="T69" fmla="*/ 0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36" h="1832">
                    <a:moveTo>
                      <a:pt x="518" y="0"/>
                    </a:moveTo>
                    <a:lnTo>
                      <a:pt x="595" y="7"/>
                    </a:lnTo>
                    <a:lnTo>
                      <a:pt x="668" y="22"/>
                    </a:lnTo>
                    <a:lnTo>
                      <a:pt x="738" y="50"/>
                    </a:lnTo>
                    <a:lnTo>
                      <a:pt x="800" y="84"/>
                    </a:lnTo>
                    <a:lnTo>
                      <a:pt x="859" y="128"/>
                    </a:lnTo>
                    <a:lnTo>
                      <a:pt x="910" y="180"/>
                    </a:lnTo>
                    <a:lnTo>
                      <a:pt x="954" y="237"/>
                    </a:lnTo>
                    <a:lnTo>
                      <a:pt x="989" y="301"/>
                    </a:lnTo>
                    <a:lnTo>
                      <a:pt x="1014" y="371"/>
                    </a:lnTo>
                    <a:lnTo>
                      <a:pt x="1031" y="444"/>
                    </a:lnTo>
                    <a:lnTo>
                      <a:pt x="1036" y="521"/>
                    </a:lnTo>
                    <a:lnTo>
                      <a:pt x="1035" y="559"/>
                    </a:lnTo>
                    <a:lnTo>
                      <a:pt x="1029" y="600"/>
                    </a:lnTo>
                    <a:lnTo>
                      <a:pt x="1022" y="642"/>
                    </a:lnTo>
                    <a:lnTo>
                      <a:pt x="1013" y="680"/>
                    </a:lnTo>
                    <a:lnTo>
                      <a:pt x="1000" y="713"/>
                    </a:lnTo>
                    <a:lnTo>
                      <a:pt x="518" y="1832"/>
                    </a:lnTo>
                    <a:lnTo>
                      <a:pt x="40" y="719"/>
                    </a:lnTo>
                    <a:lnTo>
                      <a:pt x="27" y="684"/>
                    </a:lnTo>
                    <a:lnTo>
                      <a:pt x="16" y="644"/>
                    </a:lnTo>
                    <a:lnTo>
                      <a:pt x="7" y="602"/>
                    </a:lnTo>
                    <a:lnTo>
                      <a:pt x="2" y="559"/>
                    </a:lnTo>
                    <a:lnTo>
                      <a:pt x="0" y="521"/>
                    </a:lnTo>
                    <a:lnTo>
                      <a:pt x="5" y="444"/>
                    </a:lnTo>
                    <a:lnTo>
                      <a:pt x="22" y="371"/>
                    </a:lnTo>
                    <a:lnTo>
                      <a:pt x="49" y="301"/>
                    </a:lnTo>
                    <a:lnTo>
                      <a:pt x="84" y="237"/>
                    </a:lnTo>
                    <a:lnTo>
                      <a:pt x="128" y="180"/>
                    </a:lnTo>
                    <a:lnTo>
                      <a:pt x="179" y="128"/>
                    </a:lnTo>
                    <a:lnTo>
                      <a:pt x="236" y="84"/>
                    </a:lnTo>
                    <a:lnTo>
                      <a:pt x="300" y="50"/>
                    </a:lnTo>
                    <a:lnTo>
                      <a:pt x="370" y="22"/>
                    </a:lnTo>
                    <a:lnTo>
                      <a:pt x="441" y="7"/>
                    </a:lnTo>
                    <a:lnTo>
                      <a:pt x="518" y="0"/>
                    </a:lnTo>
                    <a:close/>
                  </a:path>
                </a:pathLst>
              </a:custGeom>
              <a:solidFill>
                <a:srgbClr val="59595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9" name="Freeform 12">
                <a:extLst>
                  <a:ext uri="{FF2B5EF4-FFF2-40B4-BE49-F238E27FC236}">
                    <a16:creationId xmlns:a16="http://schemas.microsoft.com/office/drawing/2014/main" id="{044FD214-0925-4A8D-8C75-06FEAEFBA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700" y="2884488"/>
                <a:ext cx="676275" cy="677863"/>
              </a:xfrm>
              <a:custGeom>
                <a:avLst/>
                <a:gdLst>
                  <a:gd name="T0" fmla="*/ 425 w 852"/>
                  <a:gd name="T1" fmla="*/ 0 h 852"/>
                  <a:gd name="T2" fmla="*/ 495 w 852"/>
                  <a:gd name="T3" fmla="*/ 5 h 852"/>
                  <a:gd name="T4" fmla="*/ 561 w 852"/>
                  <a:gd name="T5" fmla="*/ 22 h 852"/>
                  <a:gd name="T6" fmla="*/ 621 w 852"/>
                  <a:gd name="T7" fmla="*/ 47 h 852"/>
                  <a:gd name="T8" fmla="*/ 676 w 852"/>
                  <a:gd name="T9" fmla="*/ 82 h 852"/>
                  <a:gd name="T10" fmla="*/ 725 w 852"/>
                  <a:gd name="T11" fmla="*/ 124 h 852"/>
                  <a:gd name="T12" fmla="*/ 769 w 852"/>
                  <a:gd name="T13" fmla="*/ 174 h 852"/>
                  <a:gd name="T14" fmla="*/ 804 w 852"/>
                  <a:gd name="T15" fmla="*/ 231 h 852"/>
                  <a:gd name="T16" fmla="*/ 830 w 852"/>
                  <a:gd name="T17" fmla="*/ 291 h 852"/>
                  <a:gd name="T18" fmla="*/ 846 w 852"/>
                  <a:gd name="T19" fmla="*/ 357 h 852"/>
                  <a:gd name="T20" fmla="*/ 852 w 852"/>
                  <a:gd name="T21" fmla="*/ 425 h 852"/>
                  <a:gd name="T22" fmla="*/ 846 w 852"/>
                  <a:gd name="T23" fmla="*/ 495 h 852"/>
                  <a:gd name="T24" fmla="*/ 830 w 852"/>
                  <a:gd name="T25" fmla="*/ 561 h 852"/>
                  <a:gd name="T26" fmla="*/ 804 w 852"/>
                  <a:gd name="T27" fmla="*/ 621 h 852"/>
                  <a:gd name="T28" fmla="*/ 769 w 852"/>
                  <a:gd name="T29" fmla="*/ 678 h 852"/>
                  <a:gd name="T30" fmla="*/ 725 w 852"/>
                  <a:gd name="T31" fmla="*/ 728 h 852"/>
                  <a:gd name="T32" fmla="*/ 676 w 852"/>
                  <a:gd name="T33" fmla="*/ 770 h 852"/>
                  <a:gd name="T34" fmla="*/ 621 w 852"/>
                  <a:gd name="T35" fmla="*/ 805 h 852"/>
                  <a:gd name="T36" fmla="*/ 561 w 852"/>
                  <a:gd name="T37" fmla="*/ 830 h 852"/>
                  <a:gd name="T38" fmla="*/ 495 w 852"/>
                  <a:gd name="T39" fmla="*/ 847 h 852"/>
                  <a:gd name="T40" fmla="*/ 425 w 852"/>
                  <a:gd name="T41" fmla="*/ 852 h 852"/>
                  <a:gd name="T42" fmla="*/ 357 w 852"/>
                  <a:gd name="T43" fmla="*/ 847 h 852"/>
                  <a:gd name="T44" fmla="*/ 291 w 852"/>
                  <a:gd name="T45" fmla="*/ 830 h 852"/>
                  <a:gd name="T46" fmla="*/ 231 w 852"/>
                  <a:gd name="T47" fmla="*/ 805 h 852"/>
                  <a:gd name="T48" fmla="*/ 174 w 852"/>
                  <a:gd name="T49" fmla="*/ 770 h 852"/>
                  <a:gd name="T50" fmla="*/ 125 w 852"/>
                  <a:gd name="T51" fmla="*/ 728 h 852"/>
                  <a:gd name="T52" fmla="*/ 83 w 852"/>
                  <a:gd name="T53" fmla="*/ 678 h 852"/>
                  <a:gd name="T54" fmla="*/ 48 w 852"/>
                  <a:gd name="T55" fmla="*/ 621 h 852"/>
                  <a:gd name="T56" fmla="*/ 22 w 852"/>
                  <a:gd name="T57" fmla="*/ 561 h 852"/>
                  <a:gd name="T58" fmla="*/ 6 w 852"/>
                  <a:gd name="T59" fmla="*/ 495 h 852"/>
                  <a:gd name="T60" fmla="*/ 0 w 852"/>
                  <a:gd name="T61" fmla="*/ 425 h 852"/>
                  <a:gd name="T62" fmla="*/ 6 w 852"/>
                  <a:gd name="T63" fmla="*/ 357 h 852"/>
                  <a:gd name="T64" fmla="*/ 22 w 852"/>
                  <a:gd name="T65" fmla="*/ 291 h 852"/>
                  <a:gd name="T66" fmla="*/ 48 w 852"/>
                  <a:gd name="T67" fmla="*/ 231 h 852"/>
                  <a:gd name="T68" fmla="*/ 83 w 852"/>
                  <a:gd name="T69" fmla="*/ 174 h 852"/>
                  <a:gd name="T70" fmla="*/ 125 w 852"/>
                  <a:gd name="T71" fmla="*/ 124 h 852"/>
                  <a:gd name="T72" fmla="*/ 174 w 852"/>
                  <a:gd name="T73" fmla="*/ 82 h 852"/>
                  <a:gd name="T74" fmla="*/ 231 w 852"/>
                  <a:gd name="T75" fmla="*/ 47 h 852"/>
                  <a:gd name="T76" fmla="*/ 291 w 852"/>
                  <a:gd name="T77" fmla="*/ 22 h 852"/>
                  <a:gd name="T78" fmla="*/ 357 w 852"/>
                  <a:gd name="T79" fmla="*/ 5 h 852"/>
                  <a:gd name="T80" fmla="*/ 425 w 852"/>
                  <a:gd name="T81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52" h="852">
                    <a:moveTo>
                      <a:pt x="425" y="0"/>
                    </a:moveTo>
                    <a:lnTo>
                      <a:pt x="495" y="5"/>
                    </a:lnTo>
                    <a:lnTo>
                      <a:pt x="561" y="22"/>
                    </a:lnTo>
                    <a:lnTo>
                      <a:pt x="621" y="47"/>
                    </a:lnTo>
                    <a:lnTo>
                      <a:pt x="676" y="82"/>
                    </a:lnTo>
                    <a:lnTo>
                      <a:pt x="725" y="124"/>
                    </a:lnTo>
                    <a:lnTo>
                      <a:pt x="769" y="174"/>
                    </a:lnTo>
                    <a:lnTo>
                      <a:pt x="804" y="231"/>
                    </a:lnTo>
                    <a:lnTo>
                      <a:pt x="830" y="291"/>
                    </a:lnTo>
                    <a:lnTo>
                      <a:pt x="846" y="357"/>
                    </a:lnTo>
                    <a:lnTo>
                      <a:pt x="852" y="425"/>
                    </a:lnTo>
                    <a:lnTo>
                      <a:pt x="846" y="495"/>
                    </a:lnTo>
                    <a:lnTo>
                      <a:pt x="830" y="561"/>
                    </a:lnTo>
                    <a:lnTo>
                      <a:pt x="804" y="621"/>
                    </a:lnTo>
                    <a:lnTo>
                      <a:pt x="769" y="678"/>
                    </a:lnTo>
                    <a:lnTo>
                      <a:pt x="725" y="728"/>
                    </a:lnTo>
                    <a:lnTo>
                      <a:pt x="676" y="770"/>
                    </a:lnTo>
                    <a:lnTo>
                      <a:pt x="621" y="805"/>
                    </a:lnTo>
                    <a:lnTo>
                      <a:pt x="561" y="830"/>
                    </a:lnTo>
                    <a:lnTo>
                      <a:pt x="495" y="847"/>
                    </a:lnTo>
                    <a:lnTo>
                      <a:pt x="425" y="852"/>
                    </a:lnTo>
                    <a:lnTo>
                      <a:pt x="357" y="847"/>
                    </a:lnTo>
                    <a:lnTo>
                      <a:pt x="291" y="830"/>
                    </a:lnTo>
                    <a:lnTo>
                      <a:pt x="231" y="805"/>
                    </a:lnTo>
                    <a:lnTo>
                      <a:pt x="174" y="770"/>
                    </a:lnTo>
                    <a:lnTo>
                      <a:pt x="125" y="728"/>
                    </a:lnTo>
                    <a:lnTo>
                      <a:pt x="83" y="678"/>
                    </a:lnTo>
                    <a:lnTo>
                      <a:pt x="48" y="621"/>
                    </a:lnTo>
                    <a:lnTo>
                      <a:pt x="22" y="561"/>
                    </a:lnTo>
                    <a:lnTo>
                      <a:pt x="6" y="495"/>
                    </a:lnTo>
                    <a:lnTo>
                      <a:pt x="0" y="425"/>
                    </a:lnTo>
                    <a:lnTo>
                      <a:pt x="6" y="357"/>
                    </a:lnTo>
                    <a:lnTo>
                      <a:pt x="22" y="291"/>
                    </a:lnTo>
                    <a:lnTo>
                      <a:pt x="48" y="231"/>
                    </a:lnTo>
                    <a:lnTo>
                      <a:pt x="83" y="174"/>
                    </a:lnTo>
                    <a:lnTo>
                      <a:pt x="125" y="124"/>
                    </a:lnTo>
                    <a:lnTo>
                      <a:pt x="174" y="82"/>
                    </a:lnTo>
                    <a:lnTo>
                      <a:pt x="231" y="47"/>
                    </a:lnTo>
                    <a:lnTo>
                      <a:pt x="291" y="22"/>
                    </a:lnTo>
                    <a:lnTo>
                      <a:pt x="357" y="5"/>
                    </a:lnTo>
                    <a:lnTo>
                      <a:pt x="425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292D33F5-1443-47DC-A3A6-02639519AB7A}"/>
              </a:ext>
            </a:extLst>
          </p:cNvPr>
          <p:cNvGrpSpPr/>
          <p:nvPr/>
        </p:nvGrpSpPr>
        <p:grpSpPr>
          <a:xfrm>
            <a:off x="32781" y="3801330"/>
            <a:ext cx="1108564" cy="1045693"/>
            <a:chOff x="5484813" y="1069975"/>
            <a:chExt cx="5762625" cy="4530725"/>
          </a:xfrm>
        </p:grpSpPr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1252CC85-22CE-4221-82DA-A6B0DF8BA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7988" y="2133600"/>
              <a:ext cx="1949450" cy="1949450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Freeform 210">
              <a:extLst>
                <a:ext uri="{FF2B5EF4-FFF2-40B4-BE49-F238E27FC236}">
                  <a16:creationId xmlns:a16="http://schemas.microsoft.com/office/drawing/2014/main" id="{785A82A5-E1C2-4059-8EAE-705CDABE7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63" y="2495550"/>
              <a:ext cx="649288" cy="1223963"/>
            </a:xfrm>
            <a:custGeom>
              <a:avLst/>
              <a:gdLst>
                <a:gd name="T0" fmla="*/ 204 w 409"/>
                <a:gd name="T1" fmla="*/ 0 h 771"/>
                <a:gd name="T2" fmla="*/ 241 w 409"/>
                <a:gd name="T3" fmla="*/ 3 h 771"/>
                <a:gd name="T4" fmla="*/ 276 w 409"/>
                <a:gd name="T5" fmla="*/ 13 h 771"/>
                <a:gd name="T6" fmla="*/ 308 w 409"/>
                <a:gd name="T7" fmla="*/ 28 h 771"/>
                <a:gd name="T8" fmla="*/ 336 w 409"/>
                <a:gd name="T9" fmla="*/ 48 h 771"/>
                <a:gd name="T10" fmla="*/ 360 w 409"/>
                <a:gd name="T11" fmla="*/ 72 h 771"/>
                <a:gd name="T12" fmla="*/ 381 w 409"/>
                <a:gd name="T13" fmla="*/ 101 h 771"/>
                <a:gd name="T14" fmla="*/ 396 w 409"/>
                <a:gd name="T15" fmla="*/ 133 h 771"/>
                <a:gd name="T16" fmla="*/ 406 w 409"/>
                <a:gd name="T17" fmla="*/ 168 h 771"/>
                <a:gd name="T18" fmla="*/ 409 w 409"/>
                <a:gd name="T19" fmla="*/ 204 h 771"/>
                <a:gd name="T20" fmla="*/ 406 w 409"/>
                <a:gd name="T21" fmla="*/ 240 h 771"/>
                <a:gd name="T22" fmla="*/ 397 w 409"/>
                <a:gd name="T23" fmla="*/ 273 h 771"/>
                <a:gd name="T24" fmla="*/ 384 w 409"/>
                <a:gd name="T25" fmla="*/ 303 h 771"/>
                <a:gd name="T26" fmla="*/ 365 w 409"/>
                <a:gd name="T27" fmla="*/ 332 h 771"/>
                <a:gd name="T28" fmla="*/ 342 w 409"/>
                <a:gd name="T29" fmla="*/ 356 h 771"/>
                <a:gd name="T30" fmla="*/ 315 w 409"/>
                <a:gd name="T31" fmla="*/ 376 h 771"/>
                <a:gd name="T32" fmla="*/ 385 w 409"/>
                <a:gd name="T33" fmla="*/ 771 h 771"/>
                <a:gd name="T34" fmla="*/ 23 w 409"/>
                <a:gd name="T35" fmla="*/ 771 h 771"/>
                <a:gd name="T36" fmla="*/ 93 w 409"/>
                <a:gd name="T37" fmla="*/ 376 h 771"/>
                <a:gd name="T38" fmla="*/ 67 w 409"/>
                <a:gd name="T39" fmla="*/ 356 h 771"/>
                <a:gd name="T40" fmla="*/ 44 w 409"/>
                <a:gd name="T41" fmla="*/ 332 h 771"/>
                <a:gd name="T42" fmla="*/ 25 w 409"/>
                <a:gd name="T43" fmla="*/ 303 h 771"/>
                <a:gd name="T44" fmla="*/ 12 w 409"/>
                <a:gd name="T45" fmla="*/ 273 h 771"/>
                <a:gd name="T46" fmla="*/ 3 w 409"/>
                <a:gd name="T47" fmla="*/ 240 h 771"/>
                <a:gd name="T48" fmla="*/ 0 w 409"/>
                <a:gd name="T49" fmla="*/ 204 h 771"/>
                <a:gd name="T50" fmla="*/ 3 w 409"/>
                <a:gd name="T51" fmla="*/ 168 h 771"/>
                <a:gd name="T52" fmla="*/ 13 w 409"/>
                <a:gd name="T53" fmla="*/ 133 h 771"/>
                <a:gd name="T54" fmla="*/ 27 w 409"/>
                <a:gd name="T55" fmla="*/ 101 h 771"/>
                <a:gd name="T56" fmla="*/ 48 w 409"/>
                <a:gd name="T57" fmla="*/ 72 h 771"/>
                <a:gd name="T58" fmla="*/ 72 w 409"/>
                <a:gd name="T59" fmla="*/ 48 h 771"/>
                <a:gd name="T60" fmla="*/ 101 w 409"/>
                <a:gd name="T61" fmla="*/ 28 h 771"/>
                <a:gd name="T62" fmla="*/ 133 w 409"/>
                <a:gd name="T63" fmla="*/ 13 h 771"/>
                <a:gd name="T64" fmla="*/ 168 w 409"/>
                <a:gd name="T65" fmla="*/ 3 h 771"/>
                <a:gd name="T66" fmla="*/ 204 w 409"/>
                <a:gd name="T67" fmla="*/ 0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9" h="771">
                  <a:moveTo>
                    <a:pt x="204" y="0"/>
                  </a:moveTo>
                  <a:lnTo>
                    <a:pt x="241" y="3"/>
                  </a:lnTo>
                  <a:lnTo>
                    <a:pt x="276" y="13"/>
                  </a:lnTo>
                  <a:lnTo>
                    <a:pt x="308" y="28"/>
                  </a:lnTo>
                  <a:lnTo>
                    <a:pt x="336" y="48"/>
                  </a:lnTo>
                  <a:lnTo>
                    <a:pt x="360" y="72"/>
                  </a:lnTo>
                  <a:lnTo>
                    <a:pt x="381" y="101"/>
                  </a:lnTo>
                  <a:lnTo>
                    <a:pt x="396" y="133"/>
                  </a:lnTo>
                  <a:lnTo>
                    <a:pt x="406" y="168"/>
                  </a:lnTo>
                  <a:lnTo>
                    <a:pt x="409" y="204"/>
                  </a:lnTo>
                  <a:lnTo>
                    <a:pt x="406" y="240"/>
                  </a:lnTo>
                  <a:lnTo>
                    <a:pt x="397" y="273"/>
                  </a:lnTo>
                  <a:lnTo>
                    <a:pt x="384" y="303"/>
                  </a:lnTo>
                  <a:lnTo>
                    <a:pt x="365" y="332"/>
                  </a:lnTo>
                  <a:lnTo>
                    <a:pt x="342" y="356"/>
                  </a:lnTo>
                  <a:lnTo>
                    <a:pt x="315" y="376"/>
                  </a:lnTo>
                  <a:lnTo>
                    <a:pt x="385" y="771"/>
                  </a:lnTo>
                  <a:lnTo>
                    <a:pt x="23" y="771"/>
                  </a:lnTo>
                  <a:lnTo>
                    <a:pt x="93" y="376"/>
                  </a:lnTo>
                  <a:lnTo>
                    <a:pt x="67" y="356"/>
                  </a:lnTo>
                  <a:lnTo>
                    <a:pt x="44" y="332"/>
                  </a:lnTo>
                  <a:lnTo>
                    <a:pt x="25" y="303"/>
                  </a:lnTo>
                  <a:lnTo>
                    <a:pt x="12" y="273"/>
                  </a:lnTo>
                  <a:lnTo>
                    <a:pt x="3" y="240"/>
                  </a:lnTo>
                  <a:lnTo>
                    <a:pt x="0" y="204"/>
                  </a:lnTo>
                  <a:lnTo>
                    <a:pt x="3" y="168"/>
                  </a:lnTo>
                  <a:lnTo>
                    <a:pt x="13" y="133"/>
                  </a:lnTo>
                  <a:lnTo>
                    <a:pt x="27" y="101"/>
                  </a:lnTo>
                  <a:lnTo>
                    <a:pt x="48" y="72"/>
                  </a:lnTo>
                  <a:lnTo>
                    <a:pt x="72" y="48"/>
                  </a:lnTo>
                  <a:lnTo>
                    <a:pt x="101" y="28"/>
                  </a:lnTo>
                  <a:lnTo>
                    <a:pt x="133" y="13"/>
                  </a:lnTo>
                  <a:lnTo>
                    <a:pt x="168" y="3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000000">
                <a:lumMod val="75000"/>
                <a:lumOff val="25000"/>
                <a:alpha val="39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11">
              <a:extLst>
                <a:ext uri="{FF2B5EF4-FFF2-40B4-BE49-F238E27FC236}">
                  <a16:creationId xmlns:a16="http://schemas.microsoft.com/office/drawing/2014/main" id="{4388EAA3-5462-4AC3-BBE1-44184E5D7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2301" y="1069975"/>
              <a:ext cx="1522413" cy="1063625"/>
            </a:xfrm>
            <a:custGeom>
              <a:avLst/>
              <a:gdLst>
                <a:gd name="T0" fmla="*/ 204 w 959"/>
                <a:gd name="T1" fmla="*/ 0 h 670"/>
                <a:gd name="T2" fmla="*/ 754 w 959"/>
                <a:gd name="T3" fmla="*/ 0 h 670"/>
                <a:gd name="T4" fmla="*/ 792 w 959"/>
                <a:gd name="T5" fmla="*/ 4 h 670"/>
                <a:gd name="T6" fmla="*/ 826 w 959"/>
                <a:gd name="T7" fmla="*/ 13 h 670"/>
                <a:gd name="T8" fmla="*/ 858 w 959"/>
                <a:gd name="T9" fmla="*/ 29 h 670"/>
                <a:gd name="T10" fmla="*/ 886 w 959"/>
                <a:gd name="T11" fmla="*/ 49 h 670"/>
                <a:gd name="T12" fmla="*/ 910 w 959"/>
                <a:gd name="T13" fmla="*/ 73 h 670"/>
                <a:gd name="T14" fmla="*/ 931 w 959"/>
                <a:gd name="T15" fmla="*/ 101 h 670"/>
                <a:gd name="T16" fmla="*/ 947 w 959"/>
                <a:gd name="T17" fmla="*/ 133 h 670"/>
                <a:gd name="T18" fmla="*/ 956 w 959"/>
                <a:gd name="T19" fmla="*/ 169 h 670"/>
                <a:gd name="T20" fmla="*/ 959 w 959"/>
                <a:gd name="T21" fmla="*/ 205 h 670"/>
                <a:gd name="T22" fmla="*/ 959 w 959"/>
                <a:gd name="T23" fmla="*/ 670 h 670"/>
                <a:gd name="T24" fmla="*/ 786 w 959"/>
                <a:gd name="T25" fmla="*/ 670 h 670"/>
                <a:gd name="T26" fmla="*/ 786 w 959"/>
                <a:gd name="T27" fmla="*/ 275 h 670"/>
                <a:gd name="T28" fmla="*/ 783 w 959"/>
                <a:gd name="T29" fmla="*/ 252 h 670"/>
                <a:gd name="T30" fmla="*/ 775 w 959"/>
                <a:gd name="T31" fmla="*/ 231 h 670"/>
                <a:gd name="T32" fmla="*/ 763 w 959"/>
                <a:gd name="T33" fmla="*/ 212 h 670"/>
                <a:gd name="T34" fmla="*/ 748 w 959"/>
                <a:gd name="T35" fmla="*/ 196 h 670"/>
                <a:gd name="T36" fmla="*/ 729 w 959"/>
                <a:gd name="T37" fmla="*/ 184 h 670"/>
                <a:gd name="T38" fmla="*/ 707 w 959"/>
                <a:gd name="T39" fmla="*/ 176 h 670"/>
                <a:gd name="T40" fmla="*/ 684 w 959"/>
                <a:gd name="T41" fmla="*/ 173 h 670"/>
                <a:gd name="T42" fmla="*/ 275 w 959"/>
                <a:gd name="T43" fmla="*/ 173 h 670"/>
                <a:gd name="T44" fmla="*/ 252 w 959"/>
                <a:gd name="T45" fmla="*/ 176 h 670"/>
                <a:gd name="T46" fmla="*/ 230 w 959"/>
                <a:gd name="T47" fmla="*/ 184 h 670"/>
                <a:gd name="T48" fmla="*/ 211 w 959"/>
                <a:gd name="T49" fmla="*/ 196 h 670"/>
                <a:gd name="T50" fmla="*/ 195 w 959"/>
                <a:gd name="T51" fmla="*/ 212 h 670"/>
                <a:gd name="T52" fmla="*/ 183 w 959"/>
                <a:gd name="T53" fmla="*/ 231 h 670"/>
                <a:gd name="T54" fmla="*/ 175 w 959"/>
                <a:gd name="T55" fmla="*/ 252 h 670"/>
                <a:gd name="T56" fmla="*/ 172 w 959"/>
                <a:gd name="T57" fmla="*/ 275 h 670"/>
                <a:gd name="T58" fmla="*/ 172 w 959"/>
                <a:gd name="T59" fmla="*/ 670 h 670"/>
                <a:gd name="T60" fmla="*/ 0 w 959"/>
                <a:gd name="T61" fmla="*/ 670 h 670"/>
                <a:gd name="T62" fmla="*/ 0 w 959"/>
                <a:gd name="T63" fmla="*/ 205 h 670"/>
                <a:gd name="T64" fmla="*/ 3 w 959"/>
                <a:gd name="T65" fmla="*/ 169 h 670"/>
                <a:gd name="T66" fmla="*/ 12 w 959"/>
                <a:gd name="T67" fmla="*/ 133 h 670"/>
                <a:gd name="T68" fmla="*/ 27 w 959"/>
                <a:gd name="T69" fmla="*/ 101 h 670"/>
                <a:gd name="T70" fmla="*/ 48 w 959"/>
                <a:gd name="T71" fmla="*/ 73 h 670"/>
                <a:gd name="T72" fmla="*/ 72 w 959"/>
                <a:gd name="T73" fmla="*/ 49 h 670"/>
                <a:gd name="T74" fmla="*/ 101 w 959"/>
                <a:gd name="T75" fmla="*/ 29 h 670"/>
                <a:gd name="T76" fmla="*/ 133 w 959"/>
                <a:gd name="T77" fmla="*/ 13 h 670"/>
                <a:gd name="T78" fmla="*/ 167 w 959"/>
                <a:gd name="T79" fmla="*/ 4 h 670"/>
                <a:gd name="T80" fmla="*/ 204 w 959"/>
                <a:gd name="T81" fmla="*/ 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9" h="670">
                  <a:moveTo>
                    <a:pt x="204" y="0"/>
                  </a:moveTo>
                  <a:lnTo>
                    <a:pt x="754" y="0"/>
                  </a:lnTo>
                  <a:lnTo>
                    <a:pt x="792" y="4"/>
                  </a:lnTo>
                  <a:lnTo>
                    <a:pt x="826" y="13"/>
                  </a:lnTo>
                  <a:lnTo>
                    <a:pt x="858" y="29"/>
                  </a:lnTo>
                  <a:lnTo>
                    <a:pt x="886" y="49"/>
                  </a:lnTo>
                  <a:lnTo>
                    <a:pt x="910" y="73"/>
                  </a:lnTo>
                  <a:lnTo>
                    <a:pt x="931" y="101"/>
                  </a:lnTo>
                  <a:lnTo>
                    <a:pt x="947" y="133"/>
                  </a:lnTo>
                  <a:lnTo>
                    <a:pt x="956" y="169"/>
                  </a:lnTo>
                  <a:lnTo>
                    <a:pt x="959" y="205"/>
                  </a:lnTo>
                  <a:lnTo>
                    <a:pt x="959" y="670"/>
                  </a:lnTo>
                  <a:lnTo>
                    <a:pt x="786" y="670"/>
                  </a:lnTo>
                  <a:lnTo>
                    <a:pt x="786" y="275"/>
                  </a:lnTo>
                  <a:lnTo>
                    <a:pt x="783" y="252"/>
                  </a:lnTo>
                  <a:lnTo>
                    <a:pt x="775" y="231"/>
                  </a:lnTo>
                  <a:lnTo>
                    <a:pt x="763" y="212"/>
                  </a:lnTo>
                  <a:lnTo>
                    <a:pt x="748" y="196"/>
                  </a:lnTo>
                  <a:lnTo>
                    <a:pt x="729" y="184"/>
                  </a:lnTo>
                  <a:lnTo>
                    <a:pt x="707" y="176"/>
                  </a:lnTo>
                  <a:lnTo>
                    <a:pt x="684" y="173"/>
                  </a:lnTo>
                  <a:lnTo>
                    <a:pt x="275" y="173"/>
                  </a:lnTo>
                  <a:lnTo>
                    <a:pt x="252" y="176"/>
                  </a:lnTo>
                  <a:lnTo>
                    <a:pt x="230" y="184"/>
                  </a:lnTo>
                  <a:lnTo>
                    <a:pt x="211" y="196"/>
                  </a:lnTo>
                  <a:lnTo>
                    <a:pt x="195" y="212"/>
                  </a:lnTo>
                  <a:lnTo>
                    <a:pt x="183" y="231"/>
                  </a:lnTo>
                  <a:lnTo>
                    <a:pt x="175" y="252"/>
                  </a:lnTo>
                  <a:lnTo>
                    <a:pt x="172" y="275"/>
                  </a:lnTo>
                  <a:lnTo>
                    <a:pt x="172" y="670"/>
                  </a:lnTo>
                  <a:lnTo>
                    <a:pt x="0" y="670"/>
                  </a:lnTo>
                  <a:lnTo>
                    <a:pt x="0" y="205"/>
                  </a:lnTo>
                  <a:lnTo>
                    <a:pt x="3" y="169"/>
                  </a:lnTo>
                  <a:lnTo>
                    <a:pt x="12" y="133"/>
                  </a:lnTo>
                  <a:lnTo>
                    <a:pt x="27" y="101"/>
                  </a:lnTo>
                  <a:lnTo>
                    <a:pt x="48" y="73"/>
                  </a:lnTo>
                  <a:lnTo>
                    <a:pt x="72" y="49"/>
                  </a:lnTo>
                  <a:lnTo>
                    <a:pt x="101" y="29"/>
                  </a:lnTo>
                  <a:lnTo>
                    <a:pt x="133" y="13"/>
                  </a:lnTo>
                  <a:lnTo>
                    <a:pt x="167" y="4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12">
              <a:extLst>
                <a:ext uri="{FF2B5EF4-FFF2-40B4-BE49-F238E27FC236}">
                  <a16:creationId xmlns:a16="http://schemas.microsoft.com/office/drawing/2014/main" id="{FC2F740B-9C2A-4CD3-A01F-533FE0978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2273300"/>
              <a:ext cx="3983038" cy="2619375"/>
            </a:xfrm>
            <a:custGeom>
              <a:avLst/>
              <a:gdLst>
                <a:gd name="T0" fmla="*/ 87 w 2509"/>
                <a:gd name="T1" fmla="*/ 0 h 1650"/>
                <a:gd name="T2" fmla="*/ 2422 w 2509"/>
                <a:gd name="T3" fmla="*/ 0 h 1650"/>
                <a:gd name="T4" fmla="*/ 2445 w 2509"/>
                <a:gd name="T5" fmla="*/ 3 h 1650"/>
                <a:gd name="T6" fmla="*/ 2466 w 2509"/>
                <a:gd name="T7" fmla="*/ 12 h 1650"/>
                <a:gd name="T8" fmla="*/ 2483 w 2509"/>
                <a:gd name="T9" fmla="*/ 25 h 1650"/>
                <a:gd name="T10" fmla="*/ 2497 w 2509"/>
                <a:gd name="T11" fmla="*/ 43 h 1650"/>
                <a:gd name="T12" fmla="*/ 2505 w 2509"/>
                <a:gd name="T13" fmla="*/ 64 h 1650"/>
                <a:gd name="T14" fmla="*/ 2509 w 2509"/>
                <a:gd name="T15" fmla="*/ 87 h 1650"/>
                <a:gd name="T16" fmla="*/ 2509 w 2509"/>
                <a:gd name="T17" fmla="*/ 1563 h 1650"/>
                <a:gd name="T18" fmla="*/ 2505 w 2509"/>
                <a:gd name="T19" fmla="*/ 1586 h 1650"/>
                <a:gd name="T20" fmla="*/ 2497 w 2509"/>
                <a:gd name="T21" fmla="*/ 1607 h 1650"/>
                <a:gd name="T22" fmla="*/ 2483 w 2509"/>
                <a:gd name="T23" fmla="*/ 1625 h 1650"/>
                <a:gd name="T24" fmla="*/ 2466 w 2509"/>
                <a:gd name="T25" fmla="*/ 1638 h 1650"/>
                <a:gd name="T26" fmla="*/ 2445 w 2509"/>
                <a:gd name="T27" fmla="*/ 1647 h 1650"/>
                <a:gd name="T28" fmla="*/ 2422 w 2509"/>
                <a:gd name="T29" fmla="*/ 1650 h 1650"/>
                <a:gd name="T30" fmla="*/ 87 w 2509"/>
                <a:gd name="T31" fmla="*/ 1650 h 1650"/>
                <a:gd name="T32" fmla="*/ 63 w 2509"/>
                <a:gd name="T33" fmla="*/ 1647 h 1650"/>
                <a:gd name="T34" fmla="*/ 43 w 2509"/>
                <a:gd name="T35" fmla="*/ 1638 h 1650"/>
                <a:gd name="T36" fmla="*/ 25 w 2509"/>
                <a:gd name="T37" fmla="*/ 1625 h 1650"/>
                <a:gd name="T38" fmla="*/ 12 w 2509"/>
                <a:gd name="T39" fmla="*/ 1607 h 1650"/>
                <a:gd name="T40" fmla="*/ 3 w 2509"/>
                <a:gd name="T41" fmla="*/ 1586 h 1650"/>
                <a:gd name="T42" fmla="*/ 0 w 2509"/>
                <a:gd name="T43" fmla="*/ 1563 h 1650"/>
                <a:gd name="T44" fmla="*/ 0 w 2509"/>
                <a:gd name="T45" fmla="*/ 87 h 1650"/>
                <a:gd name="T46" fmla="*/ 3 w 2509"/>
                <a:gd name="T47" fmla="*/ 64 h 1650"/>
                <a:gd name="T48" fmla="*/ 12 w 2509"/>
                <a:gd name="T49" fmla="*/ 43 h 1650"/>
                <a:gd name="T50" fmla="*/ 25 w 2509"/>
                <a:gd name="T51" fmla="*/ 25 h 1650"/>
                <a:gd name="T52" fmla="*/ 43 w 2509"/>
                <a:gd name="T53" fmla="*/ 12 h 1650"/>
                <a:gd name="T54" fmla="*/ 63 w 2509"/>
                <a:gd name="T55" fmla="*/ 3 h 1650"/>
                <a:gd name="T56" fmla="*/ 87 w 2509"/>
                <a:gd name="T57" fmla="*/ 0 h 1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09" h="1650">
                  <a:moveTo>
                    <a:pt x="87" y="0"/>
                  </a:moveTo>
                  <a:lnTo>
                    <a:pt x="2422" y="0"/>
                  </a:lnTo>
                  <a:lnTo>
                    <a:pt x="2445" y="3"/>
                  </a:lnTo>
                  <a:lnTo>
                    <a:pt x="2466" y="12"/>
                  </a:lnTo>
                  <a:lnTo>
                    <a:pt x="2483" y="25"/>
                  </a:lnTo>
                  <a:lnTo>
                    <a:pt x="2497" y="43"/>
                  </a:lnTo>
                  <a:lnTo>
                    <a:pt x="2505" y="64"/>
                  </a:lnTo>
                  <a:lnTo>
                    <a:pt x="2509" y="87"/>
                  </a:lnTo>
                  <a:lnTo>
                    <a:pt x="2509" y="1563"/>
                  </a:lnTo>
                  <a:lnTo>
                    <a:pt x="2505" y="1586"/>
                  </a:lnTo>
                  <a:lnTo>
                    <a:pt x="2497" y="1607"/>
                  </a:lnTo>
                  <a:lnTo>
                    <a:pt x="2483" y="1625"/>
                  </a:lnTo>
                  <a:lnTo>
                    <a:pt x="2466" y="1638"/>
                  </a:lnTo>
                  <a:lnTo>
                    <a:pt x="2445" y="1647"/>
                  </a:lnTo>
                  <a:lnTo>
                    <a:pt x="2422" y="1650"/>
                  </a:lnTo>
                  <a:lnTo>
                    <a:pt x="87" y="1650"/>
                  </a:lnTo>
                  <a:lnTo>
                    <a:pt x="63" y="1647"/>
                  </a:lnTo>
                  <a:lnTo>
                    <a:pt x="43" y="1638"/>
                  </a:lnTo>
                  <a:lnTo>
                    <a:pt x="25" y="1625"/>
                  </a:lnTo>
                  <a:lnTo>
                    <a:pt x="12" y="1607"/>
                  </a:lnTo>
                  <a:lnTo>
                    <a:pt x="3" y="1586"/>
                  </a:lnTo>
                  <a:lnTo>
                    <a:pt x="0" y="1563"/>
                  </a:lnTo>
                  <a:lnTo>
                    <a:pt x="0" y="87"/>
                  </a:lnTo>
                  <a:lnTo>
                    <a:pt x="3" y="64"/>
                  </a:lnTo>
                  <a:lnTo>
                    <a:pt x="12" y="43"/>
                  </a:lnTo>
                  <a:lnTo>
                    <a:pt x="25" y="25"/>
                  </a:lnTo>
                  <a:lnTo>
                    <a:pt x="43" y="12"/>
                  </a:lnTo>
                  <a:lnTo>
                    <a:pt x="63" y="3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B06C3AE5-C06E-48FF-AEB3-E045B46D7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4926" y="2547938"/>
              <a:ext cx="3568700" cy="1916113"/>
            </a:xfrm>
            <a:prstGeom prst="rect">
              <a:avLst/>
            </a:prstGeom>
            <a:solidFill>
              <a:srgbClr val="595959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14">
              <a:extLst>
                <a:ext uri="{FF2B5EF4-FFF2-40B4-BE49-F238E27FC236}">
                  <a16:creationId xmlns:a16="http://schemas.microsoft.com/office/drawing/2014/main" id="{54D343C4-E884-42A7-96AE-A08A1A33A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8476" y="2365375"/>
              <a:ext cx="100013" cy="100013"/>
            </a:xfrm>
            <a:custGeom>
              <a:avLst/>
              <a:gdLst>
                <a:gd name="T0" fmla="*/ 32 w 63"/>
                <a:gd name="T1" fmla="*/ 0 h 63"/>
                <a:gd name="T2" fmla="*/ 44 w 63"/>
                <a:gd name="T3" fmla="*/ 2 h 63"/>
                <a:gd name="T4" fmla="*/ 54 w 63"/>
                <a:gd name="T5" fmla="*/ 9 h 63"/>
                <a:gd name="T6" fmla="*/ 60 w 63"/>
                <a:gd name="T7" fmla="*/ 19 h 63"/>
                <a:gd name="T8" fmla="*/ 63 w 63"/>
                <a:gd name="T9" fmla="*/ 31 h 63"/>
                <a:gd name="T10" fmla="*/ 60 w 63"/>
                <a:gd name="T11" fmla="*/ 43 h 63"/>
                <a:gd name="T12" fmla="*/ 54 w 63"/>
                <a:gd name="T13" fmla="*/ 53 h 63"/>
                <a:gd name="T14" fmla="*/ 44 w 63"/>
                <a:gd name="T15" fmla="*/ 61 h 63"/>
                <a:gd name="T16" fmla="*/ 32 w 63"/>
                <a:gd name="T17" fmla="*/ 63 h 63"/>
                <a:gd name="T18" fmla="*/ 19 w 63"/>
                <a:gd name="T19" fmla="*/ 61 h 63"/>
                <a:gd name="T20" fmla="*/ 9 w 63"/>
                <a:gd name="T21" fmla="*/ 53 h 63"/>
                <a:gd name="T22" fmla="*/ 2 w 63"/>
                <a:gd name="T23" fmla="*/ 43 h 63"/>
                <a:gd name="T24" fmla="*/ 0 w 63"/>
                <a:gd name="T25" fmla="*/ 31 h 63"/>
                <a:gd name="T26" fmla="*/ 2 w 63"/>
                <a:gd name="T27" fmla="*/ 19 h 63"/>
                <a:gd name="T28" fmla="*/ 9 w 63"/>
                <a:gd name="T29" fmla="*/ 9 h 63"/>
                <a:gd name="T30" fmla="*/ 19 w 63"/>
                <a:gd name="T31" fmla="*/ 2 h 63"/>
                <a:gd name="T32" fmla="*/ 32 w 63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63">
                  <a:moveTo>
                    <a:pt x="32" y="0"/>
                  </a:moveTo>
                  <a:lnTo>
                    <a:pt x="44" y="2"/>
                  </a:lnTo>
                  <a:lnTo>
                    <a:pt x="54" y="9"/>
                  </a:lnTo>
                  <a:lnTo>
                    <a:pt x="60" y="19"/>
                  </a:lnTo>
                  <a:lnTo>
                    <a:pt x="63" y="31"/>
                  </a:lnTo>
                  <a:lnTo>
                    <a:pt x="60" y="43"/>
                  </a:lnTo>
                  <a:lnTo>
                    <a:pt x="54" y="53"/>
                  </a:lnTo>
                  <a:lnTo>
                    <a:pt x="44" y="61"/>
                  </a:lnTo>
                  <a:lnTo>
                    <a:pt x="32" y="63"/>
                  </a:lnTo>
                  <a:lnTo>
                    <a:pt x="19" y="61"/>
                  </a:lnTo>
                  <a:lnTo>
                    <a:pt x="9" y="53"/>
                  </a:lnTo>
                  <a:lnTo>
                    <a:pt x="2" y="43"/>
                  </a:lnTo>
                  <a:lnTo>
                    <a:pt x="0" y="31"/>
                  </a:lnTo>
                  <a:lnTo>
                    <a:pt x="2" y="19"/>
                  </a:lnTo>
                  <a:lnTo>
                    <a:pt x="9" y="9"/>
                  </a:lnTo>
                  <a:lnTo>
                    <a:pt x="19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EFF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Rectangle 12">
              <a:extLst>
                <a:ext uri="{FF2B5EF4-FFF2-40B4-BE49-F238E27FC236}">
                  <a16:creationId xmlns:a16="http://schemas.microsoft.com/office/drawing/2014/main" id="{64C0869B-226E-4949-859A-40217D705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3551" y="4583113"/>
              <a:ext cx="169863" cy="169863"/>
            </a:xfrm>
            <a:prstGeom prst="rect">
              <a:avLst/>
            </a:prstGeom>
            <a:solidFill>
              <a:srgbClr val="DEFFF3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13">
              <a:extLst>
                <a:ext uri="{FF2B5EF4-FFF2-40B4-BE49-F238E27FC236}">
                  <a16:creationId xmlns:a16="http://schemas.microsoft.com/office/drawing/2014/main" id="{6947A087-BE7B-40AB-B53E-5EC6F5992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4892675"/>
              <a:ext cx="5365750" cy="454025"/>
            </a:xfrm>
            <a:custGeom>
              <a:avLst/>
              <a:gdLst>
                <a:gd name="T0" fmla="*/ 436 w 3380"/>
                <a:gd name="T1" fmla="*/ 0 h 286"/>
                <a:gd name="T2" fmla="*/ 2945 w 3380"/>
                <a:gd name="T3" fmla="*/ 0 h 286"/>
                <a:gd name="T4" fmla="*/ 3380 w 3380"/>
                <a:gd name="T5" fmla="*/ 286 h 286"/>
                <a:gd name="T6" fmla="*/ 0 w 3380"/>
                <a:gd name="T7" fmla="*/ 286 h 286"/>
                <a:gd name="T8" fmla="*/ 436 w 3380"/>
                <a:gd name="T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80" h="286">
                  <a:moveTo>
                    <a:pt x="436" y="0"/>
                  </a:moveTo>
                  <a:lnTo>
                    <a:pt x="2945" y="0"/>
                  </a:lnTo>
                  <a:lnTo>
                    <a:pt x="3380" y="286"/>
                  </a:lnTo>
                  <a:lnTo>
                    <a:pt x="0" y="286"/>
                  </a:lnTo>
                  <a:lnTo>
                    <a:pt x="43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14">
              <a:extLst>
                <a:ext uri="{FF2B5EF4-FFF2-40B4-BE49-F238E27FC236}">
                  <a16:creationId xmlns:a16="http://schemas.microsoft.com/office/drawing/2014/main" id="{90AEF2BC-9B25-49DA-B12B-40553B6FD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5346700"/>
              <a:ext cx="5365750" cy="254000"/>
            </a:xfrm>
            <a:custGeom>
              <a:avLst/>
              <a:gdLst>
                <a:gd name="T0" fmla="*/ 0 w 3380"/>
                <a:gd name="T1" fmla="*/ 0 h 160"/>
                <a:gd name="T2" fmla="*/ 3380 w 3380"/>
                <a:gd name="T3" fmla="*/ 0 h 160"/>
                <a:gd name="T4" fmla="*/ 3380 w 3380"/>
                <a:gd name="T5" fmla="*/ 97 h 160"/>
                <a:gd name="T6" fmla="*/ 3377 w 3380"/>
                <a:gd name="T7" fmla="*/ 117 h 160"/>
                <a:gd name="T8" fmla="*/ 3368 w 3380"/>
                <a:gd name="T9" fmla="*/ 135 h 160"/>
                <a:gd name="T10" fmla="*/ 3355 w 3380"/>
                <a:gd name="T11" fmla="*/ 148 h 160"/>
                <a:gd name="T12" fmla="*/ 3337 w 3380"/>
                <a:gd name="T13" fmla="*/ 158 h 160"/>
                <a:gd name="T14" fmla="*/ 3318 w 3380"/>
                <a:gd name="T15" fmla="*/ 160 h 160"/>
                <a:gd name="T16" fmla="*/ 63 w 3380"/>
                <a:gd name="T17" fmla="*/ 160 h 160"/>
                <a:gd name="T18" fmla="*/ 43 w 3380"/>
                <a:gd name="T19" fmla="*/ 158 h 160"/>
                <a:gd name="T20" fmla="*/ 25 w 3380"/>
                <a:gd name="T21" fmla="*/ 148 h 160"/>
                <a:gd name="T22" fmla="*/ 12 w 3380"/>
                <a:gd name="T23" fmla="*/ 135 h 160"/>
                <a:gd name="T24" fmla="*/ 3 w 3380"/>
                <a:gd name="T25" fmla="*/ 117 h 160"/>
                <a:gd name="T26" fmla="*/ 0 w 3380"/>
                <a:gd name="T27" fmla="*/ 97 h 160"/>
                <a:gd name="T28" fmla="*/ 0 w 3380"/>
                <a:gd name="T2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80" h="160">
                  <a:moveTo>
                    <a:pt x="0" y="0"/>
                  </a:moveTo>
                  <a:lnTo>
                    <a:pt x="3380" y="0"/>
                  </a:lnTo>
                  <a:lnTo>
                    <a:pt x="3380" y="97"/>
                  </a:lnTo>
                  <a:lnTo>
                    <a:pt x="3377" y="117"/>
                  </a:lnTo>
                  <a:lnTo>
                    <a:pt x="3368" y="135"/>
                  </a:lnTo>
                  <a:lnTo>
                    <a:pt x="3355" y="148"/>
                  </a:lnTo>
                  <a:lnTo>
                    <a:pt x="3337" y="158"/>
                  </a:lnTo>
                  <a:lnTo>
                    <a:pt x="3318" y="160"/>
                  </a:lnTo>
                  <a:lnTo>
                    <a:pt x="63" y="160"/>
                  </a:lnTo>
                  <a:lnTo>
                    <a:pt x="43" y="158"/>
                  </a:lnTo>
                  <a:lnTo>
                    <a:pt x="25" y="148"/>
                  </a:lnTo>
                  <a:lnTo>
                    <a:pt x="12" y="135"/>
                  </a:lnTo>
                  <a:lnTo>
                    <a:pt x="3" y="117"/>
                  </a:lnTo>
                  <a:lnTo>
                    <a:pt x="0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Rectangle 15">
              <a:extLst>
                <a:ext uri="{FF2B5EF4-FFF2-40B4-BE49-F238E27FC236}">
                  <a16:creationId xmlns:a16="http://schemas.microsoft.com/office/drawing/2014/main" id="{D28DFF15-3BC1-47E1-A808-826E91EAA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351" y="5478463"/>
              <a:ext cx="1084263" cy="6985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Rectangle 16">
              <a:extLst>
                <a:ext uri="{FF2B5EF4-FFF2-40B4-BE49-F238E27FC236}">
                  <a16:creationId xmlns:a16="http://schemas.microsoft.com/office/drawing/2014/main" id="{40E1D275-B89E-4D67-9750-B7C61FB170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813" y="5346700"/>
              <a:ext cx="5365750" cy="77788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17">
              <a:extLst>
                <a:ext uri="{FF2B5EF4-FFF2-40B4-BE49-F238E27FC236}">
                  <a16:creationId xmlns:a16="http://schemas.microsoft.com/office/drawing/2014/main" id="{7F830C8D-974A-4EB6-AE2B-E09B51C71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3426" y="4964113"/>
              <a:ext cx="4710113" cy="306388"/>
            </a:xfrm>
            <a:custGeom>
              <a:avLst/>
              <a:gdLst>
                <a:gd name="T0" fmla="*/ 294 w 2967"/>
                <a:gd name="T1" fmla="*/ 0 h 193"/>
                <a:gd name="T2" fmla="*/ 2674 w 2967"/>
                <a:gd name="T3" fmla="*/ 0 h 193"/>
                <a:gd name="T4" fmla="*/ 2967 w 2967"/>
                <a:gd name="T5" fmla="*/ 193 h 193"/>
                <a:gd name="T6" fmla="*/ 0 w 2967"/>
                <a:gd name="T7" fmla="*/ 193 h 193"/>
                <a:gd name="T8" fmla="*/ 294 w 2967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7" h="193">
                  <a:moveTo>
                    <a:pt x="294" y="0"/>
                  </a:moveTo>
                  <a:lnTo>
                    <a:pt x="2674" y="0"/>
                  </a:lnTo>
                  <a:lnTo>
                    <a:pt x="2967" y="193"/>
                  </a:lnTo>
                  <a:lnTo>
                    <a:pt x="0" y="19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Rectangle 18">
              <a:extLst>
                <a:ext uri="{FF2B5EF4-FFF2-40B4-BE49-F238E27FC236}">
                  <a16:creationId xmlns:a16="http://schemas.microsoft.com/office/drawing/2014/main" id="{C208BC7E-39BA-43D5-A76F-9A5DA9B20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35938" y="4937125"/>
              <a:ext cx="50800" cy="363538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19">
              <a:extLst>
                <a:ext uri="{FF2B5EF4-FFF2-40B4-BE49-F238E27FC236}">
                  <a16:creationId xmlns:a16="http://schemas.microsoft.com/office/drawing/2014/main" id="{6ECC4809-250E-4780-A4AA-2CA0829CD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1713" y="4929188"/>
              <a:ext cx="141288" cy="376238"/>
            </a:xfrm>
            <a:custGeom>
              <a:avLst/>
              <a:gdLst>
                <a:gd name="T0" fmla="*/ 30 w 89"/>
                <a:gd name="T1" fmla="*/ 0 h 237"/>
                <a:gd name="T2" fmla="*/ 89 w 89"/>
                <a:gd name="T3" fmla="*/ 229 h 237"/>
                <a:gd name="T4" fmla="*/ 58 w 89"/>
                <a:gd name="T5" fmla="*/ 237 h 237"/>
                <a:gd name="T6" fmla="*/ 0 w 89"/>
                <a:gd name="T7" fmla="*/ 8 h 237"/>
                <a:gd name="T8" fmla="*/ 30 w 89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237">
                  <a:moveTo>
                    <a:pt x="30" y="0"/>
                  </a:moveTo>
                  <a:lnTo>
                    <a:pt x="89" y="229"/>
                  </a:lnTo>
                  <a:lnTo>
                    <a:pt x="58" y="237"/>
                  </a:lnTo>
                  <a:lnTo>
                    <a:pt x="0" y="8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0">
              <a:extLst>
                <a:ext uri="{FF2B5EF4-FFF2-40B4-BE49-F238E27FC236}">
                  <a16:creationId xmlns:a16="http://schemas.microsoft.com/office/drawing/2014/main" id="{EF972E4F-641C-4E85-A05A-C2CE08CB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0501" y="4924425"/>
              <a:ext cx="227013" cy="385763"/>
            </a:xfrm>
            <a:custGeom>
              <a:avLst/>
              <a:gdLst>
                <a:gd name="T0" fmla="*/ 29 w 143"/>
                <a:gd name="T1" fmla="*/ 0 h 243"/>
                <a:gd name="T2" fmla="*/ 143 w 143"/>
                <a:gd name="T3" fmla="*/ 229 h 243"/>
                <a:gd name="T4" fmla="*/ 114 w 143"/>
                <a:gd name="T5" fmla="*/ 243 h 243"/>
                <a:gd name="T6" fmla="*/ 0 w 143"/>
                <a:gd name="T7" fmla="*/ 14 h 243"/>
                <a:gd name="T8" fmla="*/ 29 w 143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243">
                  <a:moveTo>
                    <a:pt x="29" y="0"/>
                  </a:moveTo>
                  <a:lnTo>
                    <a:pt x="143" y="229"/>
                  </a:lnTo>
                  <a:lnTo>
                    <a:pt x="114" y="243"/>
                  </a:lnTo>
                  <a:lnTo>
                    <a:pt x="0" y="1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1">
              <a:extLst>
                <a:ext uri="{FF2B5EF4-FFF2-40B4-BE49-F238E27FC236}">
                  <a16:creationId xmlns:a16="http://schemas.microsoft.com/office/drawing/2014/main" id="{A09461B0-28B1-4646-ADB5-70E984F6D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4921250"/>
              <a:ext cx="325438" cy="395288"/>
            </a:xfrm>
            <a:custGeom>
              <a:avLst/>
              <a:gdLst>
                <a:gd name="T0" fmla="*/ 25 w 205"/>
                <a:gd name="T1" fmla="*/ 0 h 249"/>
                <a:gd name="T2" fmla="*/ 205 w 205"/>
                <a:gd name="T3" fmla="*/ 229 h 249"/>
                <a:gd name="T4" fmla="*/ 179 w 205"/>
                <a:gd name="T5" fmla="*/ 249 h 249"/>
                <a:gd name="T6" fmla="*/ 0 w 205"/>
                <a:gd name="T7" fmla="*/ 20 h 249"/>
                <a:gd name="T8" fmla="*/ 25 w 205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249">
                  <a:moveTo>
                    <a:pt x="25" y="0"/>
                  </a:moveTo>
                  <a:lnTo>
                    <a:pt x="205" y="229"/>
                  </a:lnTo>
                  <a:lnTo>
                    <a:pt x="179" y="249"/>
                  </a:lnTo>
                  <a:lnTo>
                    <a:pt x="0" y="2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Rectangle 22">
              <a:extLst>
                <a:ext uri="{FF2B5EF4-FFF2-40B4-BE49-F238E27FC236}">
                  <a16:creationId xmlns:a16="http://schemas.microsoft.com/office/drawing/2014/main" id="{6DFE4AEE-AB2D-46D1-9CEA-5BFBDBE9E5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0913" y="5018088"/>
              <a:ext cx="4259263" cy="5080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23">
              <a:extLst>
                <a:ext uri="{FF2B5EF4-FFF2-40B4-BE49-F238E27FC236}">
                  <a16:creationId xmlns:a16="http://schemas.microsoft.com/office/drawing/2014/main" id="{4A1906CE-3092-45B7-A72D-98A4AE2BA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676" y="4929188"/>
              <a:ext cx="142875" cy="376238"/>
            </a:xfrm>
            <a:custGeom>
              <a:avLst/>
              <a:gdLst>
                <a:gd name="T0" fmla="*/ 58 w 90"/>
                <a:gd name="T1" fmla="*/ 0 h 237"/>
                <a:gd name="T2" fmla="*/ 90 w 90"/>
                <a:gd name="T3" fmla="*/ 8 h 237"/>
                <a:gd name="T4" fmla="*/ 32 w 90"/>
                <a:gd name="T5" fmla="*/ 237 h 237"/>
                <a:gd name="T6" fmla="*/ 0 w 90"/>
                <a:gd name="T7" fmla="*/ 229 h 237"/>
                <a:gd name="T8" fmla="*/ 58 w 90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37">
                  <a:moveTo>
                    <a:pt x="58" y="0"/>
                  </a:moveTo>
                  <a:lnTo>
                    <a:pt x="90" y="8"/>
                  </a:lnTo>
                  <a:lnTo>
                    <a:pt x="32" y="237"/>
                  </a:lnTo>
                  <a:lnTo>
                    <a:pt x="0" y="229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Freeform 24">
              <a:extLst>
                <a:ext uri="{FF2B5EF4-FFF2-40B4-BE49-F238E27FC236}">
                  <a16:creationId xmlns:a16="http://schemas.microsoft.com/office/drawing/2014/main" id="{FA6637A0-E636-4916-9C7C-652A8D4C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5163" y="4924425"/>
              <a:ext cx="228600" cy="385763"/>
            </a:xfrm>
            <a:custGeom>
              <a:avLst/>
              <a:gdLst>
                <a:gd name="T0" fmla="*/ 114 w 144"/>
                <a:gd name="T1" fmla="*/ 0 h 243"/>
                <a:gd name="T2" fmla="*/ 144 w 144"/>
                <a:gd name="T3" fmla="*/ 14 h 243"/>
                <a:gd name="T4" fmla="*/ 28 w 144"/>
                <a:gd name="T5" fmla="*/ 243 h 243"/>
                <a:gd name="T6" fmla="*/ 0 w 144"/>
                <a:gd name="T7" fmla="*/ 229 h 243"/>
                <a:gd name="T8" fmla="*/ 114 w 144"/>
                <a:gd name="T9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243">
                  <a:moveTo>
                    <a:pt x="114" y="0"/>
                  </a:moveTo>
                  <a:lnTo>
                    <a:pt x="144" y="14"/>
                  </a:lnTo>
                  <a:lnTo>
                    <a:pt x="28" y="243"/>
                  </a:lnTo>
                  <a:lnTo>
                    <a:pt x="0" y="229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Freeform 25">
              <a:extLst>
                <a:ext uri="{FF2B5EF4-FFF2-40B4-BE49-F238E27FC236}">
                  <a16:creationId xmlns:a16="http://schemas.microsoft.com/office/drawing/2014/main" id="{AF6F2385-2211-489B-ADC9-E97AC0DA4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126" y="4921250"/>
              <a:ext cx="327025" cy="395288"/>
            </a:xfrm>
            <a:custGeom>
              <a:avLst/>
              <a:gdLst>
                <a:gd name="T0" fmla="*/ 180 w 206"/>
                <a:gd name="T1" fmla="*/ 0 h 249"/>
                <a:gd name="T2" fmla="*/ 206 w 206"/>
                <a:gd name="T3" fmla="*/ 20 h 249"/>
                <a:gd name="T4" fmla="*/ 25 w 206"/>
                <a:gd name="T5" fmla="*/ 249 h 249"/>
                <a:gd name="T6" fmla="*/ 0 w 206"/>
                <a:gd name="T7" fmla="*/ 229 h 249"/>
                <a:gd name="T8" fmla="*/ 180 w 206"/>
                <a:gd name="T9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49">
                  <a:moveTo>
                    <a:pt x="180" y="0"/>
                  </a:moveTo>
                  <a:lnTo>
                    <a:pt x="206" y="20"/>
                  </a:lnTo>
                  <a:lnTo>
                    <a:pt x="25" y="249"/>
                  </a:lnTo>
                  <a:lnTo>
                    <a:pt x="0" y="229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Rectangle 26">
              <a:extLst>
                <a:ext uri="{FF2B5EF4-FFF2-40B4-BE49-F238E27FC236}">
                  <a16:creationId xmlns:a16="http://schemas.microsoft.com/office/drawing/2014/main" id="{A81198CD-93C4-434F-82CD-6DEDEBDAF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338" y="5145088"/>
              <a:ext cx="4638675" cy="50800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Freeform 27">
              <a:extLst>
                <a:ext uri="{FF2B5EF4-FFF2-40B4-BE49-F238E27FC236}">
                  <a16:creationId xmlns:a16="http://schemas.microsoft.com/office/drawing/2014/main" id="{36B93F68-1F3B-4FAA-9CA4-B9668EF49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6" y="2835275"/>
              <a:ext cx="585788" cy="727075"/>
            </a:xfrm>
            <a:custGeom>
              <a:avLst/>
              <a:gdLst>
                <a:gd name="T0" fmla="*/ 184 w 369"/>
                <a:gd name="T1" fmla="*/ 0 h 458"/>
                <a:gd name="T2" fmla="*/ 217 w 369"/>
                <a:gd name="T3" fmla="*/ 4 h 458"/>
                <a:gd name="T4" fmla="*/ 246 w 369"/>
                <a:gd name="T5" fmla="*/ 10 h 458"/>
                <a:gd name="T6" fmla="*/ 272 w 369"/>
                <a:gd name="T7" fmla="*/ 22 h 458"/>
                <a:gd name="T8" fmla="*/ 295 w 369"/>
                <a:gd name="T9" fmla="*/ 38 h 458"/>
                <a:gd name="T10" fmla="*/ 315 w 369"/>
                <a:gd name="T11" fmla="*/ 56 h 458"/>
                <a:gd name="T12" fmla="*/ 331 w 369"/>
                <a:gd name="T13" fmla="*/ 77 h 458"/>
                <a:gd name="T14" fmla="*/ 344 w 369"/>
                <a:gd name="T15" fmla="*/ 102 h 458"/>
                <a:gd name="T16" fmla="*/ 354 w 369"/>
                <a:gd name="T17" fmla="*/ 128 h 458"/>
                <a:gd name="T18" fmla="*/ 362 w 369"/>
                <a:gd name="T19" fmla="*/ 155 h 458"/>
                <a:gd name="T20" fmla="*/ 366 w 369"/>
                <a:gd name="T21" fmla="*/ 185 h 458"/>
                <a:gd name="T22" fmla="*/ 369 w 369"/>
                <a:gd name="T23" fmla="*/ 215 h 458"/>
                <a:gd name="T24" fmla="*/ 367 w 369"/>
                <a:gd name="T25" fmla="*/ 245 h 458"/>
                <a:gd name="T26" fmla="*/ 363 w 369"/>
                <a:gd name="T27" fmla="*/ 274 h 458"/>
                <a:gd name="T28" fmla="*/ 356 w 369"/>
                <a:gd name="T29" fmla="*/ 303 h 458"/>
                <a:gd name="T30" fmla="*/ 348 w 369"/>
                <a:gd name="T31" fmla="*/ 331 h 458"/>
                <a:gd name="T32" fmla="*/ 336 w 369"/>
                <a:gd name="T33" fmla="*/ 357 h 458"/>
                <a:gd name="T34" fmla="*/ 321 w 369"/>
                <a:gd name="T35" fmla="*/ 381 h 458"/>
                <a:gd name="T36" fmla="*/ 305 w 369"/>
                <a:gd name="T37" fmla="*/ 403 h 458"/>
                <a:gd name="T38" fmla="*/ 285 w 369"/>
                <a:gd name="T39" fmla="*/ 422 h 458"/>
                <a:gd name="T40" fmla="*/ 263 w 369"/>
                <a:gd name="T41" fmla="*/ 437 h 458"/>
                <a:gd name="T42" fmla="*/ 239 w 369"/>
                <a:gd name="T43" fmla="*/ 448 h 458"/>
                <a:gd name="T44" fmla="*/ 212 w 369"/>
                <a:gd name="T45" fmla="*/ 456 h 458"/>
                <a:gd name="T46" fmla="*/ 184 w 369"/>
                <a:gd name="T47" fmla="*/ 458 h 458"/>
                <a:gd name="T48" fmla="*/ 155 w 369"/>
                <a:gd name="T49" fmla="*/ 456 h 458"/>
                <a:gd name="T50" fmla="*/ 129 w 369"/>
                <a:gd name="T51" fmla="*/ 448 h 458"/>
                <a:gd name="T52" fmla="*/ 106 w 369"/>
                <a:gd name="T53" fmla="*/ 437 h 458"/>
                <a:gd name="T54" fmla="*/ 84 w 369"/>
                <a:gd name="T55" fmla="*/ 422 h 458"/>
                <a:gd name="T56" fmla="*/ 64 w 369"/>
                <a:gd name="T57" fmla="*/ 403 h 458"/>
                <a:gd name="T58" fmla="*/ 47 w 369"/>
                <a:gd name="T59" fmla="*/ 381 h 458"/>
                <a:gd name="T60" fmla="*/ 33 w 369"/>
                <a:gd name="T61" fmla="*/ 357 h 458"/>
                <a:gd name="T62" fmla="*/ 21 w 369"/>
                <a:gd name="T63" fmla="*/ 331 h 458"/>
                <a:gd name="T64" fmla="*/ 12 w 369"/>
                <a:gd name="T65" fmla="*/ 303 h 458"/>
                <a:gd name="T66" fmla="*/ 6 w 369"/>
                <a:gd name="T67" fmla="*/ 274 h 458"/>
                <a:gd name="T68" fmla="*/ 1 w 369"/>
                <a:gd name="T69" fmla="*/ 245 h 458"/>
                <a:gd name="T70" fmla="*/ 0 w 369"/>
                <a:gd name="T71" fmla="*/ 215 h 458"/>
                <a:gd name="T72" fmla="*/ 1 w 369"/>
                <a:gd name="T73" fmla="*/ 185 h 458"/>
                <a:gd name="T74" fmla="*/ 7 w 369"/>
                <a:gd name="T75" fmla="*/ 155 h 458"/>
                <a:gd name="T76" fmla="*/ 13 w 369"/>
                <a:gd name="T77" fmla="*/ 128 h 458"/>
                <a:gd name="T78" fmla="*/ 24 w 369"/>
                <a:gd name="T79" fmla="*/ 102 h 458"/>
                <a:gd name="T80" fmla="*/ 37 w 369"/>
                <a:gd name="T81" fmla="*/ 77 h 458"/>
                <a:gd name="T82" fmla="*/ 54 w 369"/>
                <a:gd name="T83" fmla="*/ 56 h 458"/>
                <a:gd name="T84" fmla="*/ 74 w 369"/>
                <a:gd name="T85" fmla="*/ 38 h 458"/>
                <a:gd name="T86" fmla="*/ 96 w 369"/>
                <a:gd name="T87" fmla="*/ 22 h 458"/>
                <a:gd name="T88" fmla="*/ 122 w 369"/>
                <a:gd name="T89" fmla="*/ 10 h 458"/>
                <a:gd name="T90" fmla="*/ 152 w 369"/>
                <a:gd name="T91" fmla="*/ 4 h 458"/>
                <a:gd name="T92" fmla="*/ 184 w 369"/>
                <a:gd name="T93" fmla="*/ 0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9" h="458">
                  <a:moveTo>
                    <a:pt x="184" y="0"/>
                  </a:moveTo>
                  <a:lnTo>
                    <a:pt x="217" y="4"/>
                  </a:lnTo>
                  <a:lnTo>
                    <a:pt x="246" y="10"/>
                  </a:lnTo>
                  <a:lnTo>
                    <a:pt x="272" y="22"/>
                  </a:lnTo>
                  <a:lnTo>
                    <a:pt x="295" y="38"/>
                  </a:lnTo>
                  <a:lnTo>
                    <a:pt x="315" y="56"/>
                  </a:lnTo>
                  <a:lnTo>
                    <a:pt x="331" y="77"/>
                  </a:lnTo>
                  <a:lnTo>
                    <a:pt x="344" y="102"/>
                  </a:lnTo>
                  <a:lnTo>
                    <a:pt x="354" y="128"/>
                  </a:lnTo>
                  <a:lnTo>
                    <a:pt x="362" y="155"/>
                  </a:lnTo>
                  <a:lnTo>
                    <a:pt x="366" y="185"/>
                  </a:lnTo>
                  <a:lnTo>
                    <a:pt x="369" y="215"/>
                  </a:lnTo>
                  <a:lnTo>
                    <a:pt x="367" y="245"/>
                  </a:lnTo>
                  <a:lnTo>
                    <a:pt x="363" y="274"/>
                  </a:lnTo>
                  <a:lnTo>
                    <a:pt x="356" y="303"/>
                  </a:lnTo>
                  <a:lnTo>
                    <a:pt x="348" y="331"/>
                  </a:lnTo>
                  <a:lnTo>
                    <a:pt x="336" y="357"/>
                  </a:lnTo>
                  <a:lnTo>
                    <a:pt x="321" y="381"/>
                  </a:lnTo>
                  <a:lnTo>
                    <a:pt x="305" y="403"/>
                  </a:lnTo>
                  <a:lnTo>
                    <a:pt x="285" y="422"/>
                  </a:lnTo>
                  <a:lnTo>
                    <a:pt x="263" y="437"/>
                  </a:lnTo>
                  <a:lnTo>
                    <a:pt x="239" y="448"/>
                  </a:lnTo>
                  <a:lnTo>
                    <a:pt x="212" y="456"/>
                  </a:lnTo>
                  <a:lnTo>
                    <a:pt x="184" y="458"/>
                  </a:lnTo>
                  <a:lnTo>
                    <a:pt x="155" y="456"/>
                  </a:lnTo>
                  <a:lnTo>
                    <a:pt x="129" y="448"/>
                  </a:lnTo>
                  <a:lnTo>
                    <a:pt x="106" y="437"/>
                  </a:lnTo>
                  <a:lnTo>
                    <a:pt x="84" y="422"/>
                  </a:lnTo>
                  <a:lnTo>
                    <a:pt x="64" y="403"/>
                  </a:lnTo>
                  <a:lnTo>
                    <a:pt x="47" y="381"/>
                  </a:lnTo>
                  <a:lnTo>
                    <a:pt x="33" y="357"/>
                  </a:lnTo>
                  <a:lnTo>
                    <a:pt x="21" y="331"/>
                  </a:lnTo>
                  <a:lnTo>
                    <a:pt x="12" y="303"/>
                  </a:lnTo>
                  <a:lnTo>
                    <a:pt x="6" y="274"/>
                  </a:lnTo>
                  <a:lnTo>
                    <a:pt x="1" y="245"/>
                  </a:lnTo>
                  <a:lnTo>
                    <a:pt x="0" y="215"/>
                  </a:lnTo>
                  <a:lnTo>
                    <a:pt x="1" y="185"/>
                  </a:lnTo>
                  <a:lnTo>
                    <a:pt x="7" y="155"/>
                  </a:lnTo>
                  <a:lnTo>
                    <a:pt x="13" y="128"/>
                  </a:lnTo>
                  <a:lnTo>
                    <a:pt x="24" y="102"/>
                  </a:lnTo>
                  <a:lnTo>
                    <a:pt x="37" y="77"/>
                  </a:lnTo>
                  <a:lnTo>
                    <a:pt x="54" y="56"/>
                  </a:lnTo>
                  <a:lnTo>
                    <a:pt x="74" y="38"/>
                  </a:lnTo>
                  <a:lnTo>
                    <a:pt x="96" y="22"/>
                  </a:lnTo>
                  <a:lnTo>
                    <a:pt x="122" y="10"/>
                  </a:lnTo>
                  <a:lnTo>
                    <a:pt x="152" y="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FFFFFF">
                <a:alpha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Freeform 28">
              <a:extLst>
                <a:ext uri="{FF2B5EF4-FFF2-40B4-BE49-F238E27FC236}">
                  <a16:creationId xmlns:a16="http://schemas.microsoft.com/office/drawing/2014/main" id="{C88CDA14-09AC-4739-BC1C-D467D7D6E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3535363"/>
              <a:ext cx="1311275" cy="647700"/>
            </a:xfrm>
            <a:custGeom>
              <a:avLst/>
              <a:gdLst>
                <a:gd name="T0" fmla="*/ 269 w 826"/>
                <a:gd name="T1" fmla="*/ 0 h 408"/>
                <a:gd name="T2" fmla="*/ 292 w 826"/>
                <a:gd name="T3" fmla="*/ 23 h 408"/>
                <a:gd name="T4" fmla="*/ 318 w 826"/>
                <a:gd name="T5" fmla="*/ 40 h 408"/>
                <a:gd name="T6" fmla="*/ 347 w 826"/>
                <a:gd name="T7" fmla="*/ 55 h 408"/>
                <a:gd name="T8" fmla="*/ 379 w 826"/>
                <a:gd name="T9" fmla="*/ 63 h 408"/>
                <a:gd name="T10" fmla="*/ 413 w 826"/>
                <a:gd name="T11" fmla="*/ 66 h 408"/>
                <a:gd name="T12" fmla="*/ 448 w 826"/>
                <a:gd name="T13" fmla="*/ 63 h 408"/>
                <a:gd name="T14" fmla="*/ 479 w 826"/>
                <a:gd name="T15" fmla="*/ 55 h 408"/>
                <a:gd name="T16" fmla="*/ 508 w 826"/>
                <a:gd name="T17" fmla="*/ 40 h 408"/>
                <a:gd name="T18" fmla="*/ 535 w 826"/>
                <a:gd name="T19" fmla="*/ 23 h 408"/>
                <a:gd name="T20" fmla="*/ 558 w 826"/>
                <a:gd name="T21" fmla="*/ 0 h 408"/>
                <a:gd name="T22" fmla="*/ 598 w 826"/>
                <a:gd name="T23" fmla="*/ 16 h 408"/>
                <a:gd name="T24" fmla="*/ 633 w 826"/>
                <a:gd name="T25" fmla="*/ 36 h 408"/>
                <a:gd name="T26" fmla="*/ 666 w 826"/>
                <a:gd name="T27" fmla="*/ 60 h 408"/>
                <a:gd name="T28" fmla="*/ 695 w 826"/>
                <a:gd name="T29" fmla="*/ 88 h 408"/>
                <a:gd name="T30" fmla="*/ 723 w 826"/>
                <a:gd name="T31" fmla="*/ 119 h 408"/>
                <a:gd name="T32" fmla="*/ 746 w 826"/>
                <a:gd name="T33" fmla="*/ 153 h 408"/>
                <a:gd name="T34" fmla="*/ 767 w 826"/>
                <a:gd name="T35" fmla="*/ 189 h 408"/>
                <a:gd name="T36" fmla="*/ 785 w 826"/>
                <a:gd name="T37" fmla="*/ 229 h 408"/>
                <a:gd name="T38" fmla="*/ 799 w 826"/>
                <a:gd name="T39" fmla="*/ 270 h 408"/>
                <a:gd name="T40" fmla="*/ 811 w 826"/>
                <a:gd name="T41" fmla="*/ 315 h 408"/>
                <a:gd name="T42" fmla="*/ 820 w 826"/>
                <a:gd name="T43" fmla="*/ 361 h 408"/>
                <a:gd name="T44" fmla="*/ 826 w 826"/>
                <a:gd name="T45" fmla="*/ 408 h 408"/>
                <a:gd name="T46" fmla="*/ 0 w 826"/>
                <a:gd name="T47" fmla="*/ 408 h 408"/>
                <a:gd name="T48" fmla="*/ 7 w 826"/>
                <a:gd name="T49" fmla="*/ 361 h 408"/>
                <a:gd name="T50" fmla="*/ 16 w 826"/>
                <a:gd name="T51" fmla="*/ 315 h 408"/>
                <a:gd name="T52" fmla="*/ 28 w 826"/>
                <a:gd name="T53" fmla="*/ 270 h 408"/>
                <a:gd name="T54" fmla="*/ 42 w 826"/>
                <a:gd name="T55" fmla="*/ 229 h 408"/>
                <a:gd name="T56" fmla="*/ 60 w 826"/>
                <a:gd name="T57" fmla="*/ 189 h 408"/>
                <a:gd name="T58" fmla="*/ 81 w 826"/>
                <a:gd name="T59" fmla="*/ 153 h 408"/>
                <a:gd name="T60" fmla="*/ 104 w 826"/>
                <a:gd name="T61" fmla="*/ 119 h 408"/>
                <a:gd name="T62" fmla="*/ 130 w 826"/>
                <a:gd name="T63" fmla="*/ 88 h 408"/>
                <a:gd name="T64" fmla="*/ 160 w 826"/>
                <a:gd name="T65" fmla="*/ 60 h 408"/>
                <a:gd name="T66" fmla="*/ 193 w 826"/>
                <a:gd name="T67" fmla="*/ 36 h 408"/>
                <a:gd name="T68" fmla="*/ 229 w 826"/>
                <a:gd name="T69" fmla="*/ 16 h 408"/>
                <a:gd name="T70" fmla="*/ 269 w 826"/>
                <a:gd name="T71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6" h="408">
                  <a:moveTo>
                    <a:pt x="269" y="0"/>
                  </a:moveTo>
                  <a:lnTo>
                    <a:pt x="292" y="23"/>
                  </a:lnTo>
                  <a:lnTo>
                    <a:pt x="318" y="40"/>
                  </a:lnTo>
                  <a:lnTo>
                    <a:pt x="347" y="55"/>
                  </a:lnTo>
                  <a:lnTo>
                    <a:pt x="379" y="63"/>
                  </a:lnTo>
                  <a:lnTo>
                    <a:pt x="413" y="66"/>
                  </a:lnTo>
                  <a:lnTo>
                    <a:pt x="448" y="63"/>
                  </a:lnTo>
                  <a:lnTo>
                    <a:pt x="479" y="55"/>
                  </a:lnTo>
                  <a:lnTo>
                    <a:pt x="508" y="40"/>
                  </a:lnTo>
                  <a:lnTo>
                    <a:pt x="535" y="23"/>
                  </a:lnTo>
                  <a:lnTo>
                    <a:pt x="558" y="0"/>
                  </a:lnTo>
                  <a:lnTo>
                    <a:pt x="598" y="16"/>
                  </a:lnTo>
                  <a:lnTo>
                    <a:pt x="633" y="36"/>
                  </a:lnTo>
                  <a:lnTo>
                    <a:pt x="666" y="60"/>
                  </a:lnTo>
                  <a:lnTo>
                    <a:pt x="695" y="88"/>
                  </a:lnTo>
                  <a:lnTo>
                    <a:pt x="723" y="119"/>
                  </a:lnTo>
                  <a:lnTo>
                    <a:pt x="746" y="153"/>
                  </a:lnTo>
                  <a:lnTo>
                    <a:pt x="767" y="189"/>
                  </a:lnTo>
                  <a:lnTo>
                    <a:pt x="785" y="229"/>
                  </a:lnTo>
                  <a:lnTo>
                    <a:pt x="799" y="270"/>
                  </a:lnTo>
                  <a:lnTo>
                    <a:pt x="811" y="315"/>
                  </a:lnTo>
                  <a:lnTo>
                    <a:pt x="820" y="361"/>
                  </a:lnTo>
                  <a:lnTo>
                    <a:pt x="826" y="408"/>
                  </a:lnTo>
                  <a:lnTo>
                    <a:pt x="0" y="408"/>
                  </a:lnTo>
                  <a:lnTo>
                    <a:pt x="7" y="361"/>
                  </a:lnTo>
                  <a:lnTo>
                    <a:pt x="16" y="315"/>
                  </a:lnTo>
                  <a:lnTo>
                    <a:pt x="28" y="270"/>
                  </a:lnTo>
                  <a:lnTo>
                    <a:pt x="42" y="229"/>
                  </a:lnTo>
                  <a:lnTo>
                    <a:pt x="60" y="189"/>
                  </a:lnTo>
                  <a:lnTo>
                    <a:pt x="81" y="153"/>
                  </a:lnTo>
                  <a:lnTo>
                    <a:pt x="104" y="119"/>
                  </a:lnTo>
                  <a:lnTo>
                    <a:pt x="130" y="88"/>
                  </a:lnTo>
                  <a:lnTo>
                    <a:pt x="160" y="60"/>
                  </a:lnTo>
                  <a:lnTo>
                    <a:pt x="193" y="36"/>
                  </a:lnTo>
                  <a:lnTo>
                    <a:pt x="229" y="16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FFFFFF">
                <a:alpha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29">
              <a:extLst>
                <a:ext uri="{FF2B5EF4-FFF2-40B4-BE49-F238E27FC236}">
                  <a16:creationId xmlns:a16="http://schemas.microsoft.com/office/drawing/2014/main" id="{4151E835-8728-4CB2-B7EA-369C1AE5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887788"/>
              <a:ext cx="1562100" cy="295275"/>
            </a:xfrm>
            <a:custGeom>
              <a:avLst/>
              <a:gdLst>
                <a:gd name="T0" fmla="*/ 21 w 984"/>
                <a:gd name="T1" fmla="*/ 0 h 186"/>
                <a:gd name="T2" fmla="*/ 964 w 984"/>
                <a:gd name="T3" fmla="*/ 0 h 186"/>
                <a:gd name="T4" fmla="*/ 975 w 984"/>
                <a:gd name="T5" fmla="*/ 2 h 186"/>
                <a:gd name="T6" fmla="*/ 982 w 984"/>
                <a:gd name="T7" fmla="*/ 10 h 186"/>
                <a:gd name="T8" fmla="*/ 984 w 984"/>
                <a:gd name="T9" fmla="*/ 21 h 186"/>
                <a:gd name="T10" fmla="*/ 984 w 984"/>
                <a:gd name="T11" fmla="*/ 165 h 186"/>
                <a:gd name="T12" fmla="*/ 982 w 984"/>
                <a:gd name="T13" fmla="*/ 176 h 186"/>
                <a:gd name="T14" fmla="*/ 975 w 984"/>
                <a:gd name="T15" fmla="*/ 184 h 186"/>
                <a:gd name="T16" fmla="*/ 964 w 984"/>
                <a:gd name="T17" fmla="*/ 186 h 186"/>
                <a:gd name="T18" fmla="*/ 21 w 984"/>
                <a:gd name="T19" fmla="*/ 186 h 186"/>
                <a:gd name="T20" fmla="*/ 11 w 984"/>
                <a:gd name="T21" fmla="*/ 184 h 186"/>
                <a:gd name="T22" fmla="*/ 3 w 984"/>
                <a:gd name="T23" fmla="*/ 176 h 186"/>
                <a:gd name="T24" fmla="*/ 0 w 984"/>
                <a:gd name="T25" fmla="*/ 165 h 186"/>
                <a:gd name="T26" fmla="*/ 0 w 984"/>
                <a:gd name="T27" fmla="*/ 21 h 186"/>
                <a:gd name="T28" fmla="*/ 3 w 984"/>
                <a:gd name="T29" fmla="*/ 10 h 186"/>
                <a:gd name="T30" fmla="*/ 11 w 984"/>
                <a:gd name="T31" fmla="*/ 2 h 186"/>
                <a:gd name="T32" fmla="*/ 21 w 984"/>
                <a:gd name="T3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4" h="186">
                  <a:moveTo>
                    <a:pt x="21" y="0"/>
                  </a:moveTo>
                  <a:lnTo>
                    <a:pt x="964" y="0"/>
                  </a:lnTo>
                  <a:lnTo>
                    <a:pt x="975" y="2"/>
                  </a:lnTo>
                  <a:lnTo>
                    <a:pt x="982" y="10"/>
                  </a:lnTo>
                  <a:lnTo>
                    <a:pt x="984" y="21"/>
                  </a:lnTo>
                  <a:lnTo>
                    <a:pt x="984" y="165"/>
                  </a:lnTo>
                  <a:lnTo>
                    <a:pt x="982" y="176"/>
                  </a:lnTo>
                  <a:lnTo>
                    <a:pt x="975" y="184"/>
                  </a:lnTo>
                  <a:lnTo>
                    <a:pt x="964" y="186"/>
                  </a:lnTo>
                  <a:lnTo>
                    <a:pt x="21" y="186"/>
                  </a:lnTo>
                  <a:lnTo>
                    <a:pt x="11" y="184"/>
                  </a:lnTo>
                  <a:lnTo>
                    <a:pt x="3" y="176"/>
                  </a:lnTo>
                  <a:lnTo>
                    <a:pt x="0" y="165"/>
                  </a:lnTo>
                  <a:lnTo>
                    <a:pt x="0" y="21"/>
                  </a:lnTo>
                  <a:lnTo>
                    <a:pt x="3" y="10"/>
                  </a:lnTo>
                  <a:lnTo>
                    <a:pt x="11" y="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Freeform 30">
              <a:extLst>
                <a:ext uri="{FF2B5EF4-FFF2-40B4-BE49-F238E27FC236}">
                  <a16:creationId xmlns:a16="http://schemas.microsoft.com/office/drawing/2014/main" id="{F7411D83-47F3-4018-906C-9DB3A651C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690938"/>
              <a:ext cx="604838" cy="112713"/>
            </a:xfrm>
            <a:custGeom>
              <a:avLst/>
              <a:gdLst>
                <a:gd name="T0" fmla="*/ 8 w 381"/>
                <a:gd name="T1" fmla="*/ 0 h 71"/>
                <a:gd name="T2" fmla="*/ 373 w 381"/>
                <a:gd name="T3" fmla="*/ 0 h 71"/>
                <a:gd name="T4" fmla="*/ 376 w 381"/>
                <a:gd name="T5" fmla="*/ 0 h 71"/>
                <a:gd name="T6" fmla="*/ 378 w 381"/>
                <a:gd name="T7" fmla="*/ 2 h 71"/>
                <a:gd name="T8" fmla="*/ 379 w 381"/>
                <a:gd name="T9" fmla="*/ 4 h 71"/>
                <a:gd name="T10" fmla="*/ 381 w 381"/>
                <a:gd name="T11" fmla="*/ 7 h 71"/>
                <a:gd name="T12" fmla="*/ 381 w 381"/>
                <a:gd name="T13" fmla="*/ 63 h 71"/>
                <a:gd name="T14" fmla="*/ 379 w 381"/>
                <a:gd name="T15" fmla="*/ 67 h 71"/>
                <a:gd name="T16" fmla="*/ 378 w 381"/>
                <a:gd name="T17" fmla="*/ 69 h 71"/>
                <a:gd name="T18" fmla="*/ 376 w 381"/>
                <a:gd name="T19" fmla="*/ 71 h 71"/>
                <a:gd name="T20" fmla="*/ 373 w 381"/>
                <a:gd name="T21" fmla="*/ 71 h 71"/>
                <a:gd name="T22" fmla="*/ 8 w 381"/>
                <a:gd name="T23" fmla="*/ 71 h 71"/>
                <a:gd name="T24" fmla="*/ 5 w 381"/>
                <a:gd name="T25" fmla="*/ 71 h 71"/>
                <a:gd name="T26" fmla="*/ 2 w 381"/>
                <a:gd name="T27" fmla="*/ 69 h 71"/>
                <a:gd name="T28" fmla="*/ 1 w 381"/>
                <a:gd name="T29" fmla="*/ 67 h 71"/>
                <a:gd name="T30" fmla="*/ 0 w 381"/>
                <a:gd name="T31" fmla="*/ 63 h 71"/>
                <a:gd name="T32" fmla="*/ 0 w 381"/>
                <a:gd name="T33" fmla="*/ 7 h 71"/>
                <a:gd name="T34" fmla="*/ 1 w 381"/>
                <a:gd name="T35" fmla="*/ 4 h 71"/>
                <a:gd name="T36" fmla="*/ 2 w 381"/>
                <a:gd name="T37" fmla="*/ 2 h 71"/>
                <a:gd name="T38" fmla="*/ 5 w 381"/>
                <a:gd name="T39" fmla="*/ 0 h 71"/>
                <a:gd name="T40" fmla="*/ 8 w 381"/>
                <a:gd name="T4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1" h="71">
                  <a:moveTo>
                    <a:pt x="8" y="0"/>
                  </a:moveTo>
                  <a:lnTo>
                    <a:pt x="373" y="0"/>
                  </a:lnTo>
                  <a:lnTo>
                    <a:pt x="376" y="0"/>
                  </a:lnTo>
                  <a:lnTo>
                    <a:pt x="378" y="2"/>
                  </a:lnTo>
                  <a:lnTo>
                    <a:pt x="379" y="4"/>
                  </a:lnTo>
                  <a:lnTo>
                    <a:pt x="381" y="7"/>
                  </a:lnTo>
                  <a:lnTo>
                    <a:pt x="381" y="63"/>
                  </a:lnTo>
                  <a:lnTo>
                    <a:pt x="379" y="67"/>
                  </a:lnTo>
                  <a:lnTo>
                    <a:pt x="378" y="69"/>
                  </a:lnTo>
                  <a:lnTo>
                    <a:pt x="376" y="71"/>
                  </a:lnTo>
                  <a:lnTo>
                    <a:pt x="373" y="71"/>
                  </a:lnTo>
                  <a:lnTo>
                    <a:pt x="8" y="71"/>
                  </a:lnTo>
                  <a:lnTo>
                    <a:pt x="5" y="71"/>
                  </a:lnTo>
                  <a:lnTo>
                    <a:pt x="2" y="69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>
                <a:alpha val="47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Freeform 31">
              <a:extLst>
                <a:ext uri="{FF2B5EF4-FFF2-40B4-BE49-F238E27FC236}">
                  <a16:creationId xmlns:a16="http://schemas.microsoft.com/office/drawing/2014/main" id="{D9E0246D-A169-4097-9B59-FD896FA6F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232150"/>
              <a:ext cx="1562100" cy="296863"/>
            </a:xfrm>
            <a:custGeom>
              <a:avLst/>
              <a:gdLst>
                <a:gd name="T0" fmla="*/ 21 w 984"/>
                <a:gd name="T1" fmla="*/ 0 h 187"/>
                <a:gd name="T2" fmla="*/ 964 w 984"/>
                <a:gd name="T3" fmla="*/ 0 h 187"/>
                <a:gd name="T4" fmla="*/ 975 w 984"/>
                <a:gd name="T5" fmla="*/ 3 h 187"/>
                <a:gd name="T6" fmla="*/ 982 w 984"/>
                <a:gd name="T7" fmla="*/ 11 h 187"/>
                <a:gd name="T8" fmla="*/ 984 w 984"/>
                <a:gd name="T9" fmla="*/ 21 h 187"/>
                <a:gd name="T10" fmla="*/ 984 w 984"/>
                <a:gd name="T11" fmla="*/ 166 h 187"/>
                <a:gd name="T12" fmla="*/ 982 w 984"/>
                <a:gd name="T13" fmla="*/ 177 h 187"/>
                <a:gd name="T14" fmla="*/ 975 w 984"/>
                <a:gd name="T15" fmla="*/ 184 h 187"/>
                <a:gd name="T16" fmla="*/ 964 w 984"/>
                <a:gd name="T17" fmla="*/ 187 h 187"/>
                <a:gd name="T18" fmla="*/ 21 w 984"/>
                <a:gd name="T19" fmla="*/ 187 h 187"/>
                <a:gd name="T20" fmla="*/ 11 w 984"/>
                <a:gd name="T21" fmla="*/ 184 h 187"/>
                <a:gd name="T22" fmla="*/ 3 w 984"/>
                <a:gd name="T23" fmla="*/ 177 h 187"/>
                <a:gd name="T24" fmla="*/ 0 w 984"/>
                <a:gd name="T25" fmla="*/ 166 h 187"/>
                <a:gd name="T26" fmla="*/ 0 w 984"/>
                <a:gd name="T27" fmla="*/ 21 h 187"/>
                <a:gd name="T28" fmla="*/ 3 w 984"/>
                <a:gd name="T29" fmla="*/ 11 h 187"/>
                <a:gd name="T30" fmla="*/ 11 w 984"/>
                <a:gd name="T31" fmla="*/ 3 h 187"/>
                <a:gd name="T32" fmla="*/ 21 w 984"/>
                <a:gd name="T33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4" h="187">
                  <a:moveTo>
                    <a:pt x="21" y="0"/>
                  </a:moveTo>
                  <a:lnTo>
                    <a:pt x="964" y="0"/>
                  </a:lnTo>
                  <a:lnTo>
                    <a:pt x="975" y="3"/>
                  </a:lnTo>
                  <a:lnTo>
                    <a:pt x="982" y="11"/>
                  </a:lnTo>
                  <a:lnTo>
                    <a:pt x="984" y="21"/>
                  </a:lnTo>
                  <a:lnTo>
                    <a:pt x="984" y="166"/>
                  </a:lnTo>
                  <a:lnTo>
                    <a:pt x="982" y="177"/>
                  </a:lnTo>
                  <a:lnTo>
                    <a:pt x="975" y="184"/>
                  </a:lnTo>
                  <a:lnTo>
                    <a:pt x="964" y="187"/>
                  </a:lnTo>
                  <a:lnTo>
                    <a:pt x="21" y="187"/>
                  </a:lnTo>
                  <a:lnTo>
                    <a:pt x="11" y="184"/>
                  </a:lnTo>
                  <a:lnTo>
                    <a:pt x="3" y="177"/>
                  </a:lnTo>
                  <a:lnTo>
                    <a:pt x="0" y="166"/>
                  </a:lnTo>
                  <a:lnTo>
                    <a:pt x="0" y="21"/>
                  </a:lnTo>
                  <a:lnTo>
                    <a:pt x="3" y="11"/>
                  </a:lnTo>
                  <a:lnTo>
                    <a:pt x="11" y="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32">
              <a:extLst>
                <a:ext uri="{FF2B5EF4-FFF2-40B4-BE49-F238E27FC236}">
                  <a16:creationId xmlns:a16="http://schemas.microsoft.com/office/drawing/2014/main" id="{7A87D7E2-46E2-4117-A09F-FE3A9A7E2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3036888"/>
              <a:ext cx="604838" cy="112713"/>
            </a:xfrm>
            <a:custGeom>
              <a:avLst/>
              <a:gdLst>
                <a:gd name="T0" fmla="*/ 8 w 381"/>
                <a:gd name="T1" fmla="*/ 0 h 71"/>
                <a:gd name="T2" fmla="*/ 373 w 381"/>
                <a:gd name="T3" fmla="*/ 0 h 71"/>
                <a:gd name="T4" fmla="*/ 376 w 381"/>
                <a:gd name="T5" fmla="*/ 0 h 71"/>
                <a:gd name="T6" fmla="*/ 378 w 381"/>
                <a:gd name="T7" fmla="*/ 2 h 71"/>
                <a:gd name="T8" fmla="*/ 379 w 381"/>
                <a:gd name="T9" fmla="*/ 4 h 71"/>
                <a:gd name="T10" fmla="*/ 381 w 381"/>
                <a:gd name="T11" fmla="*/ 8 h 71"/>
                <a:gd name="T12" fmla="*/ 381 w 381"/>
                <a:gd name="T13" fmla="*/ 64 h 71"/>
                <a:gd name="T14" fmla="*/ 379 w 381"/>
                <a:gd name="T15" fmla="*/ 67 h 71"/>
                <a:gd name="T16" fmla="*/ 378 w 381"/>
                <a:gd name="T17" fmla="*/ 69 h 71"/>
                <a:gd name="T18" fmla="*/ 376 w 381"/>
                <a:gd name="T19" fmla="*/ 71 h 71"/>
                <a:gd name="T20" fmla="*/ 373 w 381"/>
                <a:gd name="T21" fmla="*/ 71 h 71"/>
                <a:gd name="T22" fmla="*/ 8 w 381"/>
                <a:gd name="T23" fmla="*/ 71 h 71"/>
                <a:gd name="T24" fmla="*/ 5 w 381"/>
                <a:gd name="T25" fmla="*/ 71 h 71"/>
                <a:gd name="T26" fmla="*/ 2 w 381"/>
                <a:gd name="T27" fmla="*/ 69 h 71"/>
                <a:gd name="T28" fmla="*/ 1 w 381"/>
                <a:gd name="T29" fmla="*/ 67 h 71"/>
                <a:gd name="T30" fmla="*/ 0 w 381"/>
                <a:gd name="T31" fmla="*/ 64 h 71"/>
                <a:gd name="T32" fmla="*/ 0 w 381"/>
                <a:gd name="T33" fmla="*/ 8 h 71"/>
                <a:gd name="T34" fmla="*/ 1 w 381"/>
                <a:gd name="T35" fmla="*/ 4 h 71"/>
                <a:gd name="T36" fmla="*/ 2 w 381"/>
                <a:gd name="T37" fmla="*/ 2 h 71"/>
                <a:gd name="T38" fmla="*/ 5 w 381"/>
                <a:gd name="T39" fmla="*/ 0 h 71"/>
                <a:gd name="T40" fmla="*/ 8 w 381"/>
                <a:gd name="T4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1" h="71">
                  <a:moveTo>
                    <a:pt x="8" y="0"/>
                  </a:moveTo>
                  <a:lnTo>
                    <a:pt x="373" y="0"/>
                  </a:lnTo>
                  <a:lnTo>
                    <a:pt x="376" y="0"/>
                  </a:lnTo>
                  <a:lnTo>
                    <a:pt x="378" y="2"/>
                  </a:lnTo>
                  <a:lnTo>
                    <a:pt x="379" y="4"/>
                  </a:lnTo>
                  <a:lnTo>
                    <a:pt x="381" y="8"/>
                  </a:lnTo>
                  <a:lnTo>
                    <a:pt x="381" y="64"/>
                  </a:lnTo>
                  <a:lnTo>
                    <a:pt x="379" y="67"/>
                  </a:lnTo>
                  <a:lnTo>
                    <a:pt x="378" y="69"/>
                  </a:lnTo>
                  <a:lnTo>
                    <a:pt x="376" y="71"/>
                  </a:lnTo>
                  <a:lnTo>
                    <a:pt x="373" y="71"/>
                  </a:lnTo>
                  <a:lnTo>
                    <a:pt x="8" y="71"/>
                  </a:lnTo>
                  <a:lnTo>
                    <a:pt x="5" y="71"/>
                  </a:lnTo>
                  <a:lnTo>
                    <a:pt x="2" y="69"/>
                  </a:lnTo>
                  <a:lnTo>
                    <a:pt x="1" y="67"/>
                  </a:lnTo>
                  <a:lnTo>
                    <a:pt x="0" y="64"/>
                  </a:lnTo>
                  <a:lnTo>
                    <a:pt x="0" y="8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>
                <a:alpha val="47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33">
              <a:extLst>
                <a:ext uri="{FF2B5EF4-FFF2-40B4-BE49-F238E27FC236}">
                  <a16:creationId xmlns:a16="http://schemas.microsoft.com/office/drawing/2014/main" id="{102295EA-4763-478A-80AB-00DB0343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26" y="1677988"/>
              <a:ext cx="1851025" cy="1174750"/>
            </a:xfrm>
            <a:custGeom>
              <a:avLst/>
              <a:gdLst>
                <a:gd name="T0" fmla="*/ 38 w 1166"/>
                <a:gd name="T1" fmla="*/ 0 h 740"/>
                <a:gd name="T2" fmla="*/ 1127 w 1166"/>
                <a:gd name="T3" fmla="*/ 0 h 740"/>
                <a:gd name="T4" fmla="*/ 1142 w 1166"/>
                <a:gd name="T5" fmla="*/ 4 h 740"/>
                <a:gd name="T6" fmla="*/ 1155 w 1166"/>
                <a:gd name="T7" fmla="*/ 11 h 740"/>
                <a:gd name="T8" fmla="*/ 1163 w 1166"/>
                <a:gd name="T9" fmla="*/ 23 h 740"/>
                <a:gd name="T10" fmla="*/ 1166 w 1166"/>
                <a:gd name="T11" fmla="*/ 39 h 740"/>
                <a:gd name="T12" fmla="*/ 1166 w 1166"/>
                <a:gd name="T13" fmla="*/ 702 h 740"/>
                <a:gd name="T14" fmla="*/ 1163 w 1166"/>
                <a:gd name="T15" fmla="*/ 717 h 740"/>
                <a:gd name="T16" fmla="*/ 1155 w 1166"/>
                <a:gd name="T17" fmla="*/ 729 h 740"/>
                <a:gd name="T18" fmla="*/ 1142 w 1166"/>
                <a:gd name="T19" fmla="*/ 738 h 740"/>
                <a:gd name="T20" fmla="*/ 1127 w 1166"/>
                <a:gd name="T21" fmla="*/ 740 h 740"/>
                <a:gd name="T22" fmla="*/ 38 w 1166"/>
                <a:gd name="T23" fmla="*/ 740 h 740"/>
                <a:gd name="T24" fmla="*/ 23 w 1166"/>
                <a:gd name="T25" fmla="*/ 738 h 740"/>
                <a:gd name="T26" fmla="*/ 11 w 1166"/>
                <a:gd name="T27" fmla="*/ 729 h 740"/>
                <a:gd name="T28" fmla="*/ 2 w 1166"/>
                <a:gd name="T29" fmla="*/ 717 h 740"/>
                <a:gd name="T30" fmla="*/ 0 w 1166"/>
                <a:gd name="T31" fmla="*/ 702 h 740"/>
                <a:gd name="T32" fmla="*/ 0 w 1166"/>
                <a:gd name="T33" fmla="*/ 39 h 740"/>
                <a:gd name="T34" fmla="*/ 2 w 1166"/>
                <a:gd name="T35" fmla="*/ 23 h 740"/>
                <a:gd name="T36" fmla="*/ 11 w 1166"/>
                <a:gd name="T37" fmla="*/ 11 h 740"/>
                <a:gd name="T38" fmla="*/ 23 w 1166"/>
                <a:gd name="T39" fmla="*/ 4 h 740"/>
                <a:gd name="T40" fmla="*/ 38 w 1166"/>
                <a:gd name="T41" fmla="*/ 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66" h="740">
                  <a:moveTo>
                    <a:pt x="38" y="0"/>
                  </a:moveTo>
                  <a:lnTo>
                    <a:pt x="1127" y="0"/>
                  </a:lnTo>
                  <a:lnTo>
                    <a:pt x="1142" y="4"/>
                  </a:lnTo>
                  <a:lnTo>
                    <a:pt x="1155" y="11"/>
                  </a:lnTo>
                  <a:lnTo>
                    <a:pt x="1163" y="23"/>
                  </a:lnTo>
                  <a:lnTo>
                    <a:pt x="1166" y="39"/>
                  </a:lnTo>
                  <a:lnTo>
                    <a:pt x="1166" y="702"/>
                  </a:lnTo>
                  <a:lnTo>
                    <a:pt x="1163" y="717"/>
                  </a:lnTo>
                  <a:lnTo>
                    <a:pt x="1155" y="729"/>
                  </a:lnTo>
                  <a:lnTo>
                    <a:pt x="1142" y="738"/>
                  </a:lnTo>
                  <a:lnTo>
                    <a:pt x="1127" y="740"/>
                  </a:lnTo>
                  <a:lnTo>
                    <a:pt x="38" y="740"/>
                  </a:lnTo>
                  <a:lnTo>
                    <a:pt x="23" y="738"/>
                  </a:lnTo>
                  <a:lnTo>
                    <a:pt x="11" y="729"/>
                  </a:lnTo>
                  <a:lnTo>
                    <a:pt x="2" y="717"/>
                  </a:lnTo>
                  <a:lnTo>
                    <a:pt x="0" y="702"/>
                  </a:lnTo>
                  <a:lnTo>
                    <a:pt x="0" y="39"/>
                  </a:lnTo>
                  <a:lnTo>
                    <a:pt x="2" y="23"/>
                  </a:lnTo>
                  <a:lnTo>
                    <a:pt x="11" y="11"/>
                  </a:lnTo>
                  <a:lnTo>
                    <a:pt x="23" y="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A7CCD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Rectangle 34">
              <a:extLst>
                <a:ext uri="{FF2B5EF4-FFF2-40B4-BE49-F238E27FC236}">
                  <a16:creationId xmlns:a16="http://schemas.microsoft.com/office/drawing/2014/main" id="{7EDD3192-5C76-4189-ACBD-C8C48CE10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7126" y="2503488"/>
              <a:ext cx="1851025" cy="219075"/>
            </a:xfrm>
            <a:prstGeom prst="rect">
              <a:avLst/>
            </a:prstGeom>
            <a:solidFill>
              <a:srgbClr val="3F3F3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Freeform 35">
              <a:extLst>
                <a:ext uri="{FF2B5EF4-FFF2-40B4-BE49-F238E27FC236}">
                  <a16:creationId xmlns:a16="http://schemas.microsoft.com/office/drawing/2014/main" id="{33ABFAFC-BE66-4B62-B881-11ED9709D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9838" y="1787525"/>
              <a:ext cx="420688" cy="300038"/>
            </a:xfrm>
            <a:custGeom>
              <a:avLst/>
              <a:gdLst>
                <a:gd name="T0" fmla="*/ 22 w 265"/>
                <a:gd name="T1" fmla="*/ 0 h 189"/>
                <a:gd name="T2" fmla="*/ 245 w 265"/>
                <a:gd name="T3" fmla="*/ 0 h 189"/>
                <a:gd name="T4" fmla="*/ 256 w 265"/>
                <a:gd name="T5" fmla="*/ 3 h 189"/>
                <a:gd name="T6" fmla="*/ 263 w 265"/>
                <a:gd name="T7" fmla="*/ 11 h 189"/>
                <a:gd name="T8" fmla="*/ 265 w 265"/>
                <a:gd name="T9" fmla="*/ 21 h 189"/>
                <a:gd name="T10" fmla="*/ 265 w 265"/>
                <a:gd name="T11" fmla="*/ 168 h 189"/>
                <a:gd name="T12" fmla="*/ 263 w 265"/>
                <a:gd name="T13" fmla="*/ 179 h 189"/>
                <a:gd name="T14" fmla="*/ 256 w 265"/>
                <a:gd name="T15" fmla="*/ 187 h 189"/>
                <a:gd name="T16" fmla="*/ 245 w 265"/>
                <a:gd name="T17" fmla="*/ 189 h 189"/>
                <a:gd name="T18" fmla="*/ 22 w 265"/>
                <a:gd name="T19" fmla="*/ 189 h 189"/>
                <a:gd name="T20" fmla="*/ 11 w 265"/>
                <a:gd name="T21" fmla="*/ 187 h 189"/>
                <a:gd name="T22" fmla="*/ 4 w 265"/>
                <a:gd name="T23" fmla="*/ 179 h 189"/>
                <a:gd name="T24" fmla="*/ 0 w 265"/>
                <a:gd name="T25" fmla="*/ 168 h 189"/>
                <a:gd name="T26" fmla="*/ 0 w 265"/>
                <a:gd name="T27" fmla="*/ 21 h 189"/>
                <a:gd name="T28" fmla="*/ 4 w 265"/>
                <a:gd name="T29" fmla="*/ 11 h 189"/>
                <a:gd name="T30" fmla="*/ 11 w 265"/>
                <a:gd name="T31" fmla="*/ 3 h 189"/>
                <a:gd name="T32" fmla="*/ 22 w 265"/>
                <a:gd name="T33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5" h="189">
                  <a:moveTo>
                    <a:pt x="22" y="0"/>
                  </a:moveTo>
                  <a:lnTo>
                    <a:pt x="245" y="0"/>
                  </a:lnTo>
                  <a:lnTo>
                    <a:pt x="256" y="3"/>
                  </a:lnTo>
                  <a:lnTo>
                    <a:pt x="263" y="11"/>
                  </a:lnTo>
                  <a:lnTo>
                    <a:pt x="265" y="21"/>
                  </a:lnTo>
                  <a:lnTo>
                    <a:pt x="265" y="168"/>
                  </a:lnTo>
                  <a:lnTo>
                    <a:pt x="263" y="179"/>
                  </a:lnTo>
                  <a:lnTo>
                    <a:pt x="256" y="187"/>
                  </a:lnTo>
                  <a:lnTo>
                    <a:pt x="245" y="189"/>
                  </a:lnTo>
                  <a:lnTo>
                    <a:pt x="22" y="189"/>
                  </a:lnTo>
                  <a:lnTo>
                    <a:pt x="11" y="187"/>
                  </a:lnTo>
                  <a:lnTo>
                    <a:pt x="4" y="179"/>
                  </a:lnTo>
                  <a:lnTo>
                    <a:pt x="0" y="168"/>
                  </a:lnTo>
                  <a:lnTo>
                    <a:pt x="0" y="21"/>
                  </a:lnTo>
                  <a:lnTo>
                    <a:pt x="4" y="11"/>
                  </a:lnTo>
                  <a:lnTo>
                    <a:pt x="11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3BF407E5-79EB-4541-A319-16AC53A7A609}"/>
              </a:ext>
            </a:extLst>
          </p:cNvPr>
          <p:cNvGrpSpPr/>
          <p:nvPr/>
        </p:nvGrpSpPr>
        <p:grpSpPr>
          <a:xfrm>
            <a:off x="102303" y="5249078"/>
            <a:ext cx="969520" cy="1003183"/>
            <a:chOff x="5965826" y="1566863"/>
            <a:chExt cx="4140200" cy="3486150"/>
          </a:xfrm>
        </p:grpSpPr>
        <p:sp>
          <p:nvSpPr>
            <p:cNvPr id="304" name="Freeform 8">
              <a:extLst>
                <a:ext uri="{FF2B5EF4-FFF2-40B4-BE49-F238E27FC236}">
                  <a16:creationId xmlns:a16="http://schemas.microsoft.com/office/drawing/2014/main" id="{D0B45B8A-A1BF-48F4-A013-51D14014E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6" y="4522788"/>
              <a:ext cx="1211263" cy="530225"/>
            </a:xfrm>
            <a:custGeom>
              <a:avLst/>
              <a:gdLst>
                <a:gd name="T0" fmla="*/ 368 w 1524"/>
                <a:gd name="T1" fmla="*/ 0 h 669"/>
                <a:gd name="T2" fmla="*/ 1154 w 1524"/>
                <a:gd name="T3" fmla="*/ 0 h 669"/>
                <a:gd name="T4" fmla="*/ 1524 w 1524"/>
                <a:gd name="T5" fmla="*/ 669 h 669"/>
                <a:gd name="T6" fmla="*/ 0 w 1524"/>
                <a:gd name="T7" fmla="*/ 669 h 669"/>
                <a:gd name="T8" fmla="*/ 368 w 1524"/>
                <a:gd name="T9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4" h="669">
                  <a:moveTo>
                    <a:pt x="368" y="0"/>
                  </a:moveTo>
                  <a:lnTo>
                    <a:pt x="1154" y="0"/>
                  </a:lnTo>
                  <a:lnTo>
                    <a:pt x="1524" y="669"/>
                  </a:lnTo>
                  <a:lnTo>
                    <a:pt x="0" y="669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Freeform 9">
              <a:extLst>
                <a:ext uri="{FF2B5EF4-FFF2-40B4-BE49-F238E27FC236}">
                  <a16:creationId xmlns:a16="http://schemas.microsoft.com/office/drawing/2014/main" id="{20D9784A-C771-45FE-8F74-5E0343630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2232026"/>
              <a:ext cx="3244850" cy="2425700"/>
            </a:xfrm>
            <a:custGeom>
              <a:avLst/>
              <a:gdLst>
                <a:gd name="T0" fmla="*/ 190 w 4088"/>
                <a:gd name="T1" fmla="*/ 0 h 3056"/>
                <a:gd name="T2" fmla="*/ 3898 w 4088"/>
                <a:gd name="T3" fmla="*/ 0 h 3056"/>
                <a:gd name="T4" fmla="*/ 3943 w 4088"/>
                <a:gd name="T5" fmla="*/ 6 h 3056"/>
                <a:gd name="T6" fmla="*/ 3982 w 4088"/>
                <a:gd name="T7" fmla="*/ 19 h 3056"/>
                <a:gd name="T8" fmla="*/ 4018 w 4088"/>
                <a:gd name="T9" fmla="*/ 41 h 3056"/>
                <a:gd name="T10" fmla="*/ 4046 w 4088"/>
                <a:gd name="T11" fmla="*/ 71 h 3056"/>
                <a:gd name="T12" fmla="*/ 4069 w 4088"/>
                <a:gd name="T13" fmla="*/ 107 h 3056"/>
                <a:gd name="T14" fmla="*/ 4084 w 4088"/>
                <a:gd name="T15" fmla="*/ 147 h 3056"/>
                <a:gd name="T16" fmla="*/ 4088 w 4088"/>
                <a:gd name="T17" fmla="*/ 190 h 3056"/>
                <a:gd name="T18" fmla="*/ 4088 w 4088"/>
                <a:gd name="T19" fmla="*/ 2865 h 3056"/>
                <a:gd name="T20" fmla="*/ 4084 w 4088"/>
                <a:gd name="T21" fmla="*/ 2909 h 3056"/>
                <a:gd name="T22" fmla="*/ 4069 w 4088"/>
                <a:gd name="T23" fmla="*/ 2948 h 3056"/>
                <a:gd name="T24" fmla="*/ 4046 w 4088"/>
                <a:gd name="T25" fmla="*/ 2984 h 3056"/>
                <a:gd name="T26" fmla="*/ 4018 w 4088"/>
                <a:gd name="T27" fmla="*/ 3014 h 3056"/>
                <a:gd name="T28" fmla="*/ 3982 w 4088"/>
                <a:gd name="T29" fmla="*/ 3037 h 3056"/>
                <a:gd name="T30" fmla="*/ 3943 w 4088"/>
                <a:gd name="T31" fmla="*/ 3050 h 3056"/>
                <a:gd name="T32" fmla="*/ 3898 w 4088"/>
                <a:gd name="T33" fmla="*/ 3056 h 3056"/>
                <a:gd name="T34" fmla="*/ 190 w 4088"/>
                <a:gd name="T35" fmla="*/ 3056 h 3056"/>
                <a:gd name="T36" fmla="*/ 147 w 4088"/>
                <a:gd name="T37" fmla="*/ 3050 h 3056"/>
                <a:gd name="T38" fmla="*/ 106 w 4088"/>
                <a:gd name="T39" fmla="*/ 3037 h 3056"/>
                <a:gd name="T40" fmla="*/ 72 w 4088"/>
                <a:gd name="T41" fmla="*/ 3014 h 3056"/>
                <a:gd name="T42" fmla="*/ 42 w 4088"/>
                <a:gd name="T43" fmla="*/ 2984 h 3056"/>
                <a:gd name="T44" fmla="*/ 19 w 4088"/>
                <a:gd name="T45" fmla="*/ 2948 h 3056"/>
                <a:gd name="T46" fmla="*/ 6 w 4088"/>
                <a:gd name="T47" fmla="*/ 2909 h 3056"/>
                <a:gd name="T48" fmla="*/ 0 w 4088"/>
                <a:gd name="T49" fmla="*/ 2865 h 3056"/>
                <a:gd name="T50" fmla="*/ 0 w 4088"/>
                <a:gd name="T51" fmla="*/ 190 h 3056"/>
                <a:gd name="T52" fmla="*/ 6 w 4088"/>
                <a:gd name="T53" fmla="*/ 147 h 3056"/>
                <a:gd name="T54" fmla="*/ 19 w 4088"/>
                <a:gd name="T55" fmla="*/ 107 h 3056"/>
                <a:gd name="T56" fmla="*/ 42 w 4088"/>
                <a:gd name="T57" fmla="*/ 71 h 3056"/>
                <a:gd name="T58" fmla="*/ 72 w 4088"/>
                <a:gd name="T59" fmla="*/ 41 h 3056"/>
                <a:gd name="T60" fmla="*/ 106 w 4088"/>
                <a:gd name="T61" fmla="*/ 19 h 3056"/>
                <a:gd name="T62" fmla="*/ 147 w 4088"/>
                <a:gd name="T63" fmla="*/ 6 h 3056"/>
                <a:gd name="T64" fmla="*/ 190 w 4088"/>
                <a:gd name="T65" fmla="*/ 0 h 3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88" h="3056">
                  <a:moveTo>
                    <a:pt x="190" y="0"/>
                  </a:moveTo>
                  <a:lnTo>
                    <a:pt x="3898" y="0"/>
                  </a:lnTo>
                  <a:lnTo>
                    <a:pt x="3943" y="6"/>
                  </a:lnTo>
                  <a:lnTo>
                    <a:pt x="3982" y="19"/>
                  </a:lnTo>
                  <a:lnTo>
                    <a:pt x="4018" y="41"/>
                  </a:lnTo>
                  <a:lnTo>
                    <a:pt x="4046" y="71"/>
                  </a:lnTo>
                  <a:lnTo>
                    <a:pt x="4069" y="107"/>
                  </a:lnTo>
                  <a:lnTo>
                    <a:pt x="4084" y="147"/>
                  </a:lnTo>
                  <a:lnTo>
                    <a:pt x="4088" y="190"/>
                  </a:lnTo>
                  <a:lnTo>
                    <a:pt x="4088" y="2865"/>
                  </a:lnTo>
                  <a:lnTo>
                    <a:pt x="4084" y="2909"/>
                  </a:lnTo>
                  <a:lnTo>
                    <a:pt x="4069" y="2948"/>
                  </a:lnTo>
                  <a:lnTo>
                    <a:pt x="4046" y="2984"/>
                  </a:lnTo>
                  <a:lnTo>
                    <a:pt x="4018" y="3014"/>
                  </a:lnTo>
                  <a:lnTo>
                    <a:pt x="3982" y="3037"/>
                  </a:lnTo>
                  <a:lnTo>
                    <a:pt x="3943" y="3050"/>
                  </a:lnTo>
                  <a:lnTo>
                    <a:pt x="3898" y="3056"/>
                  </a:lnTo>
                  <a:lnTo>
                    <a:pt x="190" y="3056"/>
                  </a:lnTo>
                  <a:lnTo>
                    <a:pt x="147" y="3050"/>
                  </a:lnTo>
                  <a:lnTo>
                    <a:pt x="106" y="3037"/>
                  </a:lnTo>
                  <a:lnTo>
                    <a:pt x="72" y="3014"/>
                  </a:lnTo>
                  <a:lnTo>
                    <a:pt x="42" y="2984"/>
                  </a:lnTo>
                  <a:lnTo>
                    <a:pt x="19" y="2948"/>
                  </a:lnTo>
                  <a:lnTo>
                    <a:pt x="6" y="2909"/>
                  </a:lnTo>
                  <a:lnTo>
                    <a:pt x="0" y="2865"/>
                  </a:lnTo>
                  <a:lnTo>
                    <a:pt x="0" y="190"/>
                  </a:lnTo>
                  <a:lnTo>
                    <a:pt x="6" y="147"/>
                  </a:lnTo>
                  <a:lnTo>
                    <a:pt x="19" y="107"/>
                  </a:lnTo>
                  <a:lnTo>
                    <a:pt x="42" y="71"/>
                  </a:lnTo>
                  <a:lnTo>
                    <a:pt x="72" y="41"/>
                  </a:lnTo>
                  <a:lnTo>
                    <a:pt x="106" y="19"/>
                  </a:lnTo>
                  <a:lnTo>
                    <a:pt x="147" y="6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10">
              <a:extLst>
                <a:ext uri="{FF2B5EF4-FFF2-40B4-BE49-F238E27FC236}">
                  <a16:creationId xmlns:a16="http://schemas.microsoft.com/office/drawing/2014/main" id="{5DE72A63-F32C-4B90-9660-62DAF23EA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6" y="4505326"/>
              <a:ext cx="38100" cy="38100"/>
            </a:xfrm>
            <a:custGeom>
              <a:avLst/>
              <a:gdLst>
                <a:gd name="T0" fmla="*/ 24 w 49"/>
                <a:gd name="T1" fmla="*/ 0 h 49"/>
                <a:gd name="T2" fmla="*/ 32 w 49"/>
                <a:gd name="T3" fmla="*/ 0 h 49"/>
                <a:gd name="T4" fmla="*/ 39 w 49"/>
                <a:gd name="T5" fmla="*/ 3 h 49"/>
                <a:gd name="T6" fmla="*/ 43 w 49"/>
                <a:gd name="T7" fmla="*/ 9 h 49"/>
                <a:gd name="T8" fmla="*/ 47 w 49"/>
                <a:gd name="T9" fmla="*/ 17 h 49"/>
                <a:gd name="T10" fmla="*/ 49 w 49"/>
                <a:gd name="T11" fmla="*/ 24 h 49"/>
                <a:gd name="T12" fmla="*/ 47 w 49"/>
                <a:gd name="T13" fmla="*/ 32 h 49"/>
                <a:gd name="T14" fmla="*/ 43 w 49"/>
                <a:gd name="T15" fmla="*/ 37 h 49"/>
                <a:gd name="T16" fmla="*/ 39 w 49"/>
                <a:gd name="T17" fmla="*/ 43 h 49"/>
                <a:gd name="T18" fmla="*/ 32 w 49"/>
                <a:gd name="T19" fmla="*/ 47 h 49"/>
                <a:gd name="T20" fmla="*/ 24 w 49"/>
                <a:gd name="T21" fmla="*/ 49 h 49"/>
                <a:gd name="T22" fmla="*/ 17 w 49"/>
                <a:gd name="T23" fmla="*/ 47 h 49"/>
                <a:gd name="T24" fmla="*/ 9 w 49"/>
                <a:gd name="T25" fmla="*/ 43 h 49"/>
                <a:gd name="T26" fmla="*/ 4 w 49"/>
                <a:gd name="T27" fmla="*/ 37 h 49"/>
                <a:gd name="T28" fmla="*/ 0 w 49"/>
                <a:gd name="T29" fmla="*/ 32 h 49"/>
                <a:gd name="T30" fmla="*/ 0 w 49"/>
                <a:gd name="T31" fmla="*/ 24 h 49"/>
                <a:gd name="T32" fmla="*/ 0 w 49"/>
                <a:gd name="T33" fmla="*/ 17 h 49"/>
                <a:gd name="T34" fmla="*/ 4 w 49"/>
                <a:gd name="T35" fmla="*/ 9 h 49"/>
                <a:gd name="T36" fmla="*/ 9 w 49"/>
                <a:gd name="T37" fmla="*/ 3 h 49"/>
                <a:gd name="T38" fmla="*/ 17 w 49"/>
                <a:gd name="T39" fmla="*/ 0 h 49"/>
                <a:gd name="T40" fmla="*/ 24 w 49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lnTo>
                    <a:pt x="32" y="0"/>
                  </a:lnTo>
                  <a:lnTo>
                    <a:pt x="39" y="3"/>
                  </a:lnTo>
                  <a:lnTo>
                    <a:pt x="43" y="9"/>
                  </a:lnTo>
                  <a:lnTo>
                    <a:pt x="47" y="17"/>
                  </a:lnTo>
                  <a:lnTo>
                    <a:pt x="49" y="24"/>
                  </a:lnTo>
                  <a:lnTo>
                    <a:pt x="47" y="32"/>
                  </a:lnTo>
                  <a:lnTo>
                    <a:pt x="43" y="37"/>
                  </a:lnTo>
                  <a:lnTo>
                    <a:pt x="39" y="43"/>
                  </a:lnTo>
                  <a:lnTo>
                    <a:pt x="32" y="47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9" y="43"/>
                  </a:lnTo>
                  <a:lnTo>
                    <a:pt x="4" y="37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4" y="9"/>
                  </a:lnTo>
                  <a:lnTo>
                    <a:pt x="9" y="3"/>
                  </a:lnTo>
                  <a:lnTo>
                    <a:pt x="17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11">
              <a:extLst>
                <a:ext uri="{FF2B5EF4-FFF2-40B4-BE49-F238E27FC236}">
                  <a16:creationId xmlns:a16="http://schemas.microsoft.com/office/drawing/2014/main" id="{D0B91AEE-F75F-410E-9F67-16955DEC4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626" y="4505326"/>
              <a:ext cx="38100" cy="38100"/>
            </a:xfrm>
            <a:custGeom>
              <a:avLst/>
              <a:gdLst>
                <a:gd name="T0" fmla="*/ 24 w 49"/>
                <a:gd name="T1" fmla="*/ 0 h 49"/>
                <a:gd name="T2" fmla="*/ 32 w 49"/>
                <a:gd name="T3" fmla="*/ 0 h 49"/>
                <a:gd name="T4" fmla="*/ 38 w 49"/>
                <a:gd name="T5" fmla="*/ 3 h 49"/>
                <a:gd name="T6" fmla="*/ 43 w 49"/>
                <a:gd name="T7" fmla="*/ 9 h 49"/>
                <a:gd name="T8" fmla="*/ 47 w 49"/>
                <a:gd name="T9" fmla="*/ 17 h 49"/>
                <a:gd name="T10" fmla="*/ 49 w 49"/>
                <a:gd name="T11" fmla="*/ 24 h 49"/>
                <a:gd name="T12" fmla="*/ 47 w 49"/>
                <a:gd name="T13" fmla="*/ 32 h 49"/>
                <a:gd name="T14" fmla="*/ 43 w 49"/>
                <a:gd name="T15" fmla="*/ 37 h 49"/>
                <a:gd name="T16" fmla="*/ 38 w 49"/>
                <a:gd name="T17" fmla="*/ 43 h 49"/>
                <a:gd name="T18" fmla="*/ 32 w 49"/>
                <a:gd name="T19" fmla="*/ 47 h 49"/>
                <a:gd name="T20" fmla="*/ 24 w 49"/>
                <a:gd name="T21" fmla="*/ 49 h 49"/>
                <a:gd name="T22" fmla="*/ 17 w 49"/>
                <a:gd name="T23" fmla="*/ 47 h 49"/>
                <a:gd name="T24" fmla="*/ 9 w 49"/>
                <a:gd name="T25" fmla="*/ 43 h 49"/>
                <a:gd name="T26" fmla="*/ 4 w 49"/>
                <a:gd name="T27" fmla="*/ 37 h 49"/>
                <a:gd name="T28" fmla="*/ 0 w 49"/>
                <a:gd name="T29" fmla="*/ 32 h 49"/>
                <a:gd name="T30" fmla="*/ 0 w 49"/>
                <a:gd name="T31" fmla="*/ 24 h 49"/>
                <a:gd name="T32" fmla="*/ 0 w 49"/>
                <a:gd name="T33" fmla="*/ 17 h 49"/>
                <a:gd name="T34" fmla="*/ 4 w 49"/>
                <a:gd name="T35" fmla="*/ 9 h 49"/>
                <a:gd name="T36" fmla="*/ 9 w 49"/>
                <a:gd name="T37" fmla="*/ 3 h 49"/>
                <a:gd name="T38" fmla="*/ 17 w 49"/>
                <a:gd name="T39" fmla="*/ 0 h 49"/>
                <a:gd name="T40" fmla="*/ 24 w 49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49">
                  <a:moveTo>
                    <a:pt x="24" y="0"/>
                  </a:moveTo>
                  <a:lnTo>
                    <a:pt x="32" y="0"/>
                  </a:lnTo>
                  <a:lnTo>
                    <a:pt x="38" y="3"/>
                  </a:lnTo>
                  <a:lnTo>
                    <a:pt x="43" y="9"/>
                  </a:lnTo>
                  <a:lnTo>
                    <a:pt x="47" y="17"/>
                  </a:lnTo>
                  <a:lnTo>
                    <a:pt x="49" y="24"/>
                  </a:lnTo>
                  <a:lnTo>
                    <a:pt x="47" y="32"/>
                  </a:lnTo>
                  <a:lnTo>
                    <a:pt x="43" y="37"/>
                  </a:lnTo>
                  <a:lnTo>
                    <a:pt x="38" y="43"/>
                  </a:lnTo>
                  <a:lnTo>
                    <a:pt x="32" y="47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9" y="43"/>
                  </a:lnTo>
                  <a:lnTo>
                    <a:pt x="4" y="37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0" y="17"/>
                  </a:lnTo>
                  <a:lnTo>
                    <a:pt x="4" y="9"/>
                  </a:lnTo>
                  <a:lnTo>
                    <a:pt x="9" y="3"/>
                  </a:lnTo>
                  <a:lnTo>
                    <a:pt x="17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12">
              <a:extLst>
                <a:ext uri="{FF2B5EF4-FFF2-40B4-BE49-F238E27FC236}">
                  <a16:creationId xmlns:a16="http://schemas.microsoft.com/office/drawing/2014/main" id="{CF630B7A-265F-45BA-B637-7BAC4FB1B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4838" y="4505326"/>
              <a:ext cx="39688" cy="38100"/>
            </a:xfrm>
            <a:custGeom>
              <a:avLst/>
              <a:gdLst>
                <a:gd name="T0" fmla="*/ 25 w 51"/>
                <a:gd name="T1" fmla="*/ 0 h 49"/>
                <a:gd name="T2" fmla="*/ 34 w 51"/>
                <a:gd name="T3" fmla="*/ 0 h 49"/>
                <a:gd name="T4" fmla="*/ 40 w 51"/>
                <a:gd name="T5" fmla="*/ 3 h 49"/>
                <a:gd name="T6" fmla="*/ 45 w 51"/>
                <a:gd name="T7" fmla="*/ 9 h 49"/>
                <a:gd name="T8" fmla="*/ 49 w 51"/>
                <a:gd name="T9" fmla="*/ 17 h 49"/>
                <a:gd name="T10" fmla="*/ 51 w 51"/>
                <a:gd name="T11" fmla="*/ 24 h 49"/>
                <a:gd name="T12" fmla="*/ 49 w 51"/>
                <a:gd name="T13" fmla="*/ 32 h 49"/>
                <a:gd name="T14" fmla="*/ 45 w 51"/>
                <a:gd name="T15" fmla="*/ 37 h 49"/>
                <a:gd name="T16" fmla="*/ 40 w 51"/>
                <a:gd name="T17" fmla="*/ 43 h 49"/>
                <a:gd name="T18" fmla="*/ 34 w 51"/>
                <a:gd name="T19" fmla="*/ 47 h 49"/>
                <a:gd name="T20" fmla="*/ 25 w 51"/>
                <a:gd name="T21" fmla="*/ 49 h 49"/>
                <a:gd name="T22" fmla="*/ 17 w 51"/>
                <a:gd name="T23" fmla="*/ 47 h 49"/>
                <a:gd name="T24" fmla="*/ 11 w 51"/>
                <a:gd name="T25" fmla="*/ 43 h 49"/>
                <a:gd name="T26" fmla="*/ 6 w 51"/>
                <a:gd name="T27" fmla="*/ 37 h 49"/>
                <a:gd name="T28" fmla="*/ 2 w 51"/>
                <a:gd name="T29" fmla="*/ 32 h 49"/>
                <a:gd name="T30" fmla="*/ 0 w 51"/>
                <a:gd name="T31" fmla="*/ 24 h 49"/>
                <a:gd name="T32" fmla="*/ 2 w 51"/>
                <a:gd name="T33" fmla="*/ 17 h 49"/>
                <a:gd name="T34" fmla="*/ 6 w 51"/>
                <a:gd name="T35" fmla="*/ 9 h 49"/>
                <a:gd name="T36" fmla="*/ 11 w 51"/>
                <a:gd name="T37" fmla="*/ 3 h 49"/>
                <a:gd name="T38" fmla="*/ 17 w 51"/>
                <a:gd name="T39" fmla="*/ 0 h 49"/>
                <a:gd name="T40" fmla="*/ 25 w 51"/>
                <a:gd name="T4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9">
                  <a:moveTo>
                    <a:pt x="25" y="0"/>
                  </a:moveTo>
                  <a:lnTo>
                    <a:pt x="34" y="0"/>
                  </a:lnTo>
                  <a:lnTo>
                    <a:pt x="40" y="3"/>
                  </a:lnTo>
                  <a:lnTo>
                    <a:pt x="45" y="9"/>
                  </a:lnTo>
                  <a:lnTo>
                    <a:pt x="49" y="17"/>
                  </a:lnTo>
                  <a:lnTo>
                    <a:pt x="51" y="24"/>
                  </a:lnTo>
                  <a:lnTo>
                    <a:pt x="49" y="32"/>
                  </a:lnTo>
                  <a:lnTo>
                    <a:pt x="45" y="37"/>
                  </a:lnTo>
                  <a:lnTo>
                    <a:pt x="40" y="43"/>
                  </a:lnTo>
                  <a:lnTo>
                    <a:pt x="34" y="47"/>
                  </a:lnTo>
                  <a:lnTo>
                    <a:pt x="25" y="49"/>
                  </a:lnTo>
                  <a:lnTo>
                    <a:pt x="17" y="47"/>
                  </a:lnTo>
                  <a:lnTo>
                    <a:pt x="11" y="43"/>
                  </a:lnTo>
                  <a:lnTo>
                    <a:pt x="6" y="37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2" y="17"/>
                  </a:lnTo>
                  <a:lnTo>
                    <a:pt x="6" y="9"/>
                  </a:lnTo>
                  <a:lnTo>
                    <a:pt x="11" y="3"/>
                  </a:lnTo>
                  <a:lnTo>
                    <a:pt x="17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13">
              <a:extLst>
                <a:ext uri="{FF2B5EF4-FFF2-40B4-BE49-F238E27FC236}">
                  <a16:creationId xmlns:a16="http://schemas.microsoft.com/office/drawing/2014/main" id="{9CC0960C-B652-42E1-9650-397220586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4894263"/>
              <a:ext cx="3754438" cy="158750"/>
            </a:xfrm>
            <a:custGeom>
              <a:avLst/>
              <a:gdLst>
                <a:gd name="T0" fmla="*/ 100 w 4728"/>
                <a:gd name="T1" fmla="*/ 0 h 202"/>
                <a:gd name="T2" fmla="*/ 4627 w 4728"/>
                <a:gd name="T3" fmla="*/ 0 h 202"/>
                <a:gd name="T4" fmla="*/ 4659 w 4728"/>
                <a:gd name="T5" fmla="*/ 6 h 202"/>
                <a:gd name="T6" fmla="*/ 4687 w 4728"/>
                <a:gd name="T7" fmla="*/ 19 h 202"/>
                <a:gd name="T8" fmla="*/ 4707 w 4728"/>
                <a:gd name="T9" fmla="*/ 41 h 202"/>
                <a:gd name="T10" fmla="*/ 4722 w 4728"/>
                <a:gd name="T11" fmla="*/ 70 h 202"/>
                <a:gd name="T12" fmla="*/ 4728 w 4728"/>
                <a:gd name="T13" fmla="*/ 102 h 202"/>
                <a:gd name="T14" fmla="*/ 4722 w 4728"/>
                <a:gd name="T15" fmla="*/ 132 h 202"/>
                <a:gd name="T16" fmla="*/ 4707 w 4728"/>
                <a:gd name="T17" fmla="*/ 160 h 202"/>
                <a:gd name="T18" fmla="*/ 4687 w 4728"/>
                <a:gd name="T19" fmla="*/ 183 h 202"/>
                <a:gd name="T20" fmla="*/ 4659 w 4728"/>
                <a:gd name="T21" fmla="*/ 196 h 202"/>
                <a:gd name="T22" fmla="*/ 4627 w 4728"/>
                <a:gd name="T23" fmla="*/ 202 h 202"/>
                <a:gd name="T24" fmla="*/ 100 w 4728"/>
                <a:gd name="T25" fmla="*/ 202 h 202"/>
                <a:gd name="T26" fmla="*/ 68 w 4728"/>
                <a:gd name="T27" fmla="*/ 196 h 202"/>
                <a:gd name="T28" fmla="*/ 41 w 4728"/>
                <a:gd name="T29" fmla="*/ 183 h 202"/>
                <a:gd name="T30" fmla="*/ 19 w 4728"/>
                <a:gd name="T31" fmla="*/ 160 h 202"/>
                <a:gd name="T32" fmla="*/ 4 w 4728"/>
                <a:gd name="T33" fmla="*/ 132 h 202"/>
                <a:gd name="T34" fmla="*/ 0 w 4728"/>
                <a:gd name="T35" fmla="*/ 102 h 202"/>
                <a:gd name="T36" fmla="*/ 4 w 4728"/>
                <a:gd name="T37" fmla="*/ 70 h 202"/>
                <a:gd name="T38" fmla="*/ 19 w 4728"/>
                <a:gd name="T39" fmla="*/ 41 h 202"/>
                <a:gd name="T40" fmla="*/ 41 w 4728"/>
                <a:gd name="T41" fmla="*/ 19 h 202"/>
                <a:gd name="T42" fmla="*/ 68 w 4728"/>
                <a:gd name="T43" fmla="*/ 6 h 202"/>
                <a:gd name="T44" fmla="*/ 100 w 4728"/>
                <a:gd name="T45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28" h="202">
                  <a:moveTo>
                    <a:pt x="100" y="0"/>
                  </a:moveTo>
                  <a:lnTo>
                    <a:pt x="4627" y="0"/>
                  </a:lnTo>
                  <a:lnTo>
                    <a:pt x="4659" y="6"/>
                  </a:lnTo>
                  <a:lnTo>
                    <a:pt x="4687" y="19"/>
                  </a:lnTo>
                  <a:lnTo>
                    <a:pt x="4707" y="41"/>
                  </a:lnTo>
                  <a:lnTo>
                    <a:pt x="4722" y="70"/>
                  </a:lnTo>
                  <a:lnTo>
                    <a:pt x="4728" y="102"/>
                  </a:lnTo>
                  <a:lnTo>
                    <a:pt x="4722" y="132"/>
                  </a:lnTo>
                  <a:lnTo>
                    <a:pt x="4707" y="160"/>
                  </a:lnTo>
                  <a:lnTo>
                    <a:pt x="4687" y="183"/>
                  </a:lnTo>
                  <a:lnTo>
                    <a:pt x="4659" y="196"/>
                  </a:lnTo>
                  <a:lnTo>
                    <a:pt x="4627" y="202"/>
                  </a:lnTo>
                  <a:lnTo>
                    <a:pt x="100" y="202"/>
                  </a:lnTo>
                  <a:lnTo>
                    <a:pt x="68" y="196"/>
                  </a:lnTo>
                  <a:lnTo>
                    <a:pt x="41" y="183"/>
                  </a:lnTo>
                  <a:lnTo>
                    <a:pt x="19" y="160"/>
                  </a:lnTo>
                  <a:lnTo>
                    <a:pt x="4" y="132"/>
                  </a:lnTo>
                  <a:lnTo>
                    <a:pt x="0" y="102"/>
                  </a:lnTo>
                  <a:lnTo>
                    <a:pt x="4" y="70"/>
                  </a:lnTo>
                  <a:lnTo>
                    <a:pt x="19" y="41"/>
                  </a:lnTo>
                  <a:lnTo>
                    <a:pt x="41" y="19"/>
                  </a:lnTo>
                  <a:lnTo>
                    <a:pt x="68" y="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14">
              <a:extLst>
                <a:ext uri="{FF2B5EF4-FFF2-40B4-BE49-F238E27FC236}">
                  <a16:creationId xmlns:a16="http://schemas.microsoft.com/office/drawing/2014/main" id="{32CFA814-0F48-4102-B06F-70A3B67E4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4973638"/>
              <a:ext cx="3754438" cy="79375"/>
            </a:xfrm>
            <a:custGeom>
              <a:avLst/>
              <a:gdLst>
                <a:gd name="T0" fmla="*/ 0 w 4728"/>
                <a:gd name="T1" fmla="*/ 0 h 100"/>
                <a:gd name="T2" fmla="*/ 4728 w 4728"/>
                <a:gd name="T3" fmla="*/ 0 h 100"/>
                <a:gd name="T4" fmla="*/ 4722 w 4728"/>
                <a:gd name="T5" fmla="*/ 30 h 100"/>
                <a:gd name="T6" fmla="*/ 4707 w 4728"/>
                <a:gd name="T7" fmla="*/ 58 h 100"/>
                <a:gd name="T8" fmla="*/ 4687 w 4728"/>
                <a:gd name="T9" fmla="*/ 81 h 100"/>
                <a:gd name="T10" fmla="*/ 4659 w 4728"/>
                <a:gd name="T11" fmla="*/ 94 h 100"/>
                <a:gd name="T12" fmla="*/ 4627 w 4728"/>
                <a:gd name="T13" fmla="*/ 100 h 100"/>
                <a:gd name="T14" fmla="*/ 100 w 4728"/>
                <a:gd name="T15" fmla="*/ 100 h 100"/>
                <a:gd name="T16" fmla="*/ 68 w 4728"/>
                <a:gd name="T17" fmla="*/ 94 h 100"/>
                <a:gd name="T18" fmla="*/ 41 w 4728"/>
                <a:gd name="T19" fmla="*/ 81 h 100"/>
                <a:gd name="T20" fmla="*/ 19 w 4728"/>
                <a:gd name="T21" fmla="*/ 58 h 100"/>
                <a:gd name="T22" fmla="*/ 4 w 4728"/>
                <a:gd name="T23" fmla="*/ 30 h 100"/>
                <a:gd name="T24" fmla="*/ 0 w 4728"/>
                <a:gd name="T2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28" h="100">
                  <a:moveTo>
                    <a:pt x="0" y="0"/>
                  </a:moveTo>
                  <a:lnTo>
                    <a:pt x="4728" y="0"/>
                  </a:lnTo>
                  <a:lnTo>
                    <a:pt x="4722" y="30"/>
                  </a:lnTo>
                  <a:lnTo>
                    <a:pt x="4707" y="58"/>
                  </a:lnTo>
                  <a:lnTo>
                    <a:pt x="4687" y="81"/>
                  </a:lnTo>
                  <a:lnTo>
                    <a:pt x="4659" y="94"/>
                  </a:lnTo>
                  <a:lnTo>
                    <a:pt x="4627" y="100"/>
                  </a:lnTo>
                  <a:lnTo>
                    <a:pt x="100" y="100"/>
                  </a:lnTo>
                  <a:lnTo>
                    <a:pt x="68" y="94"/>
                  </a:lnTo>
                  <a:lnTo>
                    <a:pt x="41" y="81"/>
                  </a:lnTo>
                  <a:lnTo>
                    <a:pt x="19" y="58"/>
                  </a:lnTo>
                  <a:lnTo>
                    <a:pt x="4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C2E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Rectangle 15">
              <a:extLst>
                <a:ext uri="{FF2B5EF4-FFF2-40B4-BE49-F238E27FC236}">
                  <a16:creationId xmlns:a16="http://schemas.microsoft.com/office/drawing/2014/main" id="{0015491E-A2EE-4A42-AA09-64D84DA8B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5601" y="2320926"/>
              <a:ext cx="3044825" cy="2066925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16">
              <a:extLst>
                <a:ext uri="{FF2B5EF4-FFF2-40B4-BE49-F238E27FC236}">
                  <a16:creationId xmlns:a16="http://schemas.microsoft.com/office/drawing/2014/main" id="{D7F2476E-0202-4B08-9EA9-F4E5571EC3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0776" y="2516188"/>
              <a:ext cx="1458913" cy="1462088"/>
            </a:xfrm>
            <a:custGeom>
              <a:avLst/>
              <a:gdLst>
                <a:gd name="T0" fmla="*/ 844 w 1839"/>
                <a:gd name="T1" fmla="*/ 340 h 1843"/>
                <a:gd name="T2" fmla="*/ 701 w 1839"/>
                <a:gd name="T3" fmla="*/ 376 h 1843"/>
                <a:gd name="T4" fmla="*/ 573 w 1839"/>
                <a:gd name="T5" fmla="*/ 448 h 1843"/>
                <a:gd name="T6" fmla="*/ 466 w 1839"/>
                <a:gd name="T7" fmla="*/ 549 h 1843"/>
                <a:gd name="T8" fmla="*/ 385 w 1839"/>
                <a:gd name="T9" fmla="*/ 677 h 1843"/>
                <a:gd name="T10" fmla="*/ 342 w 1839"/>
                <a:gd name="T11" fmla="*/ 822 h 1843"/>
                <a:gd name="T12" fmla="*/ 335 w 1839"/>
                <a:gd name="T13" fmla="*/ 965 h 1843"/>
                <a:gd name="T14" fmla="*/ 361 w 1839"/>
                <a:gd name="T15" fmla="*/ 1103 h 1843"/>
                <a:gd name="T16" fmla="*/ 419 w 1839"/>
                <a:gd name="T17" fmla="*/ 1227 h 1843"/>
                <a:gd name="T18" fmla="*/ 506 w 1839"/>
                <a:gd name="T19" fmla="*/ 1336 h 1843"/>
                <a:gd name="T20" fmla="*/ 617 w 1839"/>
                <a:gd name="T21" fmla="*/ 1423 h 1843"/>
                <a:gd name="T22" fmla="*/ 748 w 1839"/>
                <a:gd name="T23" fmla="*/ 1483 h 1843"/>
                <a:gd name="T24" fmla="*/ 919 w 1839"/>
                <a:gd name="T25" fmla="*/ 1508 h 1843"/>
                <a:gd name="T26" fmla="*/ 1066 w 1839"/>
                <a:gd name="T27" fmla="*/ 1489 h 1843"/>
                <a:gd name="T28" fmla="*/ 1203 w 1839"/>
                <a:gd name="T29" fmla="*/ 1434 h 1843"/>
                <a:gd name="T30" fmla="*/ 1322 w 1839"/>
                <a:gd name="T31" fmla="*/ 1348 h 1843"/>
                <a:gd name="T32" fmla="*/ 1416 w 1839"/>
                <a:gd name="T33" fmla="*/ 1233 h 1843"/>
                <a:gd name="T34" fmla="*/ 1480 w 1839"/>
                <a:gd name="T35" fmla="*/ 1092 h 1843"/>
                <a:gd name="T36" fmla="*/ 1504 w 1839"/>
                <a:gd name="T37" fmla="*/ 949 h 1843"/>
                <a:gd name="T38" fmla="*/ 1495 w 1839"/>
                <a:gd name="T39" fmla="*/ 809 h 1843"/>
                <a:gd name="T40" fmla="*/ 1451 w 1839"/>
                <a:gd name="T41" fmla="*/ 676 h 1843"/>
                <a:gd name="T42" fmla="*/ 1380 w 1839"/>
                <a:gd name="T43" fmla="*/ 559 h 1843"/>
                <a:gd name="T44" fmla="*/ 1280 w 1839"/>
                <a:gd name="T45" fmla="*/ 459 h 1843"/>
                <a:gd name="T46" fmla="*/ 1158 w 1839"/>
                <a:gd name="T47" fmla="*/ 386 h 1843"/>
                <a:gd name="T48" fmla="*/ 1004 w 1839"/>
                <a:gd name="T49" fmla="*/ 340 h 1843"/>
                <a:gd name="T50" fmla="*/ 1047 w 1839"/>
                <a:gd name="T51" fmla="*/ 0 h 1843"/>
                <a:gd name="T52" fmla="*/ 1284 w 1839"/>
                <a:gd name="T53" fmla="*/ 216 h 1843"/>
                <a:gd name="T54" fmla="*/ 1423 w 1839"/>
                <a:gd name="T55" fmla="*/ 308 h 1843"/>
                <a:gd name="T56" fmla="*/ 1540 w 1839"/>
                <a:gd name="T57" fmla="*/ 425 h 1843"/>
                <a:gd name="T58" fmla="*/ 1797 w 1839"/>
                <a:gd name="T59" fmla="*/ 617 h 1843"/>
                <a:gd name="T60" fmla="*/ 1696 w 1839"/>
                <a:gd name="T61" fmla="*/ 760 h 1843"/>
                <a:gd name="T62" fmla="*/ 1713 w 1839"/>
                <a:gd name="T63" fmla="*/ 926 h 1843"/>
                <a:gd name="T64" fmla="*/ 1839 w 1839"/>
                <a:gd name="T65" fmla="*/ 1050 h 1843"/>
                <a:gd name="T66" fmla="*/ 1622 w 1839"/>
                <a:gd name="T67" fmla="*/ 1287 h 1843"/>
                <a:gd name="T68" fmla="*/ 1530 w 1839"/>
                <a:gd name="T69" fmla="*/ 1427 h 1843"/>
                <a:gd name="T70" fmla="*/ 1414 w 1839"/>
                <a:gd name="T71" fmla="*/ 1542 h 1843"/>
                <a:gd name="T72" fmla="*/ 1224 w 1839"/>
                <a:gd name="T73" fmla="*/ 1800 h 1843"/>
                <a:gd name="T74" fmla="*/ 1079 w 1839"/>
                <a:gd name="T75" fmla="*/ 1700 h 1843"/>
                <a:gd name="T76" fmla="*/ 919 w 1839"/>
                <a:gd name="T77" fmla="*/ 1717 h 1843"/>
                <a:gd name="T78" fmla="*/ 791 w 1839"/>
                <a:gd name="T79" fmla="*/ 1843 h 1843"/>
                <a:gd name="T80" fmla="*/ 553 w 1839"/>
                <a:gd name="T81" fmla="*/ 1626 h 1843"/>
                <a:gd name="T82" fmla="*/ 414 w 1839"/>
                <a:gd name="T83" fmla="*/ 1534 h 1843"/>
                <a:gd name="T84" fmla="*/ 299 w 1839"/>
                <a:gd name="T85" fmla="*/ 1417 h 1843"/>
                <a:gd name="T86" fmla="*/ 41 w 1839"/>
                <a:gd name="T87" fmla="*/ 1225 h 1843"/>
                <a:gd name="T88" fmla="*/ 141 w 1839"/>
                <a:gd name="T89" fmla="*/ 1082 h 1843"/>
                <a:gd name="T90" fmla="*/ 126 w 1839"/>
                <a:gd name="T91" fmla="*/ 917 h 1843"/>
                <a:gd name="T92" fmla="*/ 0 w 1839"/>
                <a:gd name="T93" fmla="*/ 794 h 1843"/>
                <a:gd name="T94" fmla="*/ 214 w 1839"/>
                <a:gd name="T95" fmla="*/ 555 h 1843"/>
                <a:gd name="T96" fmla="*/ 306 w 1839"/>
                <a:gd name="T97" fmla="*/ 416 h 1843"/>
                <a:gd name="T98" fmla="*/ 423 w 1839"/>
                <a:gd name="T99" fmla="*/ 301 h 1843"/>
                <a:gd name="T100" fmla="*/ 615 w 1839"/>
                <a:gd name="T101" fmla="*/ 43 h 1843"/>
                <a:gd name="T102" fmla="*/ 758 w 1839"/>
                <a:gd name="T103" fmla="*/ 145 h 1843"/>
                <a:gd name="T104" fmla="*/ 919 w 1839"/>
                <a:gd name="T105" fmla="*/ 128 h 1843"/>
                <a:gd name="T106" fmla="*/ 1047 w 1839"/>
                <a:gd name="T107" fmla="*/ 0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39" h="1843">
                  <a:moveTo>
                    <a:pt x="919" y="335"/>
                  </a:moveTo>
                  <a:lnTo>
                    <a:pt x="844" y="340"/>
                  </a:lnTo>
                  <a:lnTo>
                    <a:pt x="771" y="354"/>
                  </a:lnTo>
                  <a:lnTo>
                    <a:pt x="701" y="376"/>
                  </a:lnTo>
                  <a:lnTo>
                    <a:pt x="635" y="408"/>
                  </a:lnTo>
                  <a:lnTo>
                    <a:pt x="573" y="448"/>
                  </a:lnTo>
                  <a:lnTo>
                    <a:pt x="517" y="495"/>
                  </a:lnTo>
                  <a:lnTo>
                    <a:pt x="466" y="549"/>
                  </a:lnTo>
                  <a:lnTo>
                    <a:pt x="423" y="610"/>
                  </a:lnTo>
                  <a:lnTo>
                    <a:pt x="385" y="677"/>
                  </a:lnTo>
                  <a:lnTo>
                    <a:pt x="359" y="751"/>
                  </a:lnTo>
                  <a:lnTo>
                    <a:pt x="342" y="822"/>
                  </a:lnTo>
                  <a:lnTo>
                    <a:pt x="333" y="894"/>
                  </a:lnTo>
                  <a:lnTo>
                    <a:pt x="335" y="965"/>
                  </a:lnTo>
                  <a:lnTo>
                    <a:pt x="344" y="1035"/>
                  </a:lnTo>
                  <a:lnTo>
                    <a:pt x="361" y="1103"/>
                  </a:lnTo>
                  <a:lnTo>
                    <a:pt x="387" y="1167"/>
                  </a:lnTo>
                  <a:lnTo>
                    <a:pt x="419" y="1227"/>
                  </a:lnTo>
                  <a:lnTo>
                    <a:pt x="459" y="1286"/>
                  </a:lnTo>
                  <a:lnTo>
                    <a:pt x="506" y="1336"/>
                  </a:lnTo>
                  <a:lnTo>
                    <a:pt x="558" y="1383"/>
                  </a:lnTo>
                  <a:lnTo>
                    <a:pt x="617" y="1423"/>
                  </a:lnTo>
                  <a:lnTo>
                    <a:pt x="681" y="1457"/>
                  </a:lnTo>
                  <a:lnTo>
                    <a:pt x="748" y="1483"/>
                  </a:lnTo>
                  <a:lnTo>
                    <a:pt x="835" y="1502"/>
                  </a:lnTo>
                  <a:lnTo>
                    <a:pt x="919" y="1508"/>
                  </a:lnTo>
                  <a:lnTo>
                    <a:pt x="995" y="1504"/>
                  </a:lnTo>
                  <a:lnTo>
                    <a:pt x="1066" y="1489"/>
                  </a:lnTo>
                  <a:lnTo>
                    <a:pt x="1136" y="1466"/>
                  </a:lnTo>
                  <a:lnTo>
                    <a:pt x="1203" y="1434"/>
                  </a:lnTo>
                  <a:lnTo>
                    <a:pt x="1265" y="1395"/>
                  </a:lnTo>
                  <a:lnTo>
                    <a:pt x="1322" y="1348"/>
                  </a:lnTo>
                  <a:lnTo>
                    <a:pt x="1372" y="1293"/>
                  </a:lnTo>
                  <a:lnTo>
                    <a:pt x="1416" y="1233"/>
                  </a:lnTo>
                  <a:lnTo>
                    <a:pt x="1451" y="1165"/>
                  </a:lnTo>
                  <a:lnTo>
                    <a:pt x="1480" y="1092"/>
                  </a:lnTo>
                  <a:lnTo>
                    <a:pt x="1496" y="1020"/>
                  </a:lnTo>
                  <a:lnTo>
                    <a:pt x="1504" y="949"/>
                  </a:lnTo>
                  <a:lnTo>
                    <a:pt x="1504" y="877"/>
                  </a:lnTo>
                  <a:lnTo>
                    <a:pt x="1495" y="809"/>
                  </a:lnTo>
                  <a:lnTo>
                    <a:pt x="1476" y="741"/>
                  </a:lnTo>
                  <a:lnTo>
                    <a:pt x="1451" y="676"/>
                  </a:lnTo>
                  <a:lnTo>
                    <a:pt x="1419" y="615"/>
                  </a:lnTo>
                  <a:lnTo>
                    <a:pt x="1380" y="559"/>
                  </a:lnTo>
                  <a:lnTo>
                    <a:pt x="1333" y="506"/>
                  </a:lnTo>
                  <a:lnTo>
                    <a:pt x="1280" y="459"/>
                  </a:lnTo>
                  <a:lnTo>
                    <a:pt x="1222" y="420"/>
                  </a:lnTo>
                  <a:lnTo>
                    <a:pt x="1158" y="386"/>
                  </a:lnTo>
                  <a:lnTo>
                    <a:pt x="1089" y="361"/>
                  </a:lnTo>
                  <a:lnTo>
                    <a:pt x="1004" y="340"/>
                  </a:lnTo>
                  <a:lnTo>
                    <a:pt x="919" y="335"/>
                  </a:lnTo>
                  <a:close/>
                  <a:moveTo>
                    <a:pt x="1047" y="0"/>
                  </a:moveTo>
                  <a:lnTo>
                    <a:pt x="1324" y="84"/>
                  </a:lnTo>
                  <a:lnTo>
                    <a:pt x="1284" y="216"/>
                  </a:lnTo>
                  <a:lnTo>
                    <a:pt x="1357" y="259"/>
                  </a:lnTo>
                  <a:lnTo>
                    <a:pt x="1423" y="308"/>
                  </a:lnTo>
                  <a:lnTo>
                    <a:pt x="1485" y="365"/>
                  </a:lnTo>
                  <a:lnTo>
                    <a:pt x="1540" y="425"/>
                  </a:lnTo>
                  <a:lnTo>
                    <a:pt x="1660" y="361"/>
                  </a:lnTo>
                  <a:lnTo>
                    <a:pt x="1797" y="617"/>
                  </a:lnTo>
                  <a:lnTo>
                    <a:pt x="1675" y="681"/>
                  </a:lnTo>
                  <a:lnTo>
                    <a:pt x="1696" y="760"/>
                  </a:lnTo>
                  <a:lnTo>
                    <a:pt x="1709" y="843"/>
                  </a:lnTo>
                  <a:lnTo>
                    <a:pt x="1713" y="926"/>
                  </a:lnTo>
                  <a:lnTo>
                    <a:pt x="1707" y="1011"/>
                  </a:lnTo>
                  <a:lnTo>
                    <a:pt x="1839" y="1050"/>
                  </a:lnTo>
                  <a:lnTo>
                    <a:pt x="1754" y="1327"/>
                  </a:lnTo>
                  <a:lnTo>
                    <a:pt x="1622" y="1287"/>
                  </a:lnTo>
                  <a:lnTo>
                    <a:pt x="1581" y="1361"/>
                  </a:lnTo>
                  <a:lnTo>
                    <a:pt x="1530" y="1427"/>
                  </a:lnTo>
                  <a:lnTo>
                    <a:pt x="1476" y="1489"/>
                  </a:lnTo>
                  <a:lnTo>
                    <a:pt x="1414" y="1542"/>
                  </a:lnTo>
                  <a:lnTo>
                    <a:pt x="1480" y="1664"/>
                  </a:lnTo>
                  <a:lnTo>
                    <a:pt x="1224" y="1800"/>
                  </a:lnTo>
                  <a:lnTo>
                    <a:pt x="1158" y="1679"/>
                  </a:lnTo>
                  <a:lnTo>
                    <a:pt x="1079" y="1700"/>
                  </a:lnTo>
                  <a:lnTo>
                    <a:pt x="1000" y="1713"/>
                  </a:lnTo>
                  <a:lnTo>
                    <a:pt x="919" y="1717"/>
                  </a:lnTo>
                  <a:lnTo>
                    <a:pt x="831" y="1711"/>
                  </a:lnTo>
                  <a:lnTo>
                    <a:pt x="791" y="1843"/>
                  </a:lnTo>
                  <a:lnTo>
                    <a:pt x="513" y="1758"/>
                  </a:lnTo>
                  <a:lnTo>
                    <a:pt x="553" y="1626"/>
                  </a:lnTo>
                  <a:lnTo>
                    <a:pt x="481" y="1585"/>
                  </a:lnTo>
                  <a:lnTo>
                    <a:pt x="414" y="1534"/>
                  </a:lnTo>
                  <a:lnTo>
                    <a:pt x="353" y="1479"/>
                  </a:lnTo>
                  <a:lnTo>
                    <a:pt x="299" y="1417"/>
                  </a:lnTo>
                  <a:lnTo>
                    <a:pt x="179" y="1481"/>
                  </a:lnTo>
                  <a:lnTo>
                    <a:pt x="41" y="1225"/>
                  </a:lnTo>
                  <a:lnTo>
                    <a:pt x="164" y="1161"/>
                  </a:lnTo>
                  <a:lnTo>
                    <a:pt x="141" y="1082"/>
                  </a:lnTo>
                  <a:lnTo>
                    <a:pt x="130" y="1001"/>
                  </a:lnTo>
                  <a:lnTo>
                    <a:pt x="126" y="917"/>
                  </a:lnTo>
                  <a:lnTo>
                    <a:pt x="130" y="834"/>
                  </a:lnTo>
                  <a:lnTo>
                    <a:pt x="0" y="794"/>
                  </a:lnTo>
                  <a:lnTo>
                    <a:pt x="83" y="516"/>
                  </a:lnTo>
                  <a:lnTo>
                    <a:pt x="214" y="555"/>
                  </a:lnTo>
                  <a:lnTo>
                    <a:pt x="258" y="484"/>
                  </a:lnTo>
                  <a:lnTo>
                    <a:pt x="306" y="416"/>
                  </a:lnTo>
                  <a:lnTo>
                    <a:pt x="363" y="355"/>
                  </a:lnTo>
                  <a:lnTo>
                    <a:pt x="423" y="301"/>
                  </a:lnTo>
                  <a:lnTo>
                    <a:pt x="359" y="180"/>
                  </a:lnTo>
                  <a:lnTo>
                    <a:pt x="615" y="43"/>
                  </a:lnTo>
                  <a:lnTo>
                    <a:pt x="679" y="163"/>
                  </a:lnTo>
                  <a:lnTo>
                    <a:pt x="758" y="145"/>
                  </a:lnTo>
                  <a:lnTo>
                    <a:pt x="837" y="131"/>
                  </a:lnTo>
                  <a:lnTo>
                    <a:pt x="919" y="128"/>
                  </a:lnTo>
                  <a:lnTo>
                    <a:pt x="1008" y="131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rgbClr val="019AD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17">
              <a:extLst>
                <a:ext uri="{FF2B5EF4-FFF2-40B4-BE49-F238E27FC236}">
                  <a16:creationId xmlns:a16="http://schemas.microsoft.com/office/drawing/2014/main" id="{3AA78EDA-CD8A-4F02-9CC1-663E5E517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826" y="1566863"/>
              <a:ext cx="2724150" cy="2174875"/>
            </a:xfrm>
            <a:custGeom>
              <a:avLst/>
              <a:gdLst>
                <a:gd name="T0" fmla="*/ 675 w 3433"/>
                <a:gd name="T1" fmla="*/ 2 h 2739"/>
                <a:gd name="T2" fmla="*/ 831 w 3433"/>
                <a:gd name="T3" fmla="*/ 34 h 2739"/>
                <a:gd name="T4" fmla="*/ 978 w 3433"/>
                <a:gd name="T5" fmla="*/ 109 h 2739"/>
                <a:gd name="T6" fmla="*/ 1088 w 3433"/>
                <a:gd name="T7" fmla="*/ 205 h 2739"/>
                <a:gd name="T8" fmla="*/ 1173 w 3433"/>
                <a:gd name="T9" fmla="*/ 322 h 2739"/>
                <a:gd name="T10" fmla="*/ 1226 w 3433"/>
                <a:gd name="T11" fmla="*/ 454 h 2739"/>
                <a:gd name="T12" fmla="*/ 1250 w 3433"/>
                <a:gd name="T13" fmla="*/ 591 h 2739"/>
                <a:gd name="T14" fmla="*/ 1241 w 3433"/>
                <a:gd name="T15" fmla="*/ 733 h 2739"/>
                <a:gd name="T16" fmla="*/ 2551 w 3433"/>
                <a:gd name="T17" fmla="*/ 1542 h 2739"/>
                <a:gd name="T18" fmla="*/ 2702 w 3433"/>
                <a:gd name="T19" fmla="*/ 1497 h 2739"/>
                <a:gd name="T20" fmla="*/ 2858 w 3433"/>
                <a:gd name="T21" fmla="*/ 1489 h 2739"/>
                <a:gd name="T22" fmla="*/ 3012 w 3433"/>
                <a:gd name="T23" fmla="*/ 1521 h 2739"/>
                <a:gd name="T24" fmla="*/ 3158 w 3433"/>
                <a:gd name="T25" fmla="*/ 1595 h 2739"/>
                <a:gd name="T26" fmla="*/ 3269 w 3433"/>
                <a:gd name="T27" fmla="*/ 1691 h 2739"/>
                <a:gd name="T28" fmla="*/ 3354 w 3433"/>
                <a:gd name="T29" fmla="*/ 1808 h 2739"/>
                <a:gd name="T30" fmla="*/ 3407 w 3433"/>
                <a:gd name="T31" fmla="*/ 1936 h 2739"/>
                <a:gd name="T32" fmla="*/ 3431 w 3433"/>
                <a:gd name="T33" fmla="*/ 2073 h 2739"/>
                <a:gd name="T34" fmla="*/ 3140 w 3433"/>
                <a:gd name="T35" fmla="*/ 1945 h 2739"/>
                <a:gd name="T36" fmla="*/ 2814 w 3433"/>
                <a:gd name="T37" fmla="*/ 1921 h 2739"/>
                <a:gd name="T38" fmla="*/ 2645 w 3433"/>
                <a:gd name="T39" fmla="*/ 2003 h 2739"/>
                <a:gd name="T40" fmla="*/ 2617 w 3433"/>
                <a:gd name="T41" fmla="*/ 2378 h 2739"/>
                <a:gd name="T42" fmla="*/ 3064 w 3433"/>
                <a:gd name="T43" fmla="*/ 2683 h 2739"/>
                <a:gd name="T44" fmla="*/ 2916 w 3433"/>
                <a:gd name="T45" fmla="*/ 2730 h 2739"/>
                <a:gd name="T46" fmla="*/ 2758 w 3433"/>
                <a:gd name="T47" fmla="*/ 2738 h 2739"/>
                <a:gd name="T48" fmla="*/ 2602 w 3433"/>
                <a:gd name="T49" fmla="*/ 2706 h 2739"/>
                <a:gd name="T50" fmla="*/ 2455 w 3433"/>
                <a:gd name="T51" fmla="*/ 2630 h 2739"/>
                <a:gd name="T52" fmla="*/ 2344 w 3433"/>
                <a:gd name="T53" fmla="*/ 2534 h 2739"/>
                <a:gd name="T54" fmla="*/ 2260 w 3433"/>
                <a:gd name="T55" fmla="*/ 2418 h 2739"/>
                <a:gd name="T56" fmla="*/ 2207 w 3433"/>
                <a:gd name="T57" fmla="*/ 2286 h 2739"/>
                <a:gd name="T58" fmla="*/ 2183 w 3433"/>
                <a:gd name="T59" fmla="*/ 2148 h 2739"/>
                <a:gd name="T60" fmla="*/ 2192 w 3433"/>
                <a:gd name="T61" fmla="*/ 2005 h 2739"/>
                <a:gd name="T62" fmla="*/ 882 w 3433"/>
                <a:gd name="T63" fmla="*/ 1198 h 2739"/>
                <a:gd name="T64" fmla="*/ 731 w 3433"/>
                <a:gd name="T65" fmla="*/ 1243 h 2739"/>
                <a:gd name="T66" fmla="*/ 575 w 3433"/>
                <a:gd name="T67" fmla="*/ 1250 h 2739"/>
                <a:gd name="T68" fmla="*/ 419 w 3433"/>
                <a:gd name="T69" fmla="*/ 1218 h 2739"/>
                <a:gd name="T70" fmla="*/ 273 w 3433"/>
                <a:gd name="T71" fmla="*/ 1145 h 2739"/>
                <a:gd name="T72" fmla="*/ 162 w 3433"/>
                <a:gd name="T73" fmla="*/ 1047 h 2739"/>
                <a:gd name="T74" fmla="*/ 79 w 3433"/>
                <a:gd name="T75" fmla="*/ 932 h 2739"/>
                <a:gd name="T76" fmla="*/ 26 w 3433"/>
                <a:gd name="T77" fmla="*/ 802 h 2739"/>
                <a:gd name="T78" fmla="*/ 2 w 3433"/>
                <a:gd name="T79" fmla="*/ 665 h 2739"/>
                <a:gd name="T80" fmla="*/ 293 w 3433"/>
                <a:gd name="T81" fmla="*/ 795 h 2739"/>
                <a:gd name="T82" fmla="*/ 618 w 3433"/>
                <a:gd name="T83" fmla="*/ 819 h 2739"/>
                <a:gd name="T84" fmla="*/ 801 w 3433"/>
                <a:gd name="T85" fmla="*/ 548 h 2739"/>
                <a:gd name="T86" fmla="*/ 660 w 3433"/>
                <a:gd name="T87" fmla="*/ 254 h 2739"/>
                <a:gd name="T88" fmla="*/ 442 w 3433"/>
                <a:gd name="T89" fmla="*/ 28 h 2739"/>
                <a:gd name="T90" fmla="*/ 596 w 3433"/>
                <a:gd name="T91" fmla="*/ 0 h 2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33" h="2739">
                  <a:moveTo>
                    <a:pt x="596" y="0"/>
                  </a:moveTo>
                  <a:lnTo>
                    <a:pt x="675" y="2"/>
                  </a:lnTo>
                  <a:lnTo>
                    <a:pt x="752" y="13"/>
                  </a:lnTo>
                  <a:lnTo>
                    <a:pt x="831" y="34"/>
                  </a:lnTo>
                  <a:lnTo>
                    <a:pt x="906" y="66"/>
                  </a:lnTo>
                  <a:lnTo>
                    <a:pt x="978" y="109"/>
                  </a:lnTo>
                  <a:lnTo>
                    <a:pt x="1036" y="155"/>
                  </a:lnTo>
                  <a:lnTo>
                    <a:pt x="1088" y="205"/>
                  </a:lnTo>
                  <a:lnTo>
                    <a:pt x="1134" y="262"/>
                  </a:lnTo>
                  <a:lnTo>
                    <a:pt x="1173" y="322"/>
                  </a:lnTo>
                  <a:lnTo>
                    <a:pt x="1203" y="386"/>
                  </a:lnTo>
                  <a:lnTo>
                    <a:pt x="1226" y="454"/>
                  </a:lnTo>
                  <a:lnTo>
                    <a:pt x="1243" y="522"/>
                  </a:lnTo>
                  <a:lnTo>
                    <a:pt x="1250" y="591"/>
                  </a:lnTo>
                  <a:lnTo>
                    <a:pt x="1250" y="663"/>
                  </a:lnTo>
                  <a:lnTo>
                    <a:pt x="1241" y="733"/>
                  </a:lnTo>
                  <a:lnTo>
                    <a:pt x="2482" y="1578"/>
                  </a:lnTo>
                  <a:lnTo>
                    <a:pt x="2551" y="1542"/>
                  </a:lnTo>
                  <a:lnTo>
                    <a:pt x="2624" y="1514"/>
                  </a:lnTo>
                  <a:lnTo>
                    <a:pt x="2702" y="1497"/>
                  </a:lnTo>
                  <a:lnTo>
                    <a:pt x="2779" y="1487"/>
                  </a:lnTo>
                  <a:lnTo>
                    <a:pt x="2858" y="1489"/>
                  </a:lnTo>
                  <a:lnTo>
                    <a:pt x="2937" y="1501"/>
                  </a:lnTo>
                  <a:lnTo>
                    <a:pt x="3012" y="1521"/>
                  </a:lnTo>
                  <a:lnTo>
                    <a:pt x="3087" y="1553"/>
                  </a:lnTo>
                  <a:lnTo>
                    <a:pt x="3158" y="1595"/>
                  </a:lnTo>
                  <a:lnTo>
                    <a:pt x="3219" y="1640"/>
                  </a:lnTo>
                  <a:lnTo>
                    <a:pt x="3269" y="1691"/>
                  </a:lnTo>
                  <a:lnTo>
                    <a:pt x="3314" y="1747"/>
                  </a:lnTo>
                  <a:lnTo>
                    <a:pt x="3354" y="1808"/>
                  </a:lnTo>
                  <a:lnTo>
                    <a:pt x="3384" y="1870"/>
                  </a:lnTo>
                  <a:lnTo>
                    <a:pt x="3407" y="1936"/>
                  </a:lnTo>
                  <a:lnTo>
                    <a:pt x="3423" y="2005"/>
                  </a:lnTo>
                  <a:lnTo>
                    <a:pt x="3431" y="2073"/>
                  </a:lnTo>
                  <a:lnTo>
                    <a:pt x="3433" y="2145"/>
                  </a:lnTo>
                  <a:lnTo>
                    <a:pt x="3140" y="1945"/>
                  </a:lnTo>
                  <a:lnTo>
                    <a:pt x="2984" y="1840"/>
                  </a:lnTo>
                  <a:lnTo>
                    <a:pt x="2814" y="1921"/>
                  </a:lnTo>
                  <a:lnTo>
                    <a:pt x="2645" y="2003"/>
                  </a:lnTo>
                  <a:lnTo>
                    <a:pt x="2645" y="2003"/>
                  </a:lnTo>
                  <a:lnTo>
                    <a:pt x="2632" y="2190"/>
                  </a:lnTo>
                  <a:lnTo>
                    <a:pt x="2617" y="2378"/>
                  </a:lnTo>
                  <a:lnTo>
                    <a:pt x="2773" y="2485"/>
                  </a:lnTo>
                  <a:lnTo>
                    <a:pt x="3064" y="2683"/>
                  </a:lnTo>
                  <a:lnTo>
                    <a:pt x="2991" y="2711"/>
                  </a:lnTo>
                  <a:lnTo>
                    <a:pt x="2916" y="2730"/>
                  </a:lnTo>
                  <a:lnTo>
                    <a:pt x="2837" y="2739"/>
                  </a:lnTo>
                  <a:lnTo>
                    <a:pt x="2758" y="2738"/>
                  </a:lnTo>
                  <a:lnTo>
                    <a:pt x="2681" y="2726"/>
                  </a:lnTo>
                  <a:lnTo>
                    <a:pt x="2602" y="2706"/>
                  </a:lnTo>
                  <a:lnTo>
                    <a:pt x="2527" y="2674"/>
                  </a:lnTo>
                  <a:lnTo>
                    <a:pt x="2455" y="2630"/>
                  </a:lnTo>
                  <a:lnTo>
                    <a:pt x="2397" y="2585"/>
                  </a:lnTo>
                  <a:lnTo>
                    <a:pt x="2344" y="2534"/>
                  </a:lnTo>
                  <a:lnTo>
                    <a:pt x="2299" y="2478"/>
                  </a:lnTo>
                  <a:lnTo>
                    <a:pt x="2260" y="2418"/>
                  </a:lnTo>
                  <a:lnTo>
                    <a:pt x="2230" y="2354"/>
                  </a:lnTo>
                  <a:lnTo>
                    <a:pt x="2207" y="2286"/>
                  </a:lnTo>
                  <a:lnTo>
                    <a:pt x="2190" y="2218"/>
                  </a:lnTo>
                  <a:lnTo>
                    <a:pt x="2183" y="2148"/>
                  </a:lnTo>
                  <a:lnTo>
                    <a:pt x="2183" y="2077"/>
                  </a:lnTo>
                  <a:lnTo>
                    <a:pt x="2192" y="2005"/>
                  </a:lnTo>
                  <a:lnTo>
                    <a:pt x="951" y="1162"/>
                  </a:lnTo>
                  <a:lnTo>
                    <a:pt x="882" y="1198"/>
                  </a:lnTo>
                  <a:lnTo>
                    <a:pt x="808" y="1226"/>
                  </a:lnTo>
                  <a:lnTo>
                    <a:pt x="731" y="1243"/>
                  </a:lnTo>
                  <a:lnTo>
                    <a:pt x="654" y="1252"/>
                  </a:lnTo>
                  <a:lnTo>
                    <a:pt x="575" y="1250"/>
                  </a:lnTo>
                  <a:lnTo>
                    <a:pt x="496" y="1239"/>
                  </a:lnTo>
                  <a:lnTo>
                    <a:pt x="419" y="1218"/>
                  </a:lnTo>
                  <a:lnTo>
                    <a:pt x="346" y="1186"/>
                  </a:lnTo>
                  <a:lnTo>
                    <a:pt x="273" y="1145"/>
                  </a:lnTo>
                  <a:lnTo>
                    <a:pt x="214" y="1098"/>
                  </a:lnTo>
                  <a:lnTo>
                    <a:pt x="162" y="1047"/>
                  </a:lnTo>
                  <a:lnTo>
                    <a:pt x="118" y="992"/>
                  </a:lnTo>
                  <a:lnTo>
                    <a:pt x="79" y="932"/>
                  </a:lnTo>
                  <a:lnTo>
                    <a:pt x="49" y="870"/>
                  </a:lnTo>
                  <a:lnTo>
                    <a:pt x="26" y="802"/>
                  </a:lnTo>
                  <a:lnTo>
                    <a:pt x="9" y="734"/>
                  </a:lnTo>
                  <a:lnTo>
                    <a:pt x="2" y="665"/>
                  </a:lnTo>
                  <a:lnTo>
                    <a:pt x="0" y="595"/>
                  </a:lnTo>
                  <a:lnTo>
                    <a:pt x="293" y="795"/>
                  </a:lnTo>
                  <a:lnTo>
                    <a:pt x="449" y="900"/>
                  </a:lnTo>
                  <a:lnTo>
                    <a:pt x="618" y="819"/>
                  </a:lnTo>
                  <a:lnTo>
                    <a:pt x="788" y="736"/>
                  </a:lnTo>
                  <a:lnTo>
                    <a:pt x="801" y="548"/>
                  </a:lnTo>
                  <a:lnTo>
                    <a:pt x="816" y="362"/>
                  </a:lnTo>
                  <a:lnTo>
                    <a:pt x="660" y="254"/>
                  </a:lnTo>
                  <a:lnTo>
                    <a:pt x="367" y="55"/>
                  </a:lnTo>
                  <a:lnTo>
                    <a:pt x="442" y="28"/>
                  </a:lnTo>
                  <a:lnTo>
                    <a:pt x="517" y="10"/>
                  </a:lnTo>
                  <a:lnTo>
                    <a:pt x="596" y="0"/>
                  </a:lnTo>
                  <a:close/>
                </a:path>
              </a:pathLst>
            </a:custGeom>
            <a:solidFill>
              <a:srgbClr val="59595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18">
              <a:extLst>
                <a:ext uri="{FF2B5EF4-FFF2-40B4-BE49-F238E27FC236}">
                  <a16:creationId xmlns:a16="http://schemas.microsoft.com/office/drawing/2014/main" id="{D2FDF72A-3790-414B-9986-9A4EC9B55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3" y="3159126"/>
              <a:ext cx="1077913" cy="1228725"/>
            </a:xfrm>
            <a:custGeom>
              <a:avLst/>
              <a:gdLst>
                <a:gd name="T0" fmla="*/ 920 w 1358"/>
                <a:gd name="T1" fmla="*/ 0 h 1550"/>
                <a:gd name="T2" fmla="*/ 993 w 1358"/>
                <a:gd name="T3" fmla="*/ 172 h 1550"/>
                <a:gd name="T4" fmla="*/ 1083 w 1358"/>
                <a:gd name="T5" fmla="*/ 155 h 1550"/>
                <a:gd name="T6" fmla="*/ 1173 w 1358"/>
                <a:gd name="T7" fmla="*/ 145 h 1550"/>
                <a:gd name="T8" fmla="*/ 1266 w 1358"/>
                <a:gd name="T9" fmla="*/ 145 h 1550"/>
                <a:gd name="T10" fmla="*/ 1358 w 1358"/>
                <a:gd name="T11" fmla="*/ 153 h 1550"/>
                <a:gd name="T12" fmla="*/ 1358 w 1358"/>
                <a:gd name="T13" fmla="*/ 437 h 1550"/>
                <a:gd name="T14" fmla="*/ 1275 w 1358"/>
                <a:gd name="T15" fmla="*/ 428 h 1550"/>
                <a:gd name="T16" fmla="*/ 1192 w 1358"/>
                <a:gd name="T17" fmla="*/ 428 h 1550"/>
                <a:gd name="T18" fmla="*/ 1111 w 1358"/>
                <a:gd name="T19" fmla="*/ 435 h 1550"/>
                <a:gd name="T20" fmla="*/ 1031 w 1358"/>
                <a:gd name="T21" fmla="*/ 452 h 1550"/>
                <a:gd name="T22" fmla="*/ 953 w 1358"/>
                <a:gd name="T23" fmla="*/ 477 h 1550"/>
                <a:gd name="T24" fmla="*/ 878 w 1358"/>
                <a:gd name="T25" fmla="*/ 509 h 1550"/>
                <a:gd name="T26" fmla="*/ 809 w 1358"/>
                <a:gd name="T27" fmla="*/ 548 h 1550"/>
                <a:gd name="T28" fmla="*/ 741 w 1358"/>
                <a:gd name="T29" fmla="*/ 595 h 1550"/>
                <a:gd name="T30" fmla="*/ 679 w 1358"/>
                <a:gd name="T31" fmla="*/ 650 h 1550"/>
                <a:gd name="T32" fmla="*/ 623 w 1358"/>
                <a:gd name="T33" fmla="*/ 710 h 1550"/>
                <a:gd name="T34" fmla="*/ 572 w 1358"/>
                <a:gd name="T35" fmla="*/ 776 h 1550"/>
                <a:gd name="T36" fmla="*/ 529 w 1358"/>
                <a:gd name="T37" fmla="*/ 849 h 1550"/>
                <a:gd name="T38" fmla="*/ 491 w 1358"/>
                <a:gd name="T39" fmla="*/ 928 h 1550"/>
                <a:gd name="T40" fmla="*/ 463 w 1358"/>
                <a:gd name="T41" fmla="*/ 1019 h 1550"/>
                <a:gd name="T42" fmla="*/ 444 w 1358"/>
                <a:gd name="T43" fmla="*/ 1109 h 1550"/>
                <a:gd name="T44" fmla="*/ 435 w 1358"/>
                <a:gd name="T45" fmla="*/ 1200 h 1550"/>
                <a:gd name="T46" fmla="*/ 438 w 1358"/>
                <a:gd name="T47" fmla="*/ 1290 h 1550"/>
                <a:gd name="T48" fmla="*/ 451 w 1358"/>
                <a:gd name="T49" fmla="*/ 1380 h 1550"/>
                <a:gd name="T50" fmla="*/ 472 w 1358"/>
                <a:gd name="T51" fmla="*/ 1465 h 1550"/>
                <a:gd name="T52" fmla="*/ 504 w 1358"/>
                <a:gd name="T53" fmla="*/ 1550 h 1550"/>
                <a:gd name="T54" fmla="*/ 15 w 1358"/>
                <a:gd name="T55" fmla="*/ 1550 h 1550"/>
                <a:gd name="T56" fmla="*/ 8 w 1358"/>
                <a:gd name="T57" fmla="*/ 1535 h 1550"/>
                <a:gd name="T58" fmla="*/ 181 w 1358"/>
                <a:gd name="T59" fmla="*/ 1461 h 1550"/>
                <a:gd name="T60" fmla="*/ 160 w 1358"/>
                <a:gd name="T61" fmla="*/ 1352 h 1550"/>
                <a:gd name="T62" fmla="*/ 153 w 1358"/>
                <a:gd name="T63" fmla="*/ 1239 h 1550"/>
                <a:gd name="T64" fmla="*/ 158 w 1358"/>
                <a:gd name="T65" fmla="*/ 1126 h 1550"/>
                <a:gd name="T66" fmla="*/ 173 w 1358"/>
                <a:gd name="T67" fmla="*/ 1013 h 1550"/>
                <a:gd name="T68" fmla="*/ 0 w 1358"/>
                <a:gd name="T69" fmla="*/ 943 h 1550"/>
                <a:gd name="T70" fmla="*/ 147 w 1358"/>
                <a:gd name="T71" fmla="*/ 578 h 1550"/>
                <a:gd name="T72" fmla="*/ 320 w 1358"/>
                <a:gd name="T73" fmla="*/ 648 h 1550"/>
                <a:gd name="T74" fmla="*/ 373 w 1358"/>
                <a:gd name="T75" fmla="*/ 573 h 1550"/>
                <a:gd name="T76" fmla="*/ 429 w 1358"/>
                <a:gd name="T77" fmla="*/ 501 h 1550"/>
                <a:gd name="T78" fmla="*/ 493 w 1358"/>
                <a:gd name="T79" fmla="*/ 437 h 1550"/>
                <a:gd name="T80" fmla="*/ 561 w 1358"/>
                <a:gd name="T81" fmla="*/ 379 h 1550"/>
                <a:gd name="T82" fmla="*/ 632 w 1358"/>
                <a:gd name="T83" fmla="*/ 326 h 1550"/>
                <a:gd name="T84" fmla="*/ 559 w 1358"/>
                <a:gd name="T85" fmla="*/ 155 h 1550"/>
                <a:gd name="T86" fmla="*/ 920 w 1358"/>
                <a:gd name="T87" fmla="*/ 0 h 1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58" h="1550">
                  <a:moveTo>
                    <a:pt x="920" y="0"/>
                  </a:moveTo>
                  <a:lnTo>
                    <a:pt x="993" y="172"/>
                  </a:lnTo>
                  <a:lnTo>
                    <a:pt x="1083" y="155"/>
                  </a:lnTo>
                  <a:lnTo>
                    <a:pt x="1173" y="145"/>
                  </a:lnTo>
                  <a:lnTo>
                    <a:pt x="1266" y="145"/>
                  </a:lnTo>
                  <a:lnTo>
                    <a:pt x="1358" y="153"/>
                  </a:lnTo>
                  <a:lnTo>
                    <a:pt x="1358" y="437"/>
                  </a:lnTo>
                  <a:lnTo>
                    <a:pt x="1275" y="428"/>
                  </a:lnTo>
                  <a:lnTo>
                    <a:pt x="1192" y="428"/>
                  </a:lnTo>
                  <a:lnTo>
                    <a:pt x="1111" y="435"/>
                  </a:lnTo>
                  <a:lnTo>
                    <a:pt x="1031" y="452"/>
                  </a:lnTo>
                  <a:lnTo>
                    <a:pt x="953" y="477"/>
                  </a:lnTo>
                  <a:lnTo>
                    <a:pt x="878" y="509"/>
                  </a:lnTo>
                  <a:lnTo>
                    <a:pt x="809" y="548"/>
                  </a:lnTo>
                  <a:lnTo>
                    <a:pt x="741" y="595"/>
                  </a:lnTo>
                  <a:lnTo>
                    <a:pt x="679" y="650"/>
                  </a:lnTo>
                  <a:lnTo>
                    <a:pt x="623" y="710"/>
                  </a:lnTo>
                  <a:lnTo>
                    <a:pt x="572" y="776"/>
                  </a:lnTo>
                  <a:lnTo>
                    <a:pt x="529" y="849"/>
                  </a:lnTo>
                  <a:lnTo>
                    <a:pt x="491" y="928"/>
                  </a:lnTo>
                  <a:lnTo>
                    <a:pt x="463" y="1019"/>
                  </a:lnTo>
                  <a:lnTo>
                    <a:pt x="444" y="1109"/>
                  </a:lnTo>
                  <a:lnTo>
                    <a:pt x="435" y="1200"/>
                  </a:lnTo>
                  <a:lnTo>
                    <a:pt x="438" y="1290"/>
                  </a:lnTo>
                  <a:lnTo>
                    <a:pt x="451" y="1380"/>
                  </a:lnTo>
                  <a:lnTo>
                    <a:pt x="472" y="1465"/>
                  </a:lnTo>
                  <a:lnTo>
                    <a:pt x="504" y="1550"/>
                  </a:lnTo>
                  <a:lnTo>
                    <a:pt x="15" y="1550"/>
                  </a:lnTo>
                  <a:lnTo>
                    <a:pt x="8" y="1535"/>
                  </a:lnTo>
                  <a:lnTo>
                    <a:pt x="181" y="1461"/>
                  </a:lnTo>
                  <a:lnTo>
                    <a:pt x="160" y="1352"/>
                  </a:lnTo>
                  <a:lnTo>
                    <a:pt x="153" y="1239"/>
                  </a:lnTo>
                  <a:lnTo>
                    <a:pt x="158" y="1126"/>
                  </a:lnTo>
                  <a:lnTo>
                    <a:pt x="173" y="1013"/>
                  </a:lnTo>
                  <a:lnTo>
                    <a:pt x="0" y="943"/>
                  </a:lnTo>
                  <a:lnTo>
                    <a:pt x="147" y="578"/>
                  </a:lnTo>
                  <a:lnTo>
                    <a:pt x="320" y="648"/>
                  </a:lnTo>
                  <a:lnTo>
                    <a:pt x="373" y="573"/>
                  </a:lnTo>
                  <a:lnTo>
                    <a:pt x="429" y="501"/>
                  </a:lnTo>
                  <a:lnTo>
                    <a:pt x="493" y="437"/>
                  </a:lnTo>
                  <a:lnTo>
                    <a:pt x="561" y="379"/>
                  </a:lnTo>
                  <a:lnTo>
                    <a:pt x="632" y="326"/>
                  </a:lnTo>
                  <a:lnTo>
                    <a:pt x="559" y="155"/>
                  </a:lnTo>
                  <a:lnTo>
                    <a:pt x="920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19">
              <a:extLst>
                <a:ext uri="{FF2B5EF4-FFF2-40B4-BE49-F238E27FC236}">
                  <a16:creationId xmlns:a16="http://schemas.microsoft.com/office/drawing/2014/main" id="{71C142C9-E7FD-413A-9D1E-6EB7C8FA2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1" y="3440113"/>
              <a:ext cx="1123950" cy="947738"/>
            </a:xfrm>
            <a:custGeom>
              <a:avLst/>
              <a:gdLst>
                <a:gd name="T0" fmla="*/ 625 w 1416"/>
                <a:gd name="T1" fmla="*/ 0 h 1196"/>
                <a:gd name="T2" fmla="*/ 901 w 1416"/>
                <a:gd name="T3" fmla="*/ 85 h 1196"/>
                <a:gd name="T4" fmla="*/ 861 w 1416"/>
                <a:gd name="T5" fmla="*/ 217 h 1196"/>
                <a:gd name="T6" fmla="*/ 935 w 1416"/>
                <a:gd name="T7" fmla="*/ 258 h 1196"/>
                <a:gd name="T8" fmla="*/ 1001 w 1416"/>
                <a:gd name="T9" fmla="*/ 309 h 1196"/>
                <a:gd name="T10" fmla="*/ 1063 w 1416"/>
                <a:gd name="T11" fmla="*/ 364 h 1196"/>
                <a:gd name="T12" fmla="*/ 1117 w 1416"/>
                <a:gd name="T13" fmla="*/ 426 h 1196"/>
                <a:gd name="T14" fmla="*/ 1237 w 1416"/>
                <a:gd name="T15" fmla="*/ 360 h 1196"/>
                <a:gd name="T16" fmla="*/ 1375 w 1416"/>
                <a:gd name="T17" fmla="*/ 616 h 1196"/>
                <a:gd name="T18" fmla="*/ 1253 w 1416"/>
                <a:gd name="T19" fmla="*/ 682 h 1196"/>
                <a:gd name="T20" fmla="*/ 1273 w 1416"/>
                <a:gd name="T21" fmla="*/ 761 h 1196"/>
                <a:gd name="T22" fmla="*/ 1286 w 1416"/>
                <a:gd name="T23" fmla="*/ 842 h 1196"/>
                <a:gd name="T24" fmla="*/ 1290 w 1416"/>
                <a:gd name="T25" fmla="*/ 925 h 1196"/>
                <a:gd name="T26" fmla="*/ 1284 w 1416"/>
                <a:gd name="T27" fmla="*/ 1009 h 1196"/>
                <a:gd name="T28" fmla="*/ 1416 w 1416"/>
                <a:gd name="T29" fmla="*/ 1049 h 1196"/>
                <a:gd name="T30" fmla="*/ 1373 w 1416"/>
                <a:gd name="T31" fmla="*/ 1196 h 1196"/>
                <a:gd name="T32" fmla="*/ 1014 w 1416"/>
                <a:gd name="T33" fmla="*/ 1196 h 1196"/>
                <a:gd name="T34" fmla="*/ 1038 w 1416"/>
                <a:gd name="T35" fmla="*/ 1145 h 1196"/>
                <a:gd name="T36" fmla="*/ 1057 w 1416"/>
                <a:gd name="T37" fmla="*/ 1092 h 1196"/>
                <a:gd name="T38" fmla="*/ 1074 w 1416"/>
                <a:gd name="T39" fmla="*/ 1021 h 1196"/>
                <a:gd name="T40" fmla="*/ 1081 w 1416"/>
                <a:gd name="T41" fmla="*/ 949 h 1196"/>
                <a:gd name="T42" fmla="*/ 1081 w 1416"/>
                <a:gd name="T43" fmla="*/ 878 h 1196"/>
                <a:gd name="T44" fmla="*/ 1072 w 1416"/>
                <a:gd name="T45" fmla="*/ 808 h 1196"/>
                <a:gd name="T46" fmla="*/ 1053 w 1416"/>
                <a:gd name="T47" fmla="*/ 740 h 1196"/>
                <a:gd name="T48" fmla="*/ 1029 w 1416"/>
                <a:gd name="T49" fmla="*/ 676 h 1196"/>
                <a:gd name="T50" fmla="*/ 997 w 1416"/>
                <a:gd name="T51" fmla="*/ 614 h 1196"/>
                <a:gd name="T52" fmla="*/ 957 w 1416"/>
                <a:gd name="T53" fmla="*/ 557 h 1196"/>
                <a:gd name="T54" fmla="*/ 910 w 1416"/>
                <a:gd name="T55" fmla="*/ 505 h 1196"/>
                <a:gd name="T56" fmla="*/ 858 w 1416"/>
                <a:gd name="T57" fmla="*/ 460 h 1196"/>
                <a:gd name="T58" fmla="*/ 799 w 1416"/>
                <a:gd name="T59" fmla="*/ 418 h 1196"/>
                <a:gd name="T60" fmla="*/ 736 w 1416"/>
                <a:gd name="T61" fmla="*/ 386 h 1196"/>
                <a:gd name="T62" fmla="*/ 666 w 1416"/>
                <a:gd name="T63" fmla="*/ 360 h 1196"/>
                <a:gd name="T64" fmla="*/ 589 w 1416"/>
                <a:gd name="T65" fmla="*/ 341 h 1196"/>
                <a:gd name="T66" fmla="*/ 512 w 1416"/>
                <a:gd name="T67" fmla="*/ 333 h 1196"/>
                <a:gd name="T68" fmla="*/ 435 w 1416"/>
                <a:gd name="T69" fmla="*/ 337 h 1196"/>
                <a:gd name="T70" fmla="*/ 360 w 1416"/>
                <a:gd name="T71" fmla="*/ 350 h 1196"/>
                <a:gd name="T72" fmla="*/ 288 w 1416"/>
                <a:gd name="T73" fmla="*/ 373 h 1196"/>
                <a:gd name="T74" fmla="*/ 219 w 1416"/>
                <a:gd name="T75" fmla="*/ 405 h 1196"/>
                <a:gd name="T76" fmla="*/ 156 w 1416"/>
                <a:gd name="T77" fmla="*/ 445 h 1196"/>
                <a:gd name="T78" fmla="*/ 96 w 1416"/>
                <a:gd name="T79" fmla="*/ 492 h 1196"/>
                <a:gd name="T80" fmla="*/ 46 w 1416"/>
                <a:gd name="T81" fmla="*/ 546 h 1196"/>
                <a:gd name="T82" fmla="*/ 0 w 1416"/>
                <a:gd name="T83" fmla="*/ 608 h 1196"/>
                <a:gd name="T84" fmla="*/ 0 w 1416"/>
                <a:gd name="T85" fmla="*/ 301 h 1196"/>
                <a:gd name="T86" fmla="*/ 0 w 1416"/>
                <a:gd name="T87" fmla="*/ 300 h 1196"/>
                <a:gd name="T88" fmla="*/ 0 w 1416"/>
                <a:gd name="T89" fmla="*/ 298 h 1196"/>
                <a:gd name="T90" fmla="*/ 0 w 1416"/>
                <a:gd name="T91" fmla="*/ 145 h 1196"/>
                <a:gd name="T92" fmla="*/ 192 w 1416"/>
                <a:gd name="T93" fmla="*/ 42 h 1196"/>
                <a:gd name="T94" fmla="*/ 256 w 1416"/>
                <a:gd name="T95" fmla="*/ 164 h 1196"/>
                <a:gd name="T96" fmla="*/ 337 w 1416"/>
                <a:gd name="T97" fmla="*/ 143 h 1196"/>
                <a:gd name="T98" fmla="*/ 418 w 1416"/>
                <a:gd name="T99" fmla="*/ 130 h 1196"/>
                <a:gd name="T100" fmla="*/ 501 w 1416"/>
                <a:gd name="T101" fmla="*/ 126 h 1196"/>
                <a:gd name="T102" fmla="*/ 585 w 1416"/>
                <a:gd name="T103" fmla="*/ 132 h 1196"/>
                <a:gd name="T104" fmla="*/ 625 w 1416"/>
                <a:gd name="T105" fmla="*/ 0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16" h="1196">
                  <a:moveTo>
                    <a:pt x="625" y="0"/>
                  </a:moveTo>
                  <a:lnTo>
                    <a:pt x="901" y="85"/>
                  </a:lnTo>
                  <a:lnTo>
                    <a:pt x="861" y="217"/>
                  </a:lnTo>
                  <a:lnTo>
                    <a:pt x="935" y="258"/>
                  </a:lnTo>
                  <a:lnTo>
                    <a:pt x="1001" y="309"/>
                  </a:lnTo>
                  <a:lnTo>
                    <a:pt x="1063" y="364"/>
                  </a:lnTo>
                  <a:lnTo>
                    <a:pt x="1117" y="426"/>
                  </a:lnTo>
                  <a:lnTo>
                    <a:pt x="1237" y="360"/>
                  </a:lnTo>
                  <a:lnTo>
                    <a:pt x="1375" y="616"/>
                  </a:lnTo>
                  <a:lnTo>
                    <a:pt x="1253" y="682"/>
                  </a:lnTo>
                  <a:lnTo>
                    <a:pt x="1273" y="761"/>
                  </a:lnTo>
                  <a:lnTo>
                    <a:pt x="1286" y="842"/>
                  </a:lnTo>
                  <a:lnTo>
                    <a:pt x="1290" y="925"/>
                  </a:lnTo>
                  <a:lnTo>
                    <a:pt x="1284" y="1009"/>
                  </a:lnTo>
                  <a:lnTo>
                    <a:pt x="1416" y="1049"/>
                  </a:lnTo>
                  <a:lnTo>
                    <a:pt x="1373" y="1196"/>
                  </a:lnTo>
                  <a:lnTo>
                    <a:pt x="1014" y="1196"/>
                  </a:lnTo>
                  <a:lnTo>
                    <a:pt x="1038" y="1145"/>
                  </a:lnTo>
                  <a:lnTo>
                    <a:pt x="1057" y="1092"/>
                  </a:lnTo>
                  <a:lnTo>
                    <a:pt x="1074" y="1021"/>
                  </a:lnTo>
                  <a:lnTo>
                    <a:pt x="1081" y="949"/>
                  </a:lnTo>
                  <a:lnTo>
                    <a:pt x="1081" y="878"/>
                  </a:lnTo>
                  <a:lnTo>
                    <a:pt x="1072" y="808"/>
                  </a:lnTo>
                  <a:lnTo>
                    <a:pt x="1053" y="740"/>
                  </a:lnTo>
                  <a:lnTo>
                    <a:pt x="1029" y="676"/>
                  </a:lnTo>
                  <a:lnTo>
                    <a:pt x="997" y="614"/>
                  </a:lnTo>
                  <a:lnTo>
                    <a:pt x="957" y="557"/>
                  </a:lnTo>
                  <a:lnTo>
                    <a:pt x="910" y="505"/>
                  </a:lnTo>
                  <a:lnTo>
                    <a:pt x="858" y="460"/>
                  </a:lnTo>
                  <a:lnTo>
                    <a:pt x="799" y="418"/>
                  </a:lnTo>
                  <a:lnTo>
                    <a:pt x="736" y="386"/>
                  </a:lnTo>
                  <a:lnTo>
                    <a:pt x="666" y="360"/>
                  </a:lnTo>
                  <a:lnTo>
                    <a:pt x="589" y="341"/>
                  </a:lnTo>
                  <a:lnTo>
                    <a:pt x="512" y="333"/>
                  </a:lnTo>
                  <a:lnTo>
                    <a:pt x="435" y="337"/>
                  </a:lnTo>
                  <a:lnTo>
                    <a:pt x="360" y="350"/>
                  </a:lnTo>
                  <a:lnTo>
                    <a:pt x="288" y="373"/>
                  </a:lnTo>
                  <a:lnTo>
                    <a:pt x="219" y="405"/>
                  </a:lnTo>
                  <a:lnTo>
                    <a:pt x="156" y="445"/>
                  </a:lnTo>
                  <a:lnTo>
                    <a:pt x="96" y="492"/>
                  </a:lnTo>
                  <a:lnTo>
                    <a:pt x="46" y="546"/>
                  </a:lnTo>
                  <a:lnTo>
                    <a:pt x="0" y="608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0" y="298"/>
                  </a:lnTo>
                  <a:lnTo>
                    <a:pt x="0" y="145"/>
                  </a:lnTo>
                  <a:lnTo>
                    <a:pt x="192" y="42"/>
                  </a:lnTo>
                  <a:lnTo>
                    <a:pt x="256" y="164"/>
                  </a:lnTo>
                  <a:lnTo>
                    <a:pt x="337" y="143"/>
                  </a:lnTo>
                  <a:lnTo>
                    <a:pt x="418" y="130"/>
                  </a:lnTo>
                  <a:lnTo>
                    <a:pt x="501" y="126"/>
                  </a:lnTo>
                  <a:lnTo>
                    <a:pt x="585" y="132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3F3F3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20">
              <a:extLst>
                <a:ext uri="{FF2B5EF4-FFF2-40B4-BE49-F238E27FC236}">
                  <a16:creationId xmlns:a16="http://schemas.microsoft.com/office/drawing/2014/main" id="{D65D4D59-6B69-4465-A370-5BB69C473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0888" y="3157538"/>
              <a:ext cx="1155700" cy="1157288"/>
            </a:xfrm>
            <a:custGeom>
              <a:avLst/>
              <a:gdLst>
                <a:gd name="T0" fmla="*/ 665 w 1455"/>
                <a:gd name="T1" fmla="*/ 273 h 1459"/>
                <a:gd name="T2" fmla="*/ 543 w 1455"/>
                <a:gd name="T3" fmla="*/ 309 h 1459"/>
                <a:gd name="T4" fmla="*/ 434 w 1455"/>
                <a:gd name="T5" fmla="*/ 375 h 1459"/>
                <a:gd name="T6" fmla="*/ 345 w 1455"/>
                <a:gd name="T7" fmla="*/ 475 h 1459"/>
                <a:gd name="T8" fmla="*/ 287 w 1455"/>
                <a:gd name="T9" fmla="*/ 595 h 1459"/>
                <a:gd name="T10" fmla="*/ 268 w 1455"/>
                <a:gd name="T11" fmla="*/ 723 h 1459"/>
                <a:gd name="T12" fmla="*/ 283 w 1455"/>
                <a:gd name="T13" fmla="*/ 851 h 1459"/>
                <a:gd name="T14" fmla="*/ 334 w 1455"/>
                <a:gd name="T15" fmla="*/ 970 h 1459"/>
                <a:gd name="T16" fmla="*/ 419 w 1455"/>
                <a:gd name="T17" fmla="*/ 1072 h 1459"/>
                <a:gd name="T18" fmla="*/ 533 w 1455"/>
                <a:gd name="T19" fmla="*/ 1147 h 1459"/>
                <a:gd name="T20" fmla="*/ 661 w 1455"/>
                <a:gd name="T21" fmla="*/ 1185 h 1459"/>
                <a:gd name="T22" fmla="*/ 791 w 1455"/>
                <a:gd name="T23" fmla="*/ 1186 h 1459"/>
                <a:gd name="T24" fmla="*/ 913 w 1455"/>
                <a:gd name="T25" fmla="*/ 1151 h 1459"/>
                <a:gd name="T26" fmla="*/ 1020 w 1455"/>
                <a:gd name="T27" fmla="*/ 1085 h 1459"/>
                <a:gd name="T28" fmla="*/ 1111 w 1455"/>
                <a:gd name="T29" fmla="*/ 985 h 1459"/>
                <a:gd name="T30" fmla="*/ 1167 w 1455"/>
                <a:gd name="T31" fmla="*/ 865 h 1459"/>
                <a:gd name="T32" fmla="*/ 1188 w 1455"/>
                <a:gd name="T33" fmla="*/ 736 h 1459"/>
                <a:gd name="T34" fmla="*/ 1171 w 1455"/>
                <a:gd name="T35" fmla="*/ 608 h 1459"/>
                <a:gd name="T36" fmla="*/ 1120 w 1455"/>
                <a:gd name="T37" fmla="*/ 490 h 1459"/>
                <a:gd name="T38" fmla="*/ 1037 w 1455"/>
                <a:gd name="T39" fmla="*/ 388 h 1459"/>
                <a:gd name="T40" fmla="*/ 923 w 1455"/>
                <a:gd name="T41" fmla="*/ 313 h 1459"/>
                <a:gd name="T42" fmla="*/ 793 w 1455"/>
                <a:gd name="T43" fmla="*/ 273 h 1459"/>
                <a:gd name="T44" fmla="*/ 699 w 1455"/>
                <a:gd name="T45" fmla="*/ 0 h 1459"/>
                <a:gd name="T46" fmla="*/ 727 w 1455"/>
                <a:gd name="T47" fmla="*/ 106 h 1459"/>
                <a:gd name="T48" fmla="*/ 893 w 1455"/>
                <a:gd name="T49" fmla="*/ 128 h 1459"/>
                <a:gd name="T50" fmla="*/ 1034 w 1455"/>
                <a:gd name="T51" fmla="*/ 68 h 1459"/>
                <a:gd name="T52" fmla="*/ 1161 w 1455"/>
                <a:gd name="T53" fmla="*/ 283 h 1459"/>
                <a:gd name="T54" fmla="*/ 1246 w 1455"/>
                <a:gd name="T55" fmla="*/ 384 h 1459"/>
                <a:gd name="T56" fmla="*/ 1306 w 1455"/>
                <a:gd name="T57" fmla="*/ 499 h 1459"/>
                <a:gd name="T58" fmla="*/ 1455 w 1455"/>
                <a:gd name="T59" fmla="*/ 701 h 1459"/>
                <a:gd name="T60" fmla="*/ 1347 w 1455"/>
                <a:gd name="T61" fmla="*/ 785 h 1459"/>
                <a:gd name="T62" fmla="*/ 1323 w 1455"/>
                <a:gd name="T63" fmla="*/ 913 h 1459"/>
                <a:gd name="T64" fmla="*/ 1389 w 1455"/>
                <a:gd name="T65" fmla="*/ 1036 h 1459"/>
                <a:gd name="T66" fmla="*/ 1173 w 1455"/>
                <a:gd name="T67" fmla="*/ 1166 h 1459"/>
                <a:gd name="T68" fmla="*/ 1073 w 1455"/>
                <a:gd name="T69" fmla="*/ 1249 h 1459"/>
                <a:gd name="T70" fmla="*/ 958 w 1455"/>
                <a:gd name="T71" fmla="*/ 1309 h 1459"/>
                <a:gd name="T72" fmla="*/ 757 w 1455"/>
                <a:gd name="T73" fmla="*/ 1459 h 1459"/>
                <a:gd name="T74" fmla="*/ 727 w 1455"/>
                <a:gd name="T75" fmla="*/ 1354 h 1459"/>
                <a:gd name="T76" fmla="*/ 562 w 1455"/>
                <a:gd name="T77" fmla="*/ 1331 h 1459"/>
                <a:gd name="T78" fmla="*/ 423 w 1455"/>
                <a:gd name="T79" fmla="*/ 1392 h 1459"/>
                <a:gd name="T80" fmla="*/ 293 w 1455"/>
                <a:gd name="T81" fmla="*/ 1177 h 1459"/>
                <a:gd name="T82" fmla="*/ 210 w 1455"/>
                <a:gd name="T83" fmla="*/ 1075 h 1459"/>
                <a:gd name="T84" fmla="*/ 150 w 1455"/>
                <a:gd name="T85" fmla="*/ 961 h 1459"/>
                <a:gd name="T86" fmla="*/ 0 w 1455"/>
                <a:gd name="T87" fmla="*/ 759 h 1459"/>
                <a:gd name="T88" fmla="*/ 107 w 1455"/>
                <a:gd name="T89" fmla="*/ 674 h 1459"/>
                <a:gd name="T90" fmla="*/ 133 w 1455"/>
                <a:gd name="T91" fmla="*/ 546 h 1459"/>
                <a:gd name="T92" fmla="*/ 65 w 1455"/>
                <a:gd name="T93" fmla="*/ 424 h 1459"/>
                <a:gd name="T94" fmla="*/ 282 w 1455"/>
                <a:gd name="T95" fmla="*/ 294 h 1459"/>
                <a:gd name="T96" fmla="*/ 383 w 1455"/>
                <a:gd name="T97" fmla="*/ 211 h 1459"/>
                <a:gd name="T98" fmla="*/ 496 w 1455"/>
                <a:gd name="T99" fmla="*/ 151 h 1459"/>
                <a:gd name="T100" fmla="*/ 699 w 1455"/>
                <a:gd name="T101" fmla="*/ 0 h 1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55" h="1459">
                  <a:moveTo>
                    <a:pt x="727" y="270"/>
                  </a:moveTo>
                  <a:lnTo>
                    <a:pt x="665" y="273"/>
                  </a:lnTo>
                  <a:lnTo>
                    <a:pt x="603" y="287"/>
                  </a:lnTo>
                  <a:lnTo>
                    <a:pt x="543" y="309"/>
                  </a:lnTo>
                  <a:lnTo>
                    <a:pt x="486" y="337"/>
                  </a:lnTo>
                  <a:lnTo>
                    <a:pt x="434" y="375"/>
                  </a:lnTo>
                  <a:lnTo>
                    <a:pt x="387" y="420"/>
                  </a:lnTo>
                  <a:lnTo>
                    <a:pt x="345" y="475"/>
                  </a:lnTo>
                  <a:lnTo>
                    <a:pt x="312" y="533"/>
                  </a:lnTo>
                  <a:lnTo>
                    <a:pt x="287" y="595"/>
                  </a:lnTo>
                  <a:lnTo>
                    <a:pt x="274" y="659"/>
                  </a:lnTo>
                  <a:lnTo>
                    <a:pt x="268" y="723"/>
                  </a:lnTo>
                  <a:lnTo>
                    <a:pt x="272" y="787"/>
                  </a:lnTo>
                  <a:lnTo>
                    <a:pt x="283" y="851"/>
                  </a:lnTo>
                  <a:lnTo>
                    <a:pt x="306" y="912"/>
                  </a:lnTo>
                  <a:lnTo>
                    <a:pt x="334" y="970"/>
                  </a:lnTo>
                  <a:lnTo>
                    <a:pt x="372" y="1023"/>
                  </a:lnTo>
                  <a:lnTo>
                    <a:pt x="419" y="1072"/>
                  </a:lnTo>
                  <a:lnTo>
                    <a:pt x="471" y="1113"/>
                  </a:lnTo>
                  <a:lnTo>
                    <a:pt x="533" y="1147"/>
                  </a:lnTo>
                  <a:lnTo>
                    <a:pt x="595" y="1171"/>
                  </a:lnTo>
                  <a:lnTo>
                    <a:pt x="661" y="1185"/>
                  </a:lnTo>
                  <a:lnTo>
                    <a:pt x="727" y="1190"/>
                  </a:lnTo>
                  <a:lnTo>
                    <a:pt x="791" y="1186"/>
                  </a:lnTo>
                  <a:lnTo>
                    <a:pt x="853" y="1173"/>
                  </a:lnTo>
                  <a:lnTo>
                    <a:pt x="913" y="1151"/>
                  </a:lnTo>
                  <a:lnTo>
                    <a:pt x="970" y="1122"/>
                  </a:lnTo>
                  <a:lnTo>
                    <a:pt x="1020" y="1085"/>
                  </a:lnTo>
                  <a:lnTo>
                    <a:pt x="1069" y="1038"/>
                  </a:lnTo>
                  <a:lnTo>
                    <a:pt x="1111" y="985"/>
                  </a:lnTo>
                  <a:lnTo>
                    <a:pt x="1143" y="927"/>
                  </a:lnTo>
                  <a:lnTo>
                    <a:pt x="1167" y="865"/>
                  </a:lnTo>
                  <a:lnTo>
                    <a:pt x="1182" y="801"/>
                  </a:lnTo>
                  <a:lnTo>
                    <a:pt x="1188" y="736"/>
                  </a:lnTo>
                  <a:lnTo>
                    <a:pt x="1184" y="672"/>
                  </a:lnTo>
                  <a:lnTo>
                    <a:pt x="1171" y="608"/>
                  </a:lnTo>
                  <a:lnTo>
                    <a:pt x="1150" y="548"/>
                  </a:lnTo>
                  <a:lnTo>
                    <a:pt x="1120" y="490"/>
                  </a:lnTo>
                  <a:lnTo>
                    <a:pt x="1082" y="437"/>
                  </a:lnTo>
                  <a:lnTo>
                    <a:pt x="1037" y="388"/>
                  </a:lnTo>
                  <a:lnTo>
                    <a:pt x="983" y="347"/>
                  </a:lnTo>
                  <a:lnTo>
                    <a:pt x="923" y="313"/>
                  </a:lnTo>
                  <a:lnTo>
                    <a:pt x="859" y="288"/>
                  </a:lnTo>
                  <a:lnTo>
                    <a:pt x="793" y="273"/>
                  </a:lnTo>
                  <a:lnTo>
                    <a:pt x="727" y="270"/>
                  </a:lnTo>
                  <a:close/>
                  <a:moveTo>
                    <a:pt x="699" y="0"/>
                  </a:moveTo>
                  <a:lnTo>
                    <a:pt x="720" y="106"/>
                  </a:lnTo>
                  <a:lnTo>
                    <a:pt x="727" y="106"/>
                  </a:lnTo>
                  <a:lnTo>
                    <a:pt x="810" y="111"/>
                  </a:lnTo>
                  <a:lnTo>
                    <a:pt x="893" y="128"/>
                  </a:lnTo>
                  <a:lnTo>
                    <a:pt x="973" y="157"/>
                  </a:lnTo>
                  <a:lnTo>
                    <a:pt x="1034" y="68"/>
                  </a:lnTo>
                  <a:lnTo>
                    <a:pt x="1222" y="194"/>
                  </a:lnTo>
                  <a:lnTo>
                    <a:pt x="1161" y="283"/>
                  </a:lnTo>
                  <a:lnTo>
                    <a:pt x="1206" y="332"/>
                  </a:lnTo>
                  <a:lnTo>
                    <a:pt x="1246" y="384"/>
                  </a:lnTo>
                  <a:lnTo>
                    <a:pt x="1278" y="441"/>
                  </a:lnTo>
                  <a:lnTo>
                    <a:pt x="1306" y="499"/>
                  </a:lnTo>
                  <a:lnTo>
                    <a:pt x="1411" y="477"/>
                  </a:lnTo>
                  <a:lnTo>
                    <a:pt x="1455" y="701"/>
                  </a:lnTo>
                  <a:lnTo>
                    <a:pt x="1349" y="721"/>
                  </a:lnTo>
                  <a:lnTo>
                    <a:pt x="1347" y="785"/>
                  </a:lnTo>
                  <a:lnTo>
                    <a:pt x="1338" y="849"/>
                  </a:lnTo>
                  <a:lnTo>
                    <a:pt x="1323" y="913"/>
                  </a:lnTo>
                  <a:lnTo>
                    <a:pt x="1299" y="976"/>
                  </a:lnTo>
                  <a:lnTo>
                    <a:pt x="1389" y="1036"/>
                  </a:lnTo>
                  <a:lnTo>
                    <a:pt x="1263" y="1224"/>
                  </a:lnTo>
                  <a:lnTo>
                    <a:pt x="1173" y="1166"/>
                  </a:lnTo>
                  <a:lnTo>
                    <a:pt x="1126" y="1209"/>
                  </a:lnTo>
                  <a:lnTo>
                    <a:pt x="1073" y="1249"/>
                  </a:lnTo>
                  <a:lnTo>
                    <a:pt x="1017" y="1282"/>
                  </a:lnTo>
                  <a:lnTo>
                    <a:pt x="958" y="1309"/>
                  </a:lnTo>
                  <a:lnTo>
                    <a:pt x="979" y="1414"/>
                  </a:lnTo>
                  <a:lnTo>
                    <a:pt x="757" y="1459"/>
                  </a:lnTo>
                  <a:lnTo>
                    <a:pt x="735" y="1354"/>
                  </a:lnTo>
                  <a:lnTo>
                    <a:pt x="727" y="1354"/>
                  </a:lnTo>
                  <a:lnTo>
                    <a:pt x="644" y="1348"/>
                  </a:lnTo>
                  <a:lnTo>
                    <a:pt x="562" y="1331"/>
                  </a:lnTo>
                  <a:lnTo>
                    <a:pt x="483" y="1303"/>
                  </a:lnTo>
                  <a:lnTo>
                    <a:pt x="423" y="1392"/>
                  </a:lnTo>
                  <a:lnTo>
                    <a:pt x="233" y="1266"/>
                  </a:lnTo>
                  <a:lnTo>
                    <a:pt x="293" y="1177"/>
                  </a:lnTo>
                  <a:lnTo>
                    <a:pt x="248" y="1128"/>
                  </a:lnTo>
                  <a:lnTo>
                    <a:pt x="210" y="1075"/>
                  </a:lnTo>
                  <a:lnTo>
                    <a:pt x="176" y="1019"/>
                  </a:lnTo>
                  <a:lnTo>
                    <a:pt x="150" y="961"/>
                  </a:lnTo>
                  <a:lnTo>
                    <a:pt x="45" y="983"/>
                  </a:lnTo>
                  <a:lnTo>
                    <a:pt x="0" y="759"/>
                  </a:lnTo>
                  <a:lnTo>
                    <a:pt x="105" y="738"/>
                  </a:lnTo>
                  <a:lnTo>
                    <a:pt x="107" y="674"/>
                  </a:lnTo>
                  <a:lnTo>
                    <a:pt x="116" y="610"/>
                  </a:lnTo>
                  <a:lnTo>
                    <a:pt x="133" y="546"/>
                  </a:lnTo>
                  <a:lnTo>
                    <a:pt x="156" y="484"/>
                  </a:lnTo>
                  <a:lnTo>
                    <a:pt x="65" y="424"/>
                  </a:lnTo>
                  <a:lnTo>
                    <a:pt x="191" y="236"/>
                  </a:lnTo>
                  <a:lnTo>
                    <a:pt x="282" y="294"/>
                  </a:lnTo>
                  <a:lnTo>
                    <a:pt x="330" y="251"/>
                  </a:lnTo>
                  <a:lnTo>
                    <a:pt x="383" y="211"/>
                  </a:lnTo>
                  <a:lnTo>
                    <a:pt x="438" y="177"/>
                  </a:lnTo>
                  <a:lnTo>
                    <a:pt x="496" y="151"/>
                  </a:lnTo>
                  <a:lnTo>
                    <a:pt x="475" y="46"/>
                  </a:lnTo>
                  <a:lnTo>
                    <a:pt x="699" y="0"/>
                  </a:lnTo>
                  <a:close/>
                </a:path>
              </a:pathLst>
            </a:custGeom>
            <a:solidFill>
              <a:srgbClr val="A7CCD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17" name="Rectangle 316">
            <a:extLst>
              <a:ext uri="{FF2B5EF4-FFF2-40B4-BE49-F238E27FC236}">
                <a16:creationId xmlns:a16="http://schemas.microsoft.com/office/drawing/2014/main" id="{71729463-D52A-4ADE-B6CC-AADBD842A27B}"/>
              </a:ext>
            </a:extLst>
          </p:cNvPr>
          <p:cNvSpPr/>
          <p:nvPr/>
        </p:nvSpPr>
        <p:spPr>
          <a:xfrm>
            <a:off x="1252020" y="1391671"/>
            <a:ext cx="1368000" cy="76196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AIN</a:t>
            </a:r>
          </a:p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OINTS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7E4E7BB1-CCA9-4532-AEE8-D8E57BD58347}"/>
              </a:ext>
            </a:extLst>
          </p:cNvPr>
          <p:cNvSpPr/>
          <p:nvPr/>
        </p:nvSpPr>
        <p:spPr>
          <a:xfrm>
            <a:off x="1252020" y="2510664"/>
            <a:ext cx="1368000" cy="8985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PHYSICAL MARKET BEHAVIOUR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21F5CC6D-63A5-4D62-95F4-519A38112D7C}"/>
              </a:ext>
            </a:extLst>
          </p:cNvPr>
          <p:cNvSpPr/>
          <p:nvPr/>
        </p:nvSpPr>
        <p:spPr>
          <a:xfrm>
            <a:off x="1252020" y="3874895"/>
            <a:ext cx="1368000" cy="8985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NEED-GAP IN OFFLINE MARKET</a:t>
            </a: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643D131F-87B1-4844-9675-65C808C7F639}"/>
              </a:ext>
            </a:extLst>
          </p:cNvPr>
          <p:cNvSpPr/>
          <p:nvPr/>
        </p:nvSpPr>
        <p:spPr>
          <a:xfrm>
            <a:off x="1252020" y="5384023"/>
            <a:ext cx="1368000" cy="73329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500" b="1" dirty="0">
                <a:latin typeface="72" panose="020B0503030000000003" pitchFamily="34" charset="0"/>
                <a:cs typeface="72" panose="020B0503030000000003" pitchFamily="34" charset="0"/>
              </a:rPr>
              <a:t>SUFIN SOLUTION</a:t>
            </a:r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8EB9C13A-7817-4093-BBA0-72ECE499C745}"/>
              </a:ext>
            </a:extLst>
          </p:cNvPr>
          <p:cNvSpPr/>
          <p:nvPr/>
        </p:nvSpPr>
        <p:spPr>
          <a:xfrm>
            <a:off x="4211750" y="610950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4</a:t>
            </a:r>
          </a:p>
        </p:txBody>
      </p: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1D25F73B-BEBE-4B53-8BC1-7AB51B5AC178}"/>
              </a:ext>
            </a:extLst>
          </p:cNvPr>
          <p:cNvCxnSpPr>
            <a:cxnSpLocks/>
          </p:cNvCxnSpPr>
          <p:nvPr/>
        </p:nvCxnSpPr>
        <p:spPr>
          <a:xfrm rot="5400000">
            <a:off x="-153620" y="3699548"/>
            <a:ext cx="604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Rectangle 327">
            <a:extLst>
              <a:ext uri="{FF2B5EF4-FFF2-40B4-BE49-F238E27FC236}">
                <a16:creationId xmlns:a16="http://schemas.microsoft.com/office/drawing/2014/main" id="{DD3C8B9F-4CE3-40AA-9053-2DA8B8BD7171}"/>
              </a:ext>
            </a:extLst>
          </p:cNvPr>
          <p:cNvSpPr/>
          <p:nvPr/>
        </p:nvSpPr>
        <p:spPr>
          <a:xfrm>
            <a:off x="3149750" y="2422233"/>
            <a:ext cx="288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Only to known Sellers or on receipt of goods from unknown sellers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CB2D0EF-AC8E-49B6-A6AE-F52BF6F99CFB}"/>
              </a:ext>
            </a:extLst>
          </p:cNvPr>
          <p:cNvSpPr/>
          <p:nvPr/>
        </p:nvSpPr>
        <p:spPr>
          <a:xfrm>
            <a:off x="3149750" y="1234942"/>
            <a:ext cx="288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Immediate payment by Buyers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AA9D2761-8216-470A-BD93-FD0A3B4378F0}"/>
              </a:ext>
            </a:extLst>
          </p:cNvPr>
          <p:cNvSpPr/>
          <p:nvPr/>
        </p:nvSpPr>
        <p:spPr>
          <a:xfrm>
            <a:off x="3149750" y="3659852"/>
            <a:ext cx="2880000" cy="12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Lack of Trust on Quality or Quantity of unknown sellers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162E27EF-E9DB-4F2D-9C02-8609143E851E}"/>
              </a:ext>
            </a:extLst>
          </p:cNvPr>
          <p:cNvSpPr/>
          <p:nvPr/>
        </p:nvSpPr>
        <p:spPr>
          <a:xfrm>
            <a:off x="3149750" y="5030072"/>
            <a:ext cx="2880000" cy="159111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Payment in Nodal account and post confirmation from Buyer, its released</a:t>
            </a:r>
          </a:p>
        </p:txBody>
      </p:sp>
      <p:sp>
        <p:nvSpPr>
          <p:cNvPr id="333" name="Arrow: Chevron 332">
            <a:extLst>
              <a:ext uri="{FF2B5EF4-FFF2-40B4-BE49-F238E27FC236}">
                <a16:creationId xmlns:a16="http://schemas.microsoft.com/office/drawing/2014/main" id="{112DEA64-0A1F-464C-940F-6E7D5FAF4AC6}"/>
              </a:ext>
            </a:extLst>
          </p:cNvPr>
          <p:cNvSpPr/>
          <p:nvPr/>
        </p:nvSpPr>
        <p:spPr>
          <a:xfrm>
            <a:off x="2697180" y="2779945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4" name="Arrow: Chevron 333">
            <a:extLst>
              <a:ext uri="{FF2B5EF4-FFF2-40B4-BE49-F238E27FC236}">
                <a16:creationId xmlns:a16="http://schemas.microsoft.com/office/drawing/2014/main" id="{31D0D35B-B2EB-42EC-A4EA-EC784651E756}"/>
              </a:ext>
            </a:extLst>
          </p:cNvPr>
          <p:cNvSpPr/>
          <p:nvPr/>
        </p:nvSpPr>
        <p:spPr>
          <a:xfrm>
            <a:off x="2694836" y="1592654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5" name="Arrow: Chevron 334">
            <a:extLst>
              <a:ext uri="{FF2B5EF4-FFF2-40B4-BE49-F238E27FC236}">
                <a16:creationId xmlns:a16="http://schemas.microsoft.com/office/drawing/2014/main" id="{DB70BECF-979F-4A40-A507-256A58B1CA88}"/>
              </a:ext>
            </a:extLst>
          </p:cNvPr>
          <p:cNvSpPr/>
          <p:nvPr/>
        </p:nvSpPr>
        <p:spPr>
          <a:xfrm>
            <a:off x="2692488" y="4144176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36" name="Arrow: Chevron 335">
            <a:extLst>
              <a:ext uri="{FF2B5EF4-FFF2-40B4-BE49-F238E27FC236}">
                <a16:creationId xmlns:a16="http://schemas.microsoft.com/office/drawing/2014/main" id="{783964AC-F44D-4EF6-A7A7-5429EB972819}"/>
              </a:ext>
            </a:extLst>
          </p:cNvPr>
          <p:cNvSpPr/>
          <p:nvPr/>
        </p:nvSpPr>
        <p:spPr>
          <a:xfrm>
            <a:off x="2690143" y="5570669"/>
            <a:ext cx="360000" cy="360000"/>
          </a:xfrm>
          <a:prstGeom prst="chevron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86DFB784-47C5-4EDF-8FCA-116CE17BCA6B}"/>
              </a:ext>
            </a:extLst>
          </p:cNvPr>
          <p:cNvSpPr/>
          <p:nvPr/>
        </p:nvSpPr>
        <p:spPr>
          <a:xfrm>
            <a:off x="7353081" y="608605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5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E30887E6-B178-409B-8EF9-2E5F63FC93B1}"/>
              </a:ext>
            </a:extLst>
          </p:cNvPr>
          <p:cNvSpPr/>
          <p:nvPr/>
        </p:nvSpPr>
        <p:spPr>
          <a:xfrm>
            <a:off x="6201081" y="2419888"/>
            <a:ext cx="288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Dealing with limited logistics partners. </a:t>
            </a:r>
          </a:p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Long haul a major concern</a:t>
            </a: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440798CB-161D-4141-A233-A2BD91230B8E}"/>
              </a:ext>
            </a:extLst>
          </p:cNvPr>
          <p:cNvSpPr/>
          <p:nvPr/>
        </p:nvSpPr>
        <p:spPr>
          <a:xfrm>
            <a:off x="6201081" y="1232597"/>
            <a:ext cx="288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Discovering Logistics Partners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47C7C340-013C-4714-96E2-888A769D3B06}"/>
              </a:ext>
            </a:extLst>
          </p:cNvPr>
          <p:cNvSpPr/>
          <p:nvPr/>
        </p:nvSpPr>
        <p:spPr>
          <a:xfrm>
            <a:off x="6201081" y="3657507"/>
            <a:ext cx="2880000" cy="12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Existing rate contracts. No discovery of prices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11A8769C-EC94-458A-9039-FA20071AB429}"/>
              </a:ext>
            </a:extLst>
          </p:cNvPr>
          <p:cNvSpPr/>
          <p:nvPr/>
        </p:nvSpPr>
        <p:spPr>
          <a:xfrm>
            <a:off x="6201081" y="5027727"/>
            <a:ext cx="2880000" cy="159111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Multiple logistics partners with customized quote</a:t>
            </a:r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B1AF2CC2-2688-448B-BEB8-A607093DD1ED}"/>
              </a:ext>
            </a:extLst>
          </p:cNvPr>
          <p:cNvSpPr/>
          <p:nvPr/>
        </p:nvSpPr>
        <p:spPr>
          <a:xfrm>
            <a:off x="10367383" y="608602"/>
            <a:ext cx="576000" cy="576000"/>
          </a:xfrm>
          <a:prstGeom prst="ellipse">
            <a:avLst/>
          </a:prstGeom>
          <a:solidFill>
            <a:srgbClr val="0E5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b="1" dirty="0"/>
              <a:t>6</a:t>
            </a: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65378ECB-2229-4E11-8AE5-C75F09E5C69D}"/>
              </a:ext>
            </a:extLst>
          </p:cNvPr>
          <p:cNvSpPr/>
          <p:nvPr/>
        </p:nvSpPr>
        <p:spPr>
          <a:xfrm>
            <a:off x="9215383" y="2419885"/>
            <a:ext cx="2880000" cy="1075424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Unsecured Credit cost loaded in prices.</a:t>
            </a:r>
          </a:p>
          <a:p>
            <a:pPr algn="ctr"/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Unsecured loans are costly.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3BE33F7A-735A-45CA-8BBA-A779A610BA2A}"/>
              </a:ext>
            </a:extLst>
          </p:cNvPr>
          <p:cNvSpPr/>
          <p:nvPr/>
        </p:nvSpPr>
        <p:spPr>
          <a:xfrm>
            <a:off x="9215383" y="1232597"/>
            <a:ext cx="2880000" cy="1075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>
                <a:solidFill>
                  <a:schemeClr val="tx1"/>
                </a:solidFill>
                <a:latin typeface="72" panose="020B0503030000000003" pitchFamily="34" charset="0"/>
                <a:cs typeface="72" panose="020B0503030000000003" pitchFamily="34" charset="0"/>
              </a:rPr>
              <a:t>Working Capital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B8F1846A-F6FB-4054-A059-B59EB916CB84}"/>
              </a:ext>
            </a:extLst>
          </p:cNvPr>
          <p:cNvSpPr/>
          <p:nvPr/>
        </p:nvSpPr>
        <p:spPr>
          <a:xfrm>
            <a:off x="9215383" y="3657504"/>
            <a:ext cx="2880000" cy="12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Absence of Transaction based financ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Cost of borrowing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3505BC28-B615-4ADA-97AC-AD2021AB8936}"/>
              </a:ext>
            </a:extLst>
          </p:cNvPr>
          <p:cNvSpPr/>
          <p:nvPr/>
        </p:nvSpPr>
        <p:spPr>
          <a:xfrm>
            <a:off x="9215383" y="5027724"/>
            <a:ext cx="2880000" cy="159111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b="1" dirty="0">
                <a:solidFill>
                  <a:schemeClr val="bg1"/>
                </a:solidFill>
                <a:cs typeface="72" panose="020B0503030000000003" pitchFamily="34" charset="0"/>
              </a:rPr>
              <a:t>Multiple Banking &amp; NBFC offering OD, Invoice discounting, Channel </a:t>
            </a:r>
          </a:p>
        </p:txBody>
      </p:sp>
      <p:sp>
        <p:nvSpPr>
          <p:cNvPr id="156" name="Title 1">
            <a:extLst>
              <a:ext uri="{FF2B5EF4-FFF2-40B4-BE49-F238E27FC236}">
                <a16:creationId xmlns:a16="http://schemas.microsoft.com/office/drawing/2014/main" id="{1631ADAA-1FCC-44A4-B79E-1647DABF0D8C}"/>
              </a:ext>
            </a:extLst>
          </p:cNvPr>
          <p:cNvSpPr txBox="1">
            <a:spLocks/>
          </p:cNvSpPr>
          <p:nvPr/>
        </p:nvSpPr>
        <p:spPr>
          <a:xfrm>
            <a:off x="0" y="21999"/>
            <a:ext cx="12186282" cy="576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latin typeface="72 Condensed" panose="020B0506030000000003" pitchFamily="34" charset="0"/>
                <a:ea typeface="+mj-ea"/>
                <a:cs typeface="72 Condensed" panose="020B0506030000000003" pitchFamily="34" charset="0"/>
              </a:defRPr>
            </a:lvl1pPr>
          </a:lstStyle>
          <a:p>
            <a:r>
              <a:rPr lang="en-IN" dirty="0"/>
              <a:t>Bridging the Need-gap for MSMEs in the ecosystem</a:t>
            </a:r>
          </a:p>
        </p:txBody>
      </p:sp>
      <p:sp>
        <p:nvSpPr>
          <p:cNvPr id="157" name="Slide Number Placeholder 2">
            <a:extLst>
              <a:ext uri="{FF2B5EF4-FFF2-40B4-BE49-F238E27FC236}">
                <a16:creationId xmlns:a16="http://schemas.microsoft.com/office/drawing/2014/main" id="{06DBC812-F12C-4782-8241-99012A7534C2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178F17-F06C-4F34-BFCA-334660048B39}" type="slidenum">
              <a:rPr lang="en-IN" b="1" smtClean="0"/>
              <a:pPr algn="r"/>
              <a:t>4</a:t>
            </a:fld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079617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>
            <a:extLst>
              <a:ext uri="{FF2B5EF4-FFF2-40B4-BE49-F238E27FC236}">
                <a16:creationId xmlns:a16="http://schemas.microsoft.com/office/drawing/2014/main" id="{63B5861D-36FF-7D5C-89BD-1D8717B8C9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13" y="222250"/>
            <a:ext cx="1135697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INTEGRATED SOLUTION</a:t>
            </a:r>
          </a:p>
        </p:txBody>
      </p:sp>
      <p:grpSp>
        <p:nvGrpSpPr>
          <p:cNvPr id="29699" name="Group 4">
            <a:extLst>
              <a:ext uri="{FF2B5EF4-FFF2-40B4-BE49-F238E27FC236}">
                <a16:creationId xmlns:a16="http://schemas.microsoft.com/office/drawing/2014/main" id="{7B209404-CCD4-69B1-0CE6-2E3FAE64751A}"/>
              </a:ext>
            </a:extLst>
          </p:cNvPr>
          <p:cNvGrpSpPr>
            <a:grpSpLocks/>
          </p:cNvGrpSpPr>
          <p:nvPr/>
        </p:nvGrpSpPr>
        <p:grpSpPr bwMode="auto">
          <a:xfrm>
            <a:off x="8253413" y="1131888"/>
            <a:ext cx="3481387" cy="4289425"/>
            <a:chOff x="4758015" y="1431227"/>
            <a:chExt cx="3482253" cy="4288536"/>
          </a:xfrm>
        </p:grpSpPr>
        <p:sp>
          <p:nvSpPr>
            <p:cNvPr id="6" name="Freeform 23">
              <a:extLst>
                <a:ext uri="{FF2B5EF4-FFF2-40B4-BE49-F238E27FC236}">
                  <a16:creationId xmlns:a16="http://schemas.microsoft.com/office/drawing/2014/main" id="{DA3EC8DC-292C-A311-3F13-D43A93B63CC5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6096610" y="1431227"/>
              <a:ext cx="2143658" cy="4288536"/>
            </a:xfrm>
            <a:custGeom>
              <a:avLst/>
              <a:gdLst>
                <a:gd name="T0" fmla="*/ 3305 w 3305"/>
                <a:gd name="T1" fmla="*/ 6611 h 6611"/>
                <a:gd name="T2" fmla="*/ 0 w 3305"/>
                <a:gd name="T3" fmla="*/ 3305 h 6611"/>
                <a:gd name="T4" fmla="*/ 3305 w 3305"/>
                <a:gd name="T5" fmla="*/ 0 h 6611"/>
                <a:gd name="T6" fmla="*/ 3305 w 3305"/>
                <a:gd name="T7" fmla="*/ 496 h 6611"/>
                <a:gd name="T8" fmla="*/ 496 w 3305"/>
                <a:gd name="T9" fmla="*/ 3305 h 6611"/>
                <a:gd name="T10" fmla="*/ 3305 w 3305"/>
                <a:gd name="T11" fmla="*/ 6115 h 6611"/>
                <a:gd name="T12" fmla="*/ 3305 w 3305"/>
                <a:gd name="T13" fmla="*/ 6611 h 6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5" h="6611">
                  <a:moveTo>
                    <a:pt x="3305" y="6611"/>
                  </a:moveTo>
                  <a:cubicBezTo>
                    <a:pt x="1480" y="6611"/>
                    <a:pt x="0" y="5131"/>
                    <a:pt x="0" y="3305"/>
                  </a:cubicBezTo>
                  <a:cubicBezTo>
                    <a:pt x="0" y="1480"/>
                    <a:pt x="1480" y="0"/>
                    <a:pt x="3305" y="0"/>
                  </a:cubicBezTo>
                  <a:lnTo>
                    <a:pt x="3305" y="496"/>
                  </a:lnTo>
                  <a:cubicBezTo>
                    <a:pt x="1754" y="496"/>
                    <a:pt x="496" y="1754"/>
                    <a:pt x="496" y="3305"/>
                  </a:cubicBezTo>
                  <a:cubicBezTo>
                    <a:pt x="496" y="4857"/>
                    <a:pt x="1754" y="6115"/>
                    <a:pt x="3305" y="6115"/>
                  </a:cubicBezTo>
                  <a:lnTo>
                    <a:pt x="3305" y="6611"/>
                  </a:lnTo>
                  <a:close/>
                </a:path>
              </a:pathLst>
            </a:custGeom>
            <a:solidFill>
              <a:srgbClr val="0D95BC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 21">
              <a:extLst>
                <a:ext uri="{FF2B5EF4-FFF2-40B4-BE49-F238E27FC236}">
                  <a16:creationId xmlns:a16="http://schemas.microsoft.com/office/drawing/2014/main" id="{79471ABB-929C-0E11-6625-84580E885B79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5024781" y="1508998"/>
              <a:ext cx="3137680" cy="3888569"/>
            </a:xfrm>
            <a:custGeom>
              <a:avLst/>
              <a:gdLst>
                <a:gd name="T0" fmla="*/ 4837 w 4837"/>
                <a:gd name="T1" fmla="*/ 5083 h 5995"/>
                <a:gd name="T2" fmla="*/ 912 w 4837"/>
                <a:gd name="T3" fmla="*/ 4461 h 5995"/>
                <a:gd name="T4" fmla="*/ 1534 w 4837"/>
                <a:gd name="T5" fmla="*/ 536 h 5995"/>
                <a:gd name="T6" fmla="*/ 3185 w 4837"/>
                <a:gd name="T7" fmla="*/ 0 h 5995"/>
                <a:gd name="T8" fmla="*/ 3185 w 4837"/>
                <a:gd name="T9" fmla="*/ 496 h 5995"/>
                <a:gd name="T10" fmla="*/ 872 w 4837"/>
                <a:gd name="T11" fmla="*/ 2809 h 5995"/>
                <a:gd name="T12" fmla="*/ 3185 w 4837"/>
                <a:gd name="T13" fmla="*/ 5123 h 5995"/>
                <a:gd name="T14" fmla="*/ 4546 w 4837"/>
                <a:gd name="T15" fmla="*/ 4682 h 5995"/>
                <a:gd name="T16" fmla="*/ 4837 w 4837"/>
                <a:gd name="T17" fmla="*/ 5083 h 5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37" h="5995">
                  <a:moveTo>
                    <a:pt x="4837" y="5083"/>
                  </a:moveTo>
                  <a:cubicBezTo>
                    <a:pt x="3582" y="5995"/>
                    <a:pt x="1824" y="5716"/>
                    <a:pt x="912" y="4461"/>
                  </a:cubicBezTo>
                  <a:cubicBezTo>
                    <a:pt x="0" y="3206"/>
                    <a:pt x="278" y="1448"/>
                    <a:pt x="1534" y="536"/>
                  </a:cubicBezTo>
                  <a:cubicBezTo>
                    <a:pt x="2014" y="188"/>
                    <a:pt x="2592" y="0"/>
                    <a:pt x="3185" y="0"/>
                  </a:cubicBezTo>
                  <a:lnTo>
                    <a:pt x="3185" y="496"/>
                  </a:lnTo>
                  <a:cubicBezTo>
                    <a:pt x="1908" y="496"/>
                    <a:pt x="872" y="1532"/>
                    <a:pt x="872" y="2809"/>
                  </a:cubicBezTo>
                  <a:cubicBezTo>
                    <a:pt x="872" y="4087"/>
                    <a:pt x="1908" y="5123"/>
                    <a:pt x="3185" y="5123"/>
                  </a:cubicBezTo>
                  <a:cubicBezTo>
                    <a:pt x="3674" y="5123"/>
                    <a:pt x="4150" y="4969"/>
                    <a:pt x="4546" y="4682"/>
                  </a:cubicBezTo>
                  <a:lnTo>
                    <a:pt x="4837" y="5083"/>
                  </a:lnTo>
                  <a:close/>
                </a:path>
              </a:pathLst>
            </a:custGeom>
            <a:solidFill>
              <a:srgbClr val="F36F13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DAE4D82E-BE71-7BE6-4E41-E44BEAFC35B5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4758015" y="1862938"/>
              <a:ext cx="3050346" cy="3212434"/>
            </a:xfrm>
            <a:custGeom>
              <a:avLst/>
              <a:gdLst>
                <a:gd name="T0" fmla="*/ 4703 w 4703"/>
                <a:gd name="T1" fmla="*/ 3364 h 4955"/>
                <a:gd name="T2" fmla="*/ 1591 w 4703"/>
                <a:gd name="T3" fmla="*/ 4375 h 4955"/>
                <a:gd name="T4" fmla="*/ 580 w 4703"/>
                <a:gd name="T5" fmla="*/ 1263 h 4955"/>
                <a:gd name="T6" fmla="*/ 2641 w 4703"/>
                <a:gd name="T7" fmla="*/ 0 h 4955"/>
                <a:gd name="T8" fmla="*/ 2641 w 4703"/>
                <a:gd name="T9" fmla="*/ 495 h 4955"/>
                <a:gd name="T10" fmla="*/ 823 w 4703"/>
                <a:gd name="T11" fmla="*/ 2313 h 4955"/>
                <a:gd name="T12" fmla="*/ 2641 w 4703"/>
                <a:gd name="T13" fmla="*/ 4132 h 4955"/>
                <a:gd name="T14" fmla="*/ 4261 w 4703"/>
                <a:gd name="T15" fmla="*/ 3139 h 4955"/>
                <a:gd name="T16" fmla="*/ 4703 w 4703"/>
                <a:gd name="T17" fmla="*/ 3364 h 4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03" h="4955">
                  <a:moveTo>
                    <a:pt x="4703" y="3364"/>
                  </a:moveTo>
                  <a:cubicBezTo>
                    <a:pt x="4123" y="4503"/>
                    <a:pt x="2730" y="4955"/>
                    <a:pt x="1591" y="4375"/>
                  </a:cubicBezTo>
                  <a:cubicBezTo>
                    <a:pt x="452" y="3795"/>
                    <a:pt x="0" y="2402"/>
                    <a:pt x="580" y="1263"/>
                  </a:cubicBezTo>
                  <a:cubicBezTo>
                    <a:pt x="975" y="488"/>
                    <a:pt x="1771" y="0"/>
                    <a:pt x="2641" y="0"/>
                  </a:cubicBezTo>
                  <a:lnTo>
                    <a:pt x="2641" y="495"/>
                  </a:lnTo>
                  <a:cubicBezTo>
                    <a:pt x="1637" y="495"/>
                    <a:pt x="823" y="1309"/>
                    <a:pt x="823" y="2313"/>
                  </a:cubicBezTo>
                  <a:cubicBezTo>
                    <a:pt x="823" y="3318"/>
                    <a:pt x="1637" y="4132"/>
                    <a:pt x="2641" y="4132"/>
                  </a:cubicBezTo>
                  <a:cubicBezTo>
                    <a:pt x="3325" y="4132"/>
                    <a:pt x="3951" y="3748"/>
                    <a:pt x="4261" y="3139"/>
                  </a:cubicBezTo>
                  <a:lnTo>
                    <a:pt x="4703" y="3364"/>
                  </a:lnTo>
                  <a:close/>
                </a:path>
              </a:pathLst>
            </a:custGeom>
            <a:solidFill>
              <a:srgbClr val="002060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E743FFE2-002A-355A-FAD0-7AE66AFFE4B5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4915216" y="2396227"/>
              <a:ext cx="2359612" cy="2358536"/>
            </a:xfrm>
            <a:custGeom>
              <a:avLst/>
              <a:gdLst>
                <a:gd name="T0" fmla="*/ 3637 w 3637"/>
                <a:gd name="T1" fmla="*/ 1818 h 3637"/>
                <a:gd name="T2" fmla="*/ 1818 w 3637"/>
                <a:gd name="T3" fmla="*/ 3637 h 3637"/>
                <a:gd name="T4" fmla="*/ 0 w 3637"/>
                <a:gd name="T5" fmla="*/ 1818 h 3637"/>
                <a:gd name="T6" fmla="*/ 1818 w 3637"/>
                <a:gd name="T7" fmla="*/ 0 h 3637"/>
                <a:gd name="T8" fmla="*/ 1818 w 3637"/>
                <a:gd name="T9" fmla="*/ 496 h 3637"/>
                <a:gd name="T10" fmla="*/ 496 w 3637"/>
                <a:gd name="T11" fmla="*/ 1818 h 3637"/>
                <a:gd name="T12" fmla="*/ 1818 w 3637"/>
                <a:gd name="T13" fmla="*/ 3141 h 3637"/>
                <a:gd name="T14" fmla="*/ 3141 w 3637"/>
                <a:gd name="T15" fmla="*/ 1818 h 3637"/>
                <a:gd name="T16" fmla="*/ 3637 w 3637"/>
                <a:gd name="T17" fmla="*/ 1818 h 3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7" h="3637">
                  <a:moveTo>
                    <a:pt x="3637" y="1818"/>
                  </a:moveTo>
                  <a:cubicBezTo>
                    <a:pt x="3637" y="2823"/>
                    <a:pt x="2823" y="3637"/>
                    <a:pt x="1818" y="3637"/>
                  </a:cubicBezTo>
                  <a:cubicBezTo>
                    <a:pt x="814" y="3637"/>
                    <a:pt x="0" y="2823"/>
                    <a:pt x="0" y="1818"/>
                  </a:cubicBezTo>
                  <a:cubicBezTo>
                    <a:pt x="0" y="814"/>
                    <a:pt x="814" y="0"/>
                    <a:pt x="1818" y="0"/>
                  </a:cubicBezTo>
                  <a:lnTo>
                    <a:pt x="1818" y="496"/>
                  </a:lnTo>
                  <a:cubicBezTo>
                    <a:pt x="1088" y="496"/>
                    <a:pt x="496" y="1088"/>
                    <a:pt x="496" y="1818"/>
                  </a:cubicBezTo>
                  <a:cubicBezTo>
                    <a:pt x="496" y="2549"/>
                    <a:pt x="1088" y="3141"/>
                    <a:pt x="1818" y="3141"/>
                  </a:cubicBezTo>
                  <a:cubicBezTo>
                    <a:pt x="2549" y="3141"/>
                    <a:pt x="3141" y="2549"/>
                    <a:pt x="3141" y="1818"/>
                  </a:cubicBezTo>
                  <a:lnTo>
                    <a:pt x="3637" y="1818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28">
              <a:extLst>
                <a:ext uri="{FF2B5EF4-FFF2-40B4-BE49-F238E27FC236}">
                  <a16:creationId xmlns:a16="http://schemas.microsoft.com/office/drawing/2014/main" id="{07F1A99F-0619-525B-2B3B-FA83D0133953}"/>
                </a:ext>
              </a:extLst>
            </p:cNvPr>
            <p:cNvSpPr/>
            <p:nvPr/>
          </p:nvSpPr>
          <p:spPr>
            <a:xfrm>
              <a:off x="6095022" y="4402411"/>
              <a:ext cx="228657" cy="352352"/>
            </a:xfrm>
            <a:custGeom>
              <a:avLst/>
              <a:gdLst>
                <a:gd name="connsiteX0" fmla="*/ 228267 w 228267"/>
                <a:gd name="connsiteY0" fmla="*/ 0 h 352891"/>
                <a:gd name="connsiteX1" fmla="*/ 228267 w 228267"/>
                <a:gd name="connsiteY1" fmla="*/ 330366 h 352891"/>
                <a:gd name="connsiteX2" fmla="*/ 120538 w 228267"/>
                <a:gd name="connsiteY2" fmla="*/ 346805 h 352891"/>
                <a:gd name="connsiteX3" fmla="*/ 0 w 228267"/>
                <a:gd name="connsiteY3" fmla="*/ 352891 h 352891"/>
                <a:gd name="connsiteX4" fmla="*/ 0 w 228267"/>
                <a:gd name="connsiteY4" fmla="*/ 31677 h 352891"/>
                <a:gd name="connsiteX5" fmla="*/ 172869 w 228267"/>
                <a:gd name="connsiteY5" fmla="*/ 14246 h 352891"/>
                <a:gd name="connsiteX6" fmla="*/ 228267 w 228267"/>
                <a:gd name="connsiteY6" fmla="*/ 0 h 352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8267" h="352891">
                  <a:moveTo>
                    <a:pt x="228267" y="0"/>
                  </a:moveTo>
                  <a:lnTo>
                    <a:pt x="228267" y="330366"/>
                  </a:lnTo>
                  <a:lnTo>
                    <a:pt x="120538" y="346805"/>
                  </a:lnTo>
                  <a:lnTo>
                    <a:pt x="0" y="352891"/>
                  </a:lnTo>
                  <a:lnTo>
                    <a:pt x="0" y="31677"/>
                  </a:lnTo>
                  <a:cubicBezTo>
                    <a:pt x="59214" y="31677"/>
                    <a:pt x="117029" y="25675"/>
                    <a:pt x="172869" y="14246"/>
                  </a:cubicBezTo>
                  <a:lnTo>
                    <a:pt x="228267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29">
              <a:extLst>
                <a:ext uri="{FF2B5EF4-FFF2-40B4-BE49-F238E27FC236}">
                  <a16:creationId xmlns:a16="http://schemas.microsoft.com/office/drawing/2014/main" id="{40381DC9-92C2-74AE-9D9D-31C99BB569C8}"/>
                </a:ext>
              </a:extLst>
            </p:cNvPr>
            <p:cNvSpPr/>
            <p:nvPr/>
          </p:nvSpPr>
          <p:spPr>
            <a:xfrm>
              <a:off x="6095022" y="4732543"/>
              <a:ext cx="228657" cy="342829"/>
            </a:xfrm>
            <a:custGeom>
              <a:avLst/>
              <a:gdLst>
                <a:gd name="connsiteX0" fmla="*/ 228292 w 228292"/>
                <a:gd name="connsiteY0" fmla="*/ 0 h 342892"/>
                <a:gd name="connsiteX1" fmla="*/ 228292 w 228292"/>
                <a:gd name="connsiteY1" fmla="*/ 324039 h 342892"/>
                <a:gd name="connsiteX2" fmla="*/ 193028 w 228292"/>
                <a:gd name="connsiteY2" fmla="*/ 329424 h 342892"/>
                <a:gd name="connsiteX3" fmla="*/ 0 w 228292"/>
                <a:gd name="connsiteY3" fmla="*/ 342892 h 342892"/>
                <a:gd name="connsiteX4" fmla="*/ 0 w 228292"/>
                <a:gd name="connsiteY4" fmla="*/ 21893 h 342892"/>
                <a:gd name="connsiteX5" fmla="*/ 25 w 228292"/>
                <a:gd name="connsiteY5" fmla="*/ 21892 h 342892"/>
                <a:gd name="connsiteX6" fmla="*/ 25 w 228292"/>
                <a:gd name="connsiteY6" fmla="*/ 22521 h 342892"/>
                <a:gd name="connsiteX7" fmla="*/ 120641 w 228292"/>
                <a:gd name="connsiteY7" fmla="*/ 16430 h 342892"/>
                <a:gd name="connsiteX8" fmla="*/ 228292 w 228292"/>
                <a:gd name="connsiteY8" fmla="*/ 0 h 342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292" h="342892">
                  <a:moveTo>
                    <a:pt x="228292" y="0"/>
                  </a:moveTo>
                  <a:lnTo>
                    <a:pt x="228292" y="324039"/>
                  </a:lnTo>
                  <a:lnTo>
                    <a:pt x="193028" y="329424"/>
                  </a:lnTo>
                  <a:lnTo>
                    <a:pt x="0" y="342892"/>
                  </a:lnTo>
                  <a:lnTo>
                    <a:pt x="0" y="21893"/>
                  </a:lnTo>
                  <a:lnTo>
                    <a:pt x="25" y="21892"/>
                  </a:lnTo>
                  <a:lnTo>
                    <a:pt x="25" y="22521"/>
                  </a:lnTo>
                  <a:cubicBezTo>
                    <a:pt x="40745" y="22521"/>
                    <a:pt x="80983" y="20458"/>
                    <a:pt x="120641" y="16430"/>
                  </a:cubicBezTo>
                  <a:lnTo>
                    <a:pt x="228292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0">
              <a:extLst>
                <a:ext uri="{FF2B5EF4-FFF2-40B4-BE49-F238E27FC236}">
                  <a16:creationId xmlns:a16="http://schemas.microsoft.com/office/drawing/2014/main" id="{D2ADFBB4-A0E8-2318-66EF-97D74BF359C5}"/>
                </a:ext>
              </a:extLst>
            </p:cNvPr>
            <p:cNvSpPr/>
            <p:nvPr/>
          </p:nvSpPr>
          <p:spPr>
            <a:xfrm>
              <a:off x="6096610" y="5057912"/>
              <a:ext cx="227069" cy="339655"/>
            </a:xfrm>
            <a:custGeom>
              <a:avLst/>
              <a:gdLst>
                <a:gd name="connsiteX0" fmla="*/ 227459 w 227459"/>
                <a:gd name="connsiteY0" fmla="*/ 0 h 340627"/>
                <a:gd name="connsiteX1" fmla="*/ 227459 w 227459"/>
                <a:gd name="connsiteY1" fmla="*/ 324988 h 340627"/>
                <a:gd name="connsiteX2" fmla="*/ 164029 w 227459"/>
                <a:gd name="connsiteY2" fmla="*/ 332529 h 340627"/>
                <a:gd name="connsiteX3" fmla="*/ 17026 w 227459"/>
                <a:gd name="connsiteY3" fmla="*/ 339954 h 340627"/>
                <a:gd name="connsiteX4" fmla="*/ 0 w 227459"/>
                <a:gd name="connsiteY4" fmla="*/ 340627 h 340627"/>
                <a:gd name="connsiteX5" fmla="*/ 0 w 227459"/>
                <a:gd name="connsiteY5" fmla="*/ 18880 h 340627"/>
                <a:gd name="connsiteX6" fmla="*/ 153369 w 227459"/>
                <a:gd name="connsiteY6" fmla="*/ 11130 h 340627"/>
                <a:gd name="connsiteX7" fmla="*/ 192195 w 227459"/>
                <a:gd name="connsiteY7" fmla="*/ 5201 h 340627"/>
                <a:gd name="connsiteX8" fmla="*/ 208121 w 227459"/>
                <a:gd name="connsiteY8" fmla="*/ 4090 h 340627"/>
                <a:gd name="connsiteX9" fmla="*/ 227459 w 227459"/>
                <a:gd name="connsiteY9" fmla="*/ 0 h 34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459" h="340627">
                  <a:moveTo>
                    <a:pt x="227459" y="0"/>
                  </a:moveTo>
                  <a:lnTo>
                    <a:pt x="227459" y="324988"/>
                  </a:lnTo>
                  <a:lnTo>
                    <a:pt x="164029" y="332529"/>
                  </a:lnTo>
                  <a:lnTo>
                    <a:pt x="17026" y="339954"/>
                  </a:lnTo>
                  <a:lnTo>
                    <a:pt x="0" y="340627"/>
                  </a:lnTo>
                  <a:lnTo>
                    <a:pt x="0" y="18880"/>
                  </a:lnTo>
                  <a:cubicBezTo>
                    <a:pt x="51776" y="18880"/>
                    <a:pt x="102941" y="16255"/>
                    <a:pt x="153369" y="11130"/>
                  </a:cubicBezTo>
                  <a:lnTo>
                    <a:pt x="192195" y="5201"/>
                  </a:lnTo>
                  <a:lnTo>
                    <a:pt x="208121" y="4090"/>
                  </a:lnTo>
                  <a:lnTo>
                    <a:pt x="227459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BE893254-7A77-92C1-E736-F10E28CAF645}"/>
                </a:ext>
              </a:extLst>
            </p:cNvPr>
            <p:cNvSpPr/>
            <p:nvPr/>
          </p:nvSpPr>
          <p:spPr>
            <a:xfrm>
              <a:off x="6096610" y="5381695"/>
              <a:ext cx="227069" cy="338068"/>
            </a:xfrm>
            <a:custGeom>
              <a:avLst/>
              <a:gdLst>
                <a:gd name="connsiteX0" fmla="*/ 227798 w 227798"/>
                <a:gd name="connsiteY0" fmla="*/ 0 h 337498"/>
                <a:gd name="connsiteX1" fmla="*/ 227798 w 227798"/>
                <a:gd name="connsiteY1" fmla="*/ 325116 h 337498"/>
                <a:gd name="connsiteX2" fmla="*/ 219207 w 227798"/>
                <a:gd name="connsiteY2" fmla="*/ 326427 h 337498"/>
                <a:gd name="connsiteX3" fmla="*/ 0 w 227798"/>
                <a:gd name="connsiteY3" fmla="*/ 337498 h 337498"/>
                <a:gd name="connsiteX4" fmla="*/ 0 w 227798"/>
                <a:gd name="connsiteY4" fmla="*/ 15745 h 337498"/>
                <a:gd name="connsiteX5" fmla="*/ 17365 w 227798"/>
                <a:gd name="connsiteY5" fmla="*/ 14868 h 337498"/>
                <a:gd name="connsiteX6" fmla="*/ 144036 w 227798"/>
                <a:gd name="connsiteY6" fmla="*/ 9860 h 337498"/>
                <a:gd name="connsiteX7" fmla="*/ 164368 w 227798"/>
                <a:gd name="connsiteY7" fmla="*/ 7443 h 337498"/>
                <a:gd name="connsiteX8" fmla="*/ 186297 w 227798"/>
                <a:gd name="connsiteY8" fmla="*/ 6335 h 337498"/>
                <a:gd name="connsiteX9" fmla="*/ 227798 w 227798"/>
                <a:gd name="connsiteY9" fmla="*/ 0 h 33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798" h="337498">
                  <a:moveTo>
                    <a:pt x="227798" y="0"/>
                  </a:moveTo>
                  <a:lnTo>
                    <a:pt x="227798" y="325116"/>
                  </a:lnTo>
                  <a:lnTo>
                    <a:pt x="219207" y="326427"/>
                  </a:lnTo>
                  <a:cubicBezTo>
                    <a:pt x="147132" y="333748"/>
                    <a:pt x="74003" y="337498"/>
                    <a:pt x="0" y="337498"/>
                  </a:cubicBezTo>
                  <a:lnTo>
                    <a:pt x="0" y="15745"/>
                  </a:lnTo>
                  <a:lnTo>
                    <a:pt x="17365" y="14868"/>
                  </a:lnTo>
                  <a:lnTo>
                    <a:pt x="144036" y="9860"/>
                  </a:lnTo>
                  <a:lnTo>
                    <a:pt x="164368" y="7443"/>
                  </a:lnTo>
                  <a:lnTo>
                    <a:pt x="186297" y="6335"/>
                  </a:lnTo>
                  <a:lnTo>
                    <a:pt x="227798" y="0"/>
                  </a:lnTo>
                  <a:close/>
                </a:path>
              </a:pathLst>
            </a:custGeom>
            <a:solidFill>
              <a:sysClr val="windowText" lastClr="000000">
                <a:alpha val="30000"/>
              </a:sysClr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D16283A-1C84-0FD8-6AF0-542EB6028DE9}"/>
                </a:ext>
              </a:extLst>
            </p:cNvPr>
            <p:cNvSpPr/>
            <p:nvPr/>
          </p:nvSpPr>
          <p:spPr>
            <a:xfrm>
              <a:off x="5531319" y="3010462"/>
              <a:ext cx="1128994" cy="1130066"/>
            </a:xfrm>
            <a:prstGeom prst="ellipse">
              <a:avLst/>
            </a:prstGeom>
            <a:solidFill>
              <a:srgbClr val="EBCB38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425">
              <a:extLst>
                <a:ext uri="{FF2B5EF4-FFF2-40B4-BE49-F238E27FC236}">
                  <a16:creationId xmlns:a16="http://schemas.microsoft.com/office/drawing/2014/main" id="{5D956B56-7351-8CE2-5B97-906EC3866685}"/>
                </a:ext>
              </a:extLst>
            </p:cNvPr>
            <p:cNvSpPr/>
            <p:nvPr/>
          </p:nvSpPr>
          <p:spPr>
            <a:xfrm>
              <a:off x="5723455" y="3234253"/>
              <a:ext cx="743135" cy="693593"/>
            </a:xfrm>
            <a:custGeom>
              <a:avLst/>
              <a:gdLst>
                <a:gd name="connsiteX0" fmla="*/ 169590 w 540885"/>
                <a:gd name="connsiteY0" fmla="*/ 270443 h 504826"/>
                <a:gd name="connsiteX1" fmla="*/ 181704 w 540885"/>
                <a:gd name="connsiteY1" fmla="*/ 276500 h 504826"/>
                <a:gd name="connsiteX2" fmla="*/ 202269 w 540885"/>
                <a:gd name="connsiteY2" fmla="*/ 290022 h 504826"/>
                <a:gd name="connsiteX3" fmla="*/ 232412 w 540885"/>
                <a:gd name="connsiteY3" fmla="*/ 303544 h 504826"/>
                <a:gd name="connsiteX4" fmla="*/ 270443 w 540885"/>
                <a:gd name="connsiteY4" fmla="*/ 309601 h 504826"/>
                <a:gd name="connsiteX5" fmla="*/ 308473 w 540885"/>
                <a:gd name="connsiteY5" fmla="*/ 303544 h 504826"/>
                <a:gd name="connsiteX6" fmla="*/ 338617 w 540885"/>
                <a:gd name="connsiteY6" fmla="*/ 290022 h 504826"/>
                <a:gd name="connsiteX7" fmla="*/ 359181 w 540885"/>
                <a:gd name="connsiteY7" fmla="*/ 276500 h 504826"/>
                <a:gd name="connsiteX8" fmla="*/ 371295 w 540885"/>
                <a:gd name="connsiteY8" fmla="*/ 270443 h 504826"/>
                <a:gd name="connsiteX9" fmla="*/ 402705 w 540885"/>
                <a:gd name="connsiteY9" fmla="*/ 276077 h 504826"/>
                <a:gd name="connsiteX10" fmla="*/ 426792 w 540885"/>
                <a:gd name="connsiteY10" fmla="*/ 291149 h 504826"/>
                <a:gd name="connsiteX11" fmla="*/ 444258 w 540885"/>
                <a:gd name="connsiteY11" fmla="*/ 313967 h 504826"/>
                <a:gd name="connsiteX12" fmla="*/ 456371 w 540885"/>
                <a:gd name="connsiteY12" fmla="*/ 341434 h 504826"/>
                <a:gd name="connsiteX13" fmla="*/ 463837 w 540885"/>
                <a:gd name="connsiteY13" fmla="*/ 372000 h 504826"/>
                <a:gd name="connsiteX14" fmla="*/ 467781 w 540885"/>
                <a:gd name="connsiteY14" fmla="*/ 402706 h 504826"/>
                <a:gd name="connsiteX15" fmla="*/ 468767 w 540885"/>
                <a:gd name="connsiteY15" fmla="*/ 431863 h 504826"/>
                <a:gd name="connsiteX16" fmla="*/ 448202 w 540885"/>
                <a:gd name="connsiteY16" fmla="*/ 485247 h 504826"/>
                <a:gd name="connsiteX17" fmla="*/ 393550 w 540885"/>
                <a:gd name="connsiteY17" fmla="*/ 504826 h 504826"/>
                <a:gd name="connsiteX18" fmla="*/ 147335 w 540885"/>
                <a:gd name="connsiteY18" fmla="*/ 504826 h 504826"/>
                <a:gd name="connsiteX19" fmla="*/ 92683 w 540885"/>
                <a:gd name="connsiteY19" fmla="*/ 485247 h 504826"/>
                <a:gd name="connsiteX20" fmla="*/ 72118 w 540885"/>
                <a:gd name="connsiteY20" fmla="*/ 431863 h 504826"/>
                <a:gd name="connsiteX21" fmla="*/ 73104 w 540885"/>
                <a:gd name="connsiteY21" fmla="*/ 402706 h 504826"/>
                <a:gd name="connsiteX22" fmla="*/ 77049 w 540885"/>
                <a:gd name="connsiteY22" fmla="*/ 372000 h 504826"/>
                <a:gd name="connsiteX23" fmla="*/ 84514 w 540885"/>
                <a:gd name="connsiteY23" fmla="*/ 341434 h 504826"/>
                <a:gd name="connsiteX24" fmla="*/ 96628 w 540885"/>
                <a:gd name="connsiteY24" fmla="*/ 313967 h 504826"/>
                <a:gd name="connsiteX25" fmla="*/ 114093 w 540885"/>
                <a:gd name="connsiteY25" fmla="*/ 291149 h 504826"/>
                <a:gd name="connsiteX26" fmla="*/ 138180 w 540885"/>
                <a:gd name="connsiteY26" fmla="*/ 276077 h 504826"/>
                <a:gd name="connsiteX27" fmla="*/ 169590 w 540885"/>
                <a:gd name="connsiteY27" fmla="*/ 270443 h 504826"/>
                <a:gd name="connsiteX28" fmla="*/ 505953 w 540885"/>
                <a:gd name="connsiteY28" fmla="*/ 144237 h 504826"/>
                <a:gd name="connsiteX29" fmla="*/ 540885 w 540885"/>
                <a:gd name="connsiteY29" fmla="*/ 243680 h 504826"/>
                <a:gd name="connsiteX30" fmla="*/ 525109 w 540885"/>
                <a:gd name="connsiteY30" fmla="*/ 277063 h 504826"/>
                <a:gd name="connsiteX31" fmla="*/ 486233 w 540885"/>
                <a:gd name="connsiteY31" fmla="*/ 288472 h 504826"/>
                <a:gd name="connsiteX32" fmla="*/ 448484 w 540885"/>
                <a:gd name="connsiteY32" fmla="*/ 288472 h 504826"/>
                <a:gd name="connsiteX33" fmla="*/ 373830 w 540885"/>
                <a:gd name="connsiteY33" fmla="*/ 252413 h 504826"/>
                <a:gd name="connsiteX34" fmla="*/ 396649 w 540885"/>
                <a:gd name="connsiteY34" fmla="*/ 180296 h 504826"/>
                <a:gd name="connsiteX35" fmla="*/ 395240 w 540885"/>
                <a:gd name="connsiteY35" fmla="*/ 161703 h 504826"/>
                <a:gd name="connsiteX36" fmla="*/ 432708 w 540885"/>
                <a:gd name="connsiteY36" fmla="*/ 168182 h 504826"/>
                <a:gd name="connsiteX37" fmla="*/ 466231 w 540885"/>
                <a:gd name="connsiteY37" fmla="*/ 162125 h 504826"/>
                <a:gd name="connsiteX38" fmla="*/ 493698 w 540885"/>
                <a:gd name="connsiteY38" fmla="*/ 150153 h 504826"/>
                <a:gd name="connsiteX39" fmla="*/ 505953 w 540885"/>
                <a:gd name="connsiteY39" fmla="*/ 144237 h 504826"/>
                <a:gd name="connsiteX40" fmla="*/ 34932 w 540885"/>
                <a:gd name="connsiteY40" fmla="*/ 144237 h 504826"/>
                <a:gd name="connsiteX41" fmla="*/ 47187 w 540885"/>
                <a:gd name="connsiteY41" fmla="*/ 150153 h 504826"/>
                <a:gd name="connsiteX42" fmla="*/ 74653 w 540885"/>
                <a:gd name="connsiteY42" fmla="*/ 162125 h 504826"/>
                <a:gd name="connsiteX43" fmla="*/ 108176 w 540885"/>
                <a:gd name="connsiteY43" fmla="*/ 168182 h 504826"/>
                <a:gd name="connsiteX44" fmla="*/ 145644 w 540885"/>
                <a:gd name="connsiteY44" fmla="*/ 161703 h 504826"/>
                <a:gd name="connsiteX45" fmla="*/ 144235 w 540885"/>
                <a:gd name="connsiteY45" fmla="*/ 180296 h 504826"/>
                <a:gd name="connsiteX46" fmla="*/ 167054 w 540885"/>
                <a:gd name="connsiteY46" fmla="*/ 252413 h 504826"/>
                <a:gd name="connsiteX47" fmla="*/ 92401 w 540885"/>
                <a:gd name="connsiteY47" fmla="*/ 288472 h 504826"/>
                <a:gd name="connsiteX48" fmla="*/ 54652 w 540885"/>
                <a:gd name="connsiteY48" fmla="*/ 288472 h 504826"/>
                <a:gd name="connsiteX49" fmla="*/ 15776 w 540885"/>
                <a:gd name="connsiteY49" fmla="*/ 277063 h 504826"/>
                <a:gd name="connsiteX50" fmla="*/ 0 w 540885"/>
                <a:gd name="connsiteY50" fmla="*/ 243680 h 504826"/>
                <a:gd name="connsiteX51" fmla="*/ 34932 w 540885"/>
                <a:gd name="connsiteY51" fmla="*/ 144237 h 504826"/>
                <a:gd name="connsiteX52" fmla="*/ 270442 w 540885"/>
                <a:gd name="connsiteY52" fmla="*/ 72119 h 504826"/>
                <a:gd name="connsiteX53" fmla="*/ 346926 w 540885"/>
                <a:gd name="connsiteY53" fmla="*/ 103811 h 504826"/>
                <a:gd name="connsiteX54" fmla="*/ 378619 w 540885"/>
                <a:gd name="connsiteY54" fmla="*/ 180296 h 504826"/>
                <a:gd name="connsiteX55" fmla="*/ 346926 w 540885"/>
                <a:gd name="connsiteY55" fmla="*/ 256780 h 504826"/>
                <a:gd name="connsiteX56" fmla="*/ 270442 w 540885"/>
                <a:gd name="connsiteY56" fmla="*/ 288472 h 504826"/>
                <a:gd name="connsiteX57" fmla="*/ 193957 w 540885"/>
                <a:gd name="connsiteY57" fmla="*/ 256780 h 504826"/>
                <a:gd name="connsiteX58" fmla="*/ 162265 w 540885"/>
                <a:gd name="connsiteY58" fmla="*/ 180296 h 504826"/>
                <a:gd name="connsiteX59" fmla="*/ 193957 w 540885"/>
                <a:gd name="connsiteY59" fmla="*/ 103811 h 504826"/>
                <a:gd name="connsiteX60" fmla="*/ 270442 w 540885"/>
                <a:gd name="connsiteY60" fmla="*/ 72119 h 504826"/>
                <a:gd name="connsiteX61" fmla="*/ 432707 w 540885"/>
                <a:gd name="connsiteY61" fmla="*/ 0 h 504826"/>
                <a:gd name="connsiteX62" fmla="*/ 483697 w 540885"/>
                <a:gd name="connsiteY62" fmla="*/ 21128 h 504826"/>
                <a:gd name="connsiteX63" fmla="*/ 504825 w 540885"/>
                <a:gd name="connsiteY63" fmla="*/ 72118 h 504826"/>
                <a:gd name="connsiteX64" fmla="*/ 483697 w 540885"/>
                <a:gd name="connsiteY64" fmla="*/ 123108 h 504826"/>
                <a:gd name="connsiteX65" fmla="*/ 432707 w 540885"/>
                <a:gd name="connsiteY65" fmla="*/ 144236 h 504826"/>
                <a:gd name="connsiteX66" fmla="*/ 381717 w 540885"/>
                <a:gd name="connsiteY66" fmla="*/ 123108 h 504826"/>
                <a:gd name="connsiteX67" fmla="*/ 360589 w 540885"/>
                <a:gd name="connsiteY67" fmla="*/ 72118 h 504826"/>
                <a:gd name="connsiteX68" fmla="*/ 381717 w 540885"/>
                <a:gd name="connsiteY68" fmla="*/ 21128 h 504826"/>
                <a:gd name="connsiteX69" fmla="*/ 432707 w 540885"/>
                <a:gd name="connsiteY69" fmla="*/ 0 h 504826"/>
                <a:gd name="connsiteX70" fmla="*/ 108176 w 540885"/>
                <a:gd name="connsiteY70" fmla="*/ 0 h 504826"/>
                <a:gd name="connsiteX71" fmla="*/ 159167 w 540885"/>
                <a:gd name="connsiteY71" fmla="*/ 21128 h 504826"/>
                <a:gd name="connsiteX72" fmla="*/ 180295 w 540885"/>
                <a:gd name="connsiteY72" fmla="*/ 72118 h 504826"/>
                <a:gd name="connsiteX73" fmla="*/ 159167 w 540885"/>
                <a:gd name="connsiteY73" fmla="*/ 123108 h 504826"/>
                <a:gd name="connsiteX74" fmla="*/ 108176 w 540885"/>
                <a:gd name="connsiteY74" fmla="*/ 144236 h 504826"/>
                <a:gd name="connsiteX75" fmla="*/ 57187 w 540885"/>
                <a:gd name="connsiteY75" fmla="*/ 123108 h 504826"/>
                <a:gd name="connsiteX76" fmla="*/ 36059 w 540885"/>
                <a:gd name="connsiteY76" fmla="*/ 72118 h 504826"/>
                <a:gd name="connsiteX77" fmla="*/ 57187 w 540885"/>
                <a:gd name="connsiteY77" fmla="*/ 21128 h 504826"/>
                <a:gd name="connsiteX78" fmla="*/ 108176 w 540885"/>
                <a:gd name="connsiteY78" fmla="*/ 0 h 504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40885" h="504826">
                  <a:moveTo>
                    <a:pt x="169590" y="270443"/>
                  </a:moveTo>
                  <a:cubicBezTo>
                    <a:pt x="171469" y="270443"/>
                    <a:pt x="175506" y="272462"/>
                    <a:pt x="181704" y="276500"/>
                  </a:cubicBezTo>
                  <a:cubicBezTo>
                    <a:pt x="187902" y="280538"/>
                    <a:pt x="194757" y="285045"/>
                    <a:pt x="202269" y="290022"/>
                  </a:cubicBezTo>
                  <a:cubicBezTo>
                    <a:pt x="209781" y="294999"/>
                    <a:pt x="219829" y="299506"/>
                    <a:pt x="232412" y="303544"/>
                  </a:cubicBezTo>
                  <a:cubicBezTo>
                    <a:pt x="244995" y="307582"/>
                    <a:pt x="257673" y="309601"/>
                    <a:pt x="270443" y="309601"/>
                  </a:cubicBezTo>
                  <a:cubicBezTo>
                    <a:pt x="283214" y="309601"/>
                    <a:pt x="295891" y="307582"/>
                    <a:pt x="308473" y="303544"/>
                  </a:cubicBezTo>
                  <a:cubicBezTo>
                    <a:pt x="321057" y="299506"/>
                    <a:pt x="331105" y="294999"/>
                    <a:pt x="338617" y="290022"/>
                  </a:cubicBezTo>
                  <a:cubicBezTo>
                    <a:pt x="346129" y="285045"/>
                    <a:pt x="352983" y="280538"/>
                    <a:pt x="359181" y="276500"/>
                  </a:cubicBezTo>
                  <a:cubicBezTo>
                    <a:pt x="365379" y="272462"/>
                    <a:pt x="369418" y="270443"/>
                    <a:pt x="371295" y="270443"/>
                  </a:cubicBezTo>
                  <a:cubicBezTo>
                    <a:pt x="382751" y="270443"/>
                    <a:pt x="393222" y="272321"/>
                    <a:pt x="402705" y="276077"/>
                  </a:cubicBezTo>
                  <a:cubicBezTo>
                    <a:pt x="412191" y="279833"/>
                    <a:pt x="420218" y="284857"/>
                    <a:pt x="426792" y="291149"/>
                  </a:cubicBezTo>
                  <a:cubicBezTo>
                    <a:pt x="433365" y="297440"/>
                    <a:pt x="439187" y="305046"/>
                    <a:pt x="444258" y="313967"/>
                  </a:cubicBezTo>
                  <a:cubicBezTo>
                    <a:pt x="449329" y="322888"/>
                    <a:pt x="453367" y="332044"/>
                    <a:pt x="456371" y="341434"/>
                  </a:cubicBezTo>
                  <a:cubicBezTo>
                    <a:pt x="459376" y="350824"/>
                    <a:pt x="461865" y="361013"/>
                    <a:pt x="463837" y="372000"/>
                  </a:cubicBezTo>
                  <a:cubicBezTo>
                    <a:pt x="465809" y="382986"/>
                    <a:pt x="467124" y="393222"/>
                    <a:pt x="467781" y="402706"/>
                  </a:cubicBezTo>
                  <a:cubicBezTo>
                    <a:pt x="468438" y="412190"/>
                    <a:pt x="468767" y="421909"/>
                    <a:pt x="468767" y="431863"/>
                  </a:cubicBezTo>
                  <a:cubicBezTo>
                    <a:pt x="468767" y="454400"/>
                    <a:pt x="461912" y="472195"/>
                    <a:pt x="448202" y="485247"/>
                  </a:cubicBezTo>
                  <a:cubicBezTo>
                    <a:pt x="434492" y="498300"/>
                    <a:pt x="416275" y="504826"/>
                    <a:pt x="393550" y="504826"/>
                  </a:cubicBezTo>
                  <a:lnTo>
                    <a:pt x="147335" y="504826"/>
                  </a:lnTo>
                  <a:cubicBezTo>
                    <a:pt x="124611" y="504826"/>
                    <a:pt x="106393" y="498300"/>
                    <a:pt x="92683" y="485247"/>
                  </a:cubicBezTo>
                  <a:cubicBezTo>
                    <a:pt x="78974" y="472195"/>
                    <a:pt x="72118" y="454400"/>
                    <a:pt x="72118" y="431863"/>
                  </a:cubicBezTo>
                  <a:cubicBezTo>
                    <a:pt x="72118" y="421909"/>
                    <a:pt x="72447" y="412190"/>
                    <a:pt x="73104" y="402706"/>
                  </a:cubicBezTo>
                  <a:cubicBezTo>
                    <a:pt x="73761" y="393222"/>
                    <a:pt x="75077" y="382986"/>
                    <a:pt x="77049" y="372000"/>
                  </a:cubicBezTo>
                  <a:cubicBezTo>
                    <a:pt x="79021" y="361013"/>
                    <a:pt x="81510" y="350824"/>
                    <a:pt x="84514" y="341434"/>
                  </a:cubicBezTo>
                  <a:cubicBezTo>
                    <a:pt x="87519" y="332044"/>
                    <a:pt x="91556" y="322888"/>
                    <a:pt x="96628" y="313967"/>
                  </a:cubicBezTo>
                  <a:cubicBezTo>
                    <a:pt x="101698" y="305046"/>
                    <a:pt x="107521" y="297440"/>
                    <a:pt x="114093" y="291149"/>
                  </a:cubicBezTo>
                  <a:cubicBezTo>
                    <a:pt x="120667" y="284857"/>
                    <a:pt x="128696" y="279833"/>
                    <a:pt x="138180" y="276077"/>
                  </a:cubicBezTo>
                  <a:cubicBezTo>
                    <a:pt x="147664" y="272321"/>
                    <a:pt x="158135" y="270443"/>
                    <a:pt x="169590" y="270443"/>
                  </a:cubicBezTo>
                  <a:close/>
                  <a:moveTo>
                    <a:pt x="505953" y="144237"/>
                  </a:moveTo>
                  <a:cubicBezTo>
                    <a:pt x="529241" y="144237"/>
                    <a:pt x="540885" y="177385"/>
                    <a:pt x="540885" y="243680"/>
                  </a:cubicBezTo>
                  <a:cubicBezTo>
                    <a:pt x="540885" y="258329"/>
                    <a:pt x="535626" y="269457"/>
                    <a:pt x="525109" y="277063"/>
                  </a:cubicBezTo>
                  <a:cubicBezTo>
                    <a:pt x="514592" y="284669"/>
                    <a:pt x="501634" y="288472"/>
                    <a:pt x="486233" y="288472"/>
                  </a:cubicBezTo>
                  <a:lnTo>
                    <a:pt x="448484" y="288472"/>
                  </a:lnTo>
                  <a:cubicBezTo>
                    <a:pt x="429140" y="265372"/>
                    <a:pt x="404256" y="253353"/>
                    <a:pt x="373830" y="252413"/>
                  </a:cubicBezTo>
                  <a:cubicBezTo>
                    <a:pt x="389043" y="230440"/>
                    <a:pt x="396649" y="206401"/>
                    <a:pt x="396649" y="180296"/>
                  </a:cubicBezTo>
                  <a:cubicBezTo>
                    <a:pt x="396649" y="174849"/>
                    <a:pt x="396179" y="168652"/>
                    <a:pt x="395240" y="161703"/>
                  </a:cubicBezTo>
                  <a:cubicBezTo>
                    <a:pt x="407636" y="166022"/>
                    <a:pt x="420125" y="168182"/>
                    <a:pt x="432708" y="168182"/>
                  </a:cubicBezTo>
                  <a:cubicBezTo>
                    <a:pt x="443789" y="168182"/>
                    <a:pt x="454964" y="166163"/>
                    <a:pt x="466231" y="162125"/>
                  </a:cubicBezTo>
                  <a:cubicBezTo>
                    <a:pt x="477500" y="158087"/>
                    <a:pt x="486655" y="154097"/>
                    <a:pt x="493698" y="150153"/>
                  </a:cubicBezTo>
                  <a:cubicBezTo>
                    <a:pt x="500742" y="146209"/>
                    <a:pt x="504826" y="144237"/>
                    <a:pt x="505953" y="144237"/>
                  </a:cubicBezTo>
                  <a:close/>
                  <a:moveTo>
                    <a:pt x="34932" y="144237"/>
                  </a:moveTo>
                  <a:cubicBezTo>
                    <a:pt x="36059" y="144237"/>
                    <a:pt x="40144" y="146209"/>
                    <a:pt x="47187" y="150153"/>
                  </a:cubicBezTo>
                  <a:cubicBezTo>
                    <a:pt x="54229" y="154097"/>
                    <a:pt x="63384" y="158087"/>
                    <a:pt x="74653" y="162125"/>
                  </a:cubicBezTo>
                  <a:cubicBezTo>
                    <a:pt x="85921" y="166163"/>
                    <a:pt x="97096" y="168182"/>
                    <a:pt x="108176" y="168182"/>
                  </a:cubicBezTo>
                  <a:cubicBezTo>
                    <a:pt x="120760" y="168182"/>
                    <a:pt x="133249" y="166022"/>
                    <a:pt x="145644" y="161703"/>
                  </a:cubicBezTo>
                  <a:cubicBezTo>
                    <a:pt x="144705" y="168652"/>
                    <a:pt x="144235" y="174849"/>
                    <a:pt x="144235" y="180296"/>
                  </a:cubicBezTo>
                  <a:cubicBezTo>
                    <a:pt x="144235" y="206401"/>
                    <a:pt x="151841" y="230440"/>
                    <a:pt x="167054" y="252413"/>
                  </a:cubicBezTo>
                  <a:cubicBezTo>
                    <a:pt x="136630" y="253353"/>
                    <a:pt x="111745" y="265372"/>
                    <a:pt x="92401" y="288472"/>
                  </a:cubicBezTo>
                  <a:lnTo>
                    <a:pt x="54652" y="288472"/>
                  </a:lnTo>
                  <a:cubicBezTo>
                    <a:pt x="39251" y="288472"/>
                    <a:pt x="26293" y="284669"/>
                    <a:pt x="15776" y="277063"/>
                  </a:cubicBezTo>
                  <a:cubicBezTo>
                    <a:pt x="5259" y="269457"/>
                    <a:pt x="0" y="258329"/>
                    <a:pt x="0" y="243680"/>
                  </a:cubicBezTo>
                  <a:cubicBezTo>
                    <a:pt x="0" y="177385"/>
                    <a:pt x="11644" y="144237"/>
                    <a:pt x="34932" y="144237"/>
                  </a:cubicBezTo>
                  <a:close/>
                  <a:moveTo>
                    <a:pt x="270442" y="72119"/>
                  </a:moveTo>
                  <a:cubicBezTo>
                    <a:pt x="300303" y="72119"/>
                    <a:pt x="325799" y="82683"/>
                    <a:pt x="346926" y="103811"/>
                  </a:cubicBezTo>
                  <a:cubicBezTo>
                    <a:pt x="368054" y="124940"/>
                    <a:pt x="378619" y="150434"/>
                    <a:pt x="378619" y="180296"/>
                  </a:cubicBezTo>
                  <a:cubicBezTo>
                    <a:pt x="378619" y="210157"/>
                    <a:pt x="368054" y="235652"/>
                    <a:pt x="346926" y="256780"/>
                  </a:cubicBezTo>
                  <a:cubicBezTo>
                    <a:pt x="325799" y="277908"/>
                    <a:pt x="300303" y="288472"/>
                    <a:pt x="270442" y="288472"/>
                  </a:cubicBezTo>
                  <a:cubicBezTo>
                    <a:pt x="240580" y="288472"/>
                    <a:pt x="215085" y="277908"/>
                    <a:pt x="193957" y="256780"/>
                  </a:cubicBezTo>
                  <a:cubicBezTo>
                    <a:pt x="172829" y="235652"/>
                    <a:pt x="162265" y="210157"/>
                    <a:pt x="162265" y="180296"/>
                  </a:cubicBezTo>
                  <a:cubicBezTo>
                    <a:pt x="162265" y="150434"/>
                    <a:pt x="172829" y="124940"/>
                    <a:pt x="193957" y="103811"/>
                  </a:cubicBezTo>
                  <a:cubicBezTo>
                    <a:pt x="215085" y="82683"/>
                    <a:pt x="240580" y="72119"/>
                    <a:pt x="270442" y="72119"/>
                  </a:cubicBezTo>
                  <a:close/>
                  <a:moveTo>
                    <a:pt x="432707" y="0"/>
                  </a:moveTo>
                  <a:cubicBezTo>
                    <a:pt x="452615" y="0"/>
                    <a:pt x="469611" y="7043"/>
                    <a:pt x="483697" y="21128"/>
                  </a:cubicBezTo>
                  <a:cubicBezTo>
                    <a:pt x="497783" y="35214"/>
                    <a:pt x="504825" y="52210"/>
                    <a:pt x="504825" y="72118"/>
                  </a:cubicBezTo>
                  <a:cubicBezTo>
                    <a:pt x="504825" y="92025"/>
                    <a:pt x="497783" y="109022"/>
                    <a:pt x="483697" y="123108"/>
                  </a:cubicBezTo>
                  <a:cubicBezTo>
                    <a:pt x="469611" y="137193"/>
                    <a:pt x="452615" y="144236"/>
                    <a:pt x="432707" y="144236"/>
                  </a:cubicBezTo>
                  <a:cubicBezTo>
                    <a:pt x="412800" y="144236"/>
                    <a:pt x="395803" y="137193"/>
                    <a:pt x="381717" y="123108"/>
                  </a:cubicBezTo>
                  <a:cubicBezTo>
                    <a:pt x="367632" y="109022"/>
                    <a:pt x="360589" y="92025"/>
                    <a:pt x="360589" y="72118"/>
                  </a:cubicBezTo>
                  <a:cubicBezTo>
                    <a:pt x="360589" y="52210"/>
                    <a:pt x="367632" y="35214"/>
                    <a:pt x="381717" y="21128"/>
                  </a:cubicBezTo>
                  <a:cubicBezTo>
                    <a:pt x="395803" y="7043"/>
                    <a:pt x="412800" y="0"/>
                    <a:pt x="432707" y="0"/>
                  </a:cubicBezTo>
                  <a:close/>
                  <a:moveTo>
                    <a:pt x="108176" y="0"/>
                  </a:moveTo>
                  <a:cubicBezTo>
                    <a:pt x="128085" y="0"/>
                    <a:pt x="145080" y="7043"/>
                    <a:pt x="159167" y="21128"/>
                  </a:cubicBezTo>
                  <a:cubicBezTo>
                    <a:pt x="173252" y="35214"/>
                    <a:pt x="180295" y="52210"/>
                    <a:pt x="180295" y="72118"/>
                  </a:cubicBezTo>
                  <a:cubicBezTo>
                    <a:pt x="180295" y="92025"/>
                    <a:pt x="173252" y="109022"/>
                    <a:pt x="159167" y="123108"/>
                  </a:cubicBezTo>
                  <a:cubicBezTo>
                    <a:pt x="145080" y="137193"/>
                    <a:pt x="128085" y="144236"/>
                    <a:pt x="108176" y="144236"/>
                  </a:cubicBezTo>
                  <a:cubicBezTo>
                    <a:pt x="88270" y="144236"/>
                    <a:pt x="71272" y="137193"/>
                    <a:pt x="57187" y="123108"/>
                  </a:cubicBezTo>
                  <a:cubicBezTo>
                    <a:pt x="43102" y="109022"/>
                    <a:pt x="36059" y="92025"/>
                    <a:pt x="36059" y="72118"/>
                  </a:cubicBezTo>
                  <a:cubicBezTo>
                    <a:pt x="36059" y="52210"/>
                    <a:pt x="43102" y="35214"/>
                    <a:pt x="57187" y="21128"/>
                  </a:cubicBezTo>
                  <a:cubicBezTo>
                    <a:pt x="71272" y="7043"/>
                    <a:pt x="88270" y="0"/>
                    <a:pt x="108176" y="0"/>
                  </a:cubicBezTo>
                  <a:close/>
                </a:path>
              </a:pathLst>
            </a:custGeom>
            <a:solidFill>
              <a:srgbClr val="EBCB38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4B2BA4C3-C6D0-360E-F8A7-2E360036D516}"/>
              </a:ext>
            </a:extLst>
          </p:cNvPr>
          <p:cNvSpPr txBox="1"/>
          <p:nvPr/>
        </p:nvSpPr>
        <p:spPr>
          <a:xfrm>
            <a:off x="6484938" y="5038725"/>
            <a:ext cx="2936875" cy="369888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D95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der reac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AE41CF-8387-52D0-9603-759F9C18D542}"/>
              </a:ext>
            </a:extLst>
          </p:cNvPr>
          <p:cNvSpPr txBox="1"/>
          <p:nvPr/>
        </p:nvSpPr>
        <p:spPr>
          <a:xfrm>
            <a:off x="6484938" y="4716463"/>
            <a:ext cx="2936875" cy="369887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36F1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mediate &amp; Credit Pay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579B98-A500-E985-D93C-F30CEECE37D3}"/>
              </a:ext>
            </a:extLst>
          </p:cNvPr>
          <p:cNvSpPr txBox="1"/>
          <p:nvPr/>
        </p:nvSpPr>
        <p:spPr>
          <a:xfrm>
            <a:off x="6484938" y="4394200"/>
            <a:ext cx="2936875" cy="369888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 to High volume order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CE4593-454D-1074-6F40-D55D34C96515}"/>
              </a:ext>
            </a:extLst>
          </p:cNvPr>
          <p:cNvSpPr txBox="1"/>
          <p:nvPr/>
        </p:nvSpPr>
        <p:spPr>
          <a:xfrm>
            <a:off x="6484938" y="4071938"/>
            <a:ext cx="2936875" cy="369887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ple Partn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A15B8FA-4FCF-E38C-4E30-0145AA33D93E}"/>
              </a:ext>
            </a:extLst>
          </p:cNvPr>
          <p:cNvSpPr txBox="1"/>
          <p:nvPr/>
        </p:nvSpPr>
        <p:spPr>
          <a:xfrm>
            <a:off x="161925" y="4256088"/>
            <a:ext cx="4783138" cy="646112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3E0022-CC8F-20D2-8A62-F681530252F0}"/>
              </a:ext>
            </a:extLst>
          </p:cNvPr>
          <p:cNvSpPr txBox="1"/>
          <p:nvPr/>
        </p:nvSpPr>
        <p:spPr>
          <a:xfrm>
            <a:off x="96838" y="3138488"/>
            <a:ext cx="4022725" cy="646112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STIC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D3B3A9-9AF0-667B-F9E9-FB5445C42419}"/>
              </a:ext>
            </a:extLst>
          </p:cNvPr>
          <p:cNvSpPr txBox="1"/>
          <p:nvPr/>
        </p:nvSpPr>
        <p:spPr>
          <a:xfrm>
            <a:off x="534988" y="2020888"/>
            <a:ext cx="4291012" cy="646112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36F1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AC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FFFC573-5A4A-405A-8C1A-708681ABB59D}"/>
              </a:ext>
            </a:extLst>
          </p:cNvPr>
          <p:cNvSpPr txBox="1"/>
          <p:nvPr/>
        </p:nvSpPr>
        <p:spPr>
          <a:xfrm>
            <a:off x="1222375" y="903288"/>
            <a:ext cx="5872163" cy="646112"/>
          </a:xfrm>
          <a:prstGeom prst="rect">
            <a:avLst/>
          </a:prstGeom>
          <a:noFill/>
        </p:spPr>
        <p:txBody>
          <a:bodyPr lIns="0" r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D95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&amp; PRICE DISCOVERY</a:t>
            </a:r>
          </a:p>
        </p:txBody>
      </p:sp>
      <p:cxnSp>
        <p:nvCxnSpPr>
          <p:cNvPr id="29708" name="Straight Connector 31">
            <a:extLst>
              <a:ext uri="{FF2B5EF4-FFF2-40B4-BE49-F238E27FC236}">
                <a16:creationId xmlns:a16="http://schemas.microsoft.com/office/drawing/2014/main" id="{BCA59143-814A-77AC-B45A-3A9E636E8F3D}"/>
              </a:ext>
            </a:extLst>
          </p:cNvPr>
          <p:cNvCxnSpPr>
            <a:cxnSpLocks/>
          </p:cNvCxnSpPr>
          <p:nvPr/>
        </p:nvCxnSpPr>
        <p:spPr bwMode="auto">
          <a:xfrm>
            <a:off x="7437438" y="1257300"/>
            <a:ext cx="2020887" cy="0"/>
          </a:xfrm>
          <a:prstGeom prst="line">
            <a:avLst/>
          </a:prstGeom>
          <a:noFill/>
          <a:ln w="6350" algn="ctr">
            <a:solidFill>
              <a:srgbClr val="0D95BC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09" name="Connector: Elbow 62">
            <a:extLst>
              <a:ext uri="{FF2B5EF4-FFF2-40B4-BE49-F238E27FC236}">
                <a16:creationId xmlns:a16="http://schemas.microsoft.com/office/drawing/2014/main" id="{F4CBFB12-CD99-4379-91D6-DB42099C527D}"/>
              </a:ext>
            </a:extLst>
          </p:cNvPr>
          <p:cNvCxnSpPr>
            <a:cxnSpLocks/>
            <a:endCxn id="7" idx="0"/>
          </p:cNvCxnSpPr>
          <p:nvPr/>
        </p:nvCxnSpPr>
        <p:spPr bwMode="auto">
          <a:xfrm flipV="1">
            <a:off x="4959350" y="1801813"/>
            <a:ext cx="3560763" cy="590550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F36F13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10" name="Connector: Elbow 64">
            <a:extLst>
              <a:ext uri="{FF2B5EF4-FFF2-40B4-BE49-F238E27FC236}">
                <a16:creationId xmlns:a16="http://schemas.microsoft.com/office/drawing/2014/main" id="{632BB58B-8CBD-86DC-C977-F4AAF4D26B15}"/>
              </a:ext>
            </a:extLst>
          </p:cNvPr>
          <p:cNvCxnSpPr>
            <a:cxnSpLocks/>
            <a:endCxn id="8" idx="0"/>
          </p:cNvCxnSpPr>
          <p:nvPr/>
        </p:nvCxnSpPr>
        <p:spPr bwMode="auto">
          <a:xfrm flipV="1">
            <a:off x="4287838" y="2595563"/>
            <a:ext cx="3965575" cy="833437"/>
          </a:xfrm>
          <a:prstGeom prst="bentConnector3">
            <a:avLst>
              <a:gd name="adj1" fmla="val 50000"/>
            </a:avLst>
          </a:prstGeom>
          <a:noFill/>
          <a:ln w="6350" algn="ctr">
            <a:solidFill>
              <a:srgbClr val="00206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11" name="Connector: Elbow 66">
            <a:extLst>
              <a:ext uri="{FF2B5EF4-FFF2-40B4-BE49-F238E27FC236}">
                <a16:creationId xmlns:a16="http://schemas.microsoft.com/office/drawing/2014/main" id="{39499810-ED41-1B6E-D65F-A23FC2FD223F}"/>
              </a:ext>
            </a:extLst>
          </p:cNvPr>
          <p:cNvCxnSpPr>
            <a:cxnSpLocks/>
            <a:endCxn id="9" idx="0"/>
          </p:cNvCxnSpPr>
          <p:nvPr/>
        </p:nvCxnSpPr>
        <p:spPr bwMode="auto">
          <a:xfrm flipV="1">
            <a:off x="4445000" y="3276600"/>
            <a:ext cx="3965575" cy="1323975"/>
          </a:xfrm>
          <a:prstGeom prst="bentConnector3">
            <a:avLst>
              <a:gd name="adj1" fmla="val 56032"/>
            </a:avLst>
          </a:prstGeom>
          <a:noFill/>
          <a:ln w="6350" algn="ctr">
            <a:solidFill>
              <a:srgbClr val="00B05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CBE5DDC-AFEC-6546-E918-04F1694A9D94}"/>
              </a:ext>
            </a:extLst>
          </p:cNvPr>
          <p:cNvSpPr/>
          <p:nvPr/>
        </p:nvSpPr>
        <p:spPr>
          <a:xfrm>
            <a:off x="130175" y="5564188"/>
            <a:ext cx="11995150" cy="1147762"/>
          </a:xfrm>
          <a:prstGeom prst="roundRect">
            <a:avLst>
              <a:gd name="adj" fmla="val 15030"/>
            </a:avLst>
          </a:prstGeom>
          <a:solidFill>
            <a:schemeClr val="accent5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MARKETPLACE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 for the Industrial, Construction, and Engineering Goods,</a:t>
            </a:r>
            <a:r>
              <a: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 whe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Seller Diversity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is ensured   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|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   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Seller Quality and Trust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is ensured   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|   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Liquidity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 is ensured for trading on credit terms through 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Unsecured Working Capital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facility   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|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   Order fulfilment </a:t>
            </a: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through </a:t>
            </a: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Logistic 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" panose="020B0503030000000003" pitchFamily="34" charset="0"/>
              </a:rPr>
              <a:t>services</a:t>
            </a:r>
          </a:p>
        </p:txBody>
      </p:sp>
      <p:sp>
        <p:nvSpPr>
          <p:cNvPr id="29713" name="Slide Number Placeholder 2">
            <a:extLst>
              <a:ext uri="{FF2B5EF4-FFF2-40B4-BE49-F238E27FC236}">
                <a16:creationId xmlns:a16="http://schemas.microsoft.com/office/drawing/2014/main" id="{61264295-A8EF-569F-F15A-7C48C8BF61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AD24E0-D3E4-4998-BE3C-0B6FA58C1CCC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DFB0C8-028A-49D7-06DB-116716E2C927}"/>
              </a:ext>
            </a:extLst>
          </p:cNvPr>
          <p:cNvSpPr/>
          <p:nvPr/>
        </p:nvSpPr>
        <p:spPr>
          <a:xfrm>
            <a:off x="4664075" y="4802188"/>
            <a:ext cx="2624138" cy="1651000"/>
          </a:xfrm>
          <a:prstGeom prst="rect">
            <a:avLst/>
          </a:prstGeom>
          <a:noFill/>
          <a:ln w="19050">
            <a:solidFill>
              <a:srgbClr val="00B050"/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solidFill>
                  <a:prstClr val="black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4FED5B3E-83B5-FE2F-B397-5D3F1906D3A9}"/>
              </a:ext>
            </a:extLst>
          </p:cNvPr>
          <p:cNvGrpSpPr/>
          <p:nvPr/>
        </p:nvGrpSpPr>
        <p:grpSpPr>
          <a:xfrm>
            <a:off x="271465" y="171450"/>
            <a:ext cx="790575" cy="742950"/>
            <a:chOff x="11182350" y="171450"/>
            <a:chExt cx="790575" cy="742950"/>
          </a:xfrm>
          <a:noFill/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981A0CE0-DFFD-B8C4-56A5-FEA974CC1E48}"/>
                </a:ext>
              </a:extLst>
            </p:cNvPr>
            <p:cNvSpPr/>
            <p:nvPr/>
          </p:nvSpPr>
          <p:spPr>
            <a:xfrm>
              <a:off x="11182350" y="171450"/>
              <a:ext cx="742950" cy="7429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Right Triangle 170">
              <a:extLst>
                <a:ext uri="{FF2B5EF4-FFF2-40B4-BE49-F238E27FC236}">
                  <a16:creationId xmlns:a16="http://schemas.microsoft.com/office/drawing/2014/main" id="{91B58896-373C-2971-42BD-5D4936DD5B39}"/>
                </a:ext>
              </a:extLst>
            </p:cNvPr>
            <p:cNvSpPr/>
            <p:nvPr/>
          </p:nvSpPr>
          <p:spPr>
            <a:xfrm>
              <a:off x="11925300" y="1714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ight Triangle 172">
              <a:extLst>
                <a:ext uri="{FF2B5EF4-FFF2-40B4-BE49-F238E27FC236}">
                  <a16:creationId xmlns:a16="http://schemas.microsoft.com/office/drawing/2014/main" id="{C830302B-694D-BA80-14C5-88821F835866}"/>
                </a:ext>
              </a:extLst>
            </p:cNvPr>
            <p:cNvSpPr/>
            <p:nvPr/>
          </p:nvSpPr>
          <p:spPr>
            <a:xfrm flipV="1">
              <a:off x="11925300" y="8191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724" name="TextBox 4">
            <a:extLst>
              <a:ext uri="{FF2B5EF4-FFF2-40B4-BE49-F238E27FC236}">
                <a16:creationId xmlns:a16="http://schemas.microsoft.com/office/drawing/2014/main" id="{19C3D996-36B1-7CFF-5154-959937BC1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538" y="50800"/>
            <a:ext cx="11072812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Diverse Spectrum of over 45+ Product Categories</a:t>
            </a:r>
            <a:endParaRPr kumimoji="0" lang="id-ID" altLang="en-US" sz="3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Condensed" panose="020B0506030000000003" pitchFamily="34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E9B1C240-8F6D-826A-E586-2B345E69B4F1}"/>
              </a:ext>
            </a:extLst>
          </p:cNvPr>
          <p:cNvSpPr txBox="1"/>
          <p:nvPr/>
        </p:nvSpPr>
        <p:spPr>
          <a:xfrm>
            <a:off x="303213" y="1474788"/>
            <a:ext cx="3511550" cy="192405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kumimoji="0" sz="17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72 Light" panose="020B0303030000000003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Automotive Spares &amp; Par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Bearings &amp; Expansion J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Bolts, Nuts &amp; Fasten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Industrial Cleaning Chemica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Lubricants &amp; Oi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Safety Mater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Welding Consumables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D0C2AFB-979D-9CDF-5580-6B8558ADB047}"/>
              </a:ext>
            </a:extLst>
          </p:cNvPr>
          <p:cNvSpPr txBox="1"/>
          <p:nvPr/>
        </p:nvSpPr>
        <p:spPr>
          <a:xfrm>
            <a:off x="319088" y="4264025"/>
            <a:ext cx="3511550" cy="244792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kumimoji="0" sz="17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72 Light" panose="020B0303030000000003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Cable &amp; Accesso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Conducto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Electrical Equipment &amp;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Electronics, IT &amp; Robot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Insulators &amp; Hardware Fitting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Luminaires &amp; Other Electrical Item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Solar Equipment &amp; Pan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Switchgear, Relay &amp; Contactor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6855F46-4ED2-38D2-87A8-3D8E5F2A357B}"/>
              </a:ext>
            </a:extLst>
          </p:cNvPr>
          <p:cNvSpPr txBox="1"/>
          <p:nvPr/>
        </p:nvSpPr>
        <p:spPr>
          <a:xfrm>
            <a:off x="4343400" y="2116138"/>
            <a:ext cx="3509963" cy="244633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kumimoji="0" sz="17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72 Light" panose="020B0303030000000003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Adhesives &amp; Seala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Granite, Marble &amp; Ti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Masonry Blocks &amp; Brick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aints &amp; Related Mater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ipes &amp; Fitting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lumbing Tools &amp; Accesso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Sanitary Ware &amp; CP Fitting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Wood &amp; Lamin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MS &amp; GI wir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8CD47DB-2B33-1E0C-A788-FEFBD9DCF8C4}"/>
              </a:ext>
            </a:extLst>
          </p:cNvPr>
          <p:cNvSpPr txBox="1"/>
          <p:nvPr/>
        </p:nvSpPr>
        <p:spPr>
          <a:xfrm>
            <a:off x="8362950" y="1646238"/>
            <a:ext cx="3511550" cy="3230562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Hydraul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Lab Equipment &amp;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Material Handling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Measuring and Testing Instru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Mechanical Equi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neumatics &amp; Pum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ower Too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Textile Machine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Tools &amp; Accesso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Construction Machine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Cranes &amp; Hoist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4BE76A6-A2D4-6BD7-B425-EF423C58F5A9}"/>
              </a:ext>
            </a:extLst>
          </p:cNvPr>
          <p:cNvSpPr txBox="1"/>
          <p:nvPr/>
        </p:nvSpPr>
        <p:spPr>
          <a:xfrm>
            <a:off x="8362950" y="5895975"/>
            <a:ext cx="3511550" cy="61436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kumimoji="0" sz="17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72 Light" panose="020B0303030000000003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Office Suppl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72 Light" panose="020B0303030000000003" pitchFamily="34" charset="0"/>
              </a:rPr>
              <a:t>Packaging Material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95E2797-0D7B-9A1F-E854-96F3D3976973}"/>
              </a:ext>
            </a:extLst>
          </p:cNvPr>
          <p:cNvSpPr txBox="1"/>
          <p:nvPr/>
        </p:nvSpPr>
        <p:spPr>
          <a:xfrm>
            <a:off x="8362950" y="904875"/>
            <a:ext cx="3511550" cy="6159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Machinery, Tools &amp; Mechanical Equipment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454DC12-2D7C-E392-1003-FCEC1D2589A4}"/>
              </a:ext>
            </a:extLst>
          </p:cNvPr>
          <p:cNvSpPr txBox="1"/>
          <p:nvPr/>
        </p:nvSpPr>
        <p:spPr>
          <a:xfrm>
            <a:off x="8362950" y="5154613"/>
            <a:ext cx="3511550" cy="61436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Packaging, Printing and Office supplie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667516B2-1CF7-C5F9-47DB-B13AABBC709E}"/>
              </a:ext>
            </a:extLst>
          </p:cNvPr>
          <p:cNvSpPr txBox="1"/>
          <p:nvPr/>
        </p:nvSpPr>
        <p:spPr>
          <a:xfrm>
            <a:off x="319088" y="3519488"/>
            <a:ext cx="3511550" cy="61436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Electrical &amp; Electronic Equipment &amp; Supplies 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8A952D9-59A0-1261-2212-455F94035B57}"/>
              </a:ext>
            </a:extLst>
          </p:cNvPr>
          <p:cNvSpPr txBox="1"/>
          <p:nvPr/>
        </p:nvSpPr>
        <p:spPr>
          <a:xfrm>
            <a:off x="303213" y="747713"/>
            <a:ext cx="3511550" cy="6159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Industrial Supplies and Consumables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8B4F432B-5824-B135-AF98-CCC0A6062125}"/>
              </a:ext>
            </a:extLst>
          </p:cNvPr>
          <p:cNvSpPr txBox="1"/>
          <p:nvPr/>
        </p:nvSpPr>
        <p:spPr>
          <a:xfrm>
            <a:off x="4340225" y="1423988"/>
            <a:ext cx="3513138" cy="6159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7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72" panose="020B0503030000000003" pitchFamily="34" charset="0"/>
                <a:ea typeface="+mn-ea"/>
                <a:cs typeface="72" panose="020B0503030000000003" pitchFamily="34" charset="0"/>
              </a:rPr>
              <a:t>Building and Construction Materials</a:t>
            </a:r>
          </a:p>
        </p:txBody>
      </p:sp>
      <p:sp>
        <p:nvSpPr>
          <p:cNvPr id="30735" name="Slide Number Placeholder 2">
            <a:extLst>
              <a:ext uri="{FF2B5EF4-FFF2-40B4-BE49-F238E27FC236}">
                <a16:creationId xmlns:a16="http://schemas.microsoft.com/office/drawing/2014/main" id="{8329AAE1-E76B-E926-ED93-7644ECCC0A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41CCA49-DBD6-4548-B6F6-D52DAF2BB166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hlinkClick r:id="rId2"/>
            <a:extLst>
              <a:ext uri="{FF2B5EF4-FFF2-40B4-BE49-F238E27FC236}">
                <a16:creationId xmlns:a16="http://schemas.microsoft.com/office/drawing/2014/main" id="{AE639077-BD2C-C6F2-75CB-D6BA1AB0C748}"/>
              </a:ext>
            </a:extLst>
          </p:cNvPr>
          <p:cNvSpPr/>
          <p:nvPr/>
        </p:nvSpPr>
        <p:spPr>
          <a:xfrm>
            <a:off x="10509182" y="39204"/>
            <a:ext cx="1643062" cy="43497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-Categories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37" name="TextBox 206">
            <a:extLst>
              <a:ext uri="{FF2B5EF4-FFF2-40B4-BE49-F238E27FC236}">
                <a16:creationId xmlns:a16="http://schemas.microsoft.com/office/drawing/2014/main" id="{B8603C44-0810-7E9B-A1F8-15419415A4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2363" y="5895975"/>
            <a:ext cx="221456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,30,000+ SKUs</a:t>
            </a:r>
            <a:endParaRPr kumimoji="0" lang="en-US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0" name="Picture 14" descr="Industrial products icon Images, Stock Photos &amp;amp; Vectors | Shutterstock">
            <a:extLst>
              <a:ext uri="{FF2B5EF4-FFF2-40B4-BE49-F238E27FC236}">
                <a16:creationId xmlns:a16="http://schemas.microsoft.com/office/drawing/2014/main" id="{3B1FBE15-0A5B-4B5B-CDA3-AFF1C7D662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2104" t="7897" r="4538" b="14654"/>
          <a:stretch/>
        </p:blipFill>
        <p:spPr bwMode="auto">
          <a:xfrm>
            <a:off x="5531686" y="4841259"/>
            <a:ext cx="1016535" cy="1008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73A2CC-1931-6C61-F94B-B78471315BF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CE30292C-3495-910D-EF81-92B73CB61192}"/>
              </a:ext>
            </a:extLst>
          </p:cNvPr>
          <p:cNvGrpSpPr/>
          <p:nvPr/>
        </p:nvGrpSpPr>
        <p:grpSpPr>
          <a:xfrm>
            <a:off x="271465" y="171450"/>
            <a:ext cx="790575" cy="742950"/>
            <a:chOff x="11182350" y="171450"/>
            <a:chExt cx="790575" cy="742950"/>
          </a:xfrm>
          <a:noFill/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A19783C9-38E4-7481-9F86-39995C909F32}"/>
                </a:ext>
              </a:extLst>
            </p:cNvPr>
            <p:cNvSpPr/>
            <p:nvPr/>
          </p:nvSpPr>
          <p:spPr>
            <a:xfrm>
              <a:off x="11182350" y="171450"/>
              <a:ext cx="742950" cy="7429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Right Triangle 170">
              <a:extLst>
                <a:ext uri="{FF2B5EF4-FFF2-40B4-BE49-F238E27FC236}">
                  <a16:creationId xmlns:a16="http://schemas.microsoft.com/office/drawing/2014/main" id="{685678E1-DD62-E5A3-8314-86E2B6BA69DE}"/>
                </a:ext>
              </a:extLst>
            </p:cNvPr>
            <p:cNvSpPr/>
            <p:nvPr/>
          </p:nvSpPr>
          <p:spPr>
            <a:xfrm>
              <a:off x="11925300" y="1714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ight Triangle 172">
              <a:extLst>
                <a:ext uri="{FF2B5EF4-FFF2-40B4-BE49-F238E27FC236}">
                  <a16:creationId xmlns:a16="http://schemas.microsoft.com/office/drawing/2014/main" id="{9BDE622F-29AC-56DD-BAD0-644EBC0FF73C}"/>
                </a:ext>
              </a:extLst>
            </p:cNvPr>
            <p:cNvSpPr/>
            <p:nvPr/>
          </p:nvSpPr>
          <p:spPr>
            <a:xfrm flipV="1">
              <a:off x="11925300" y="8191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820" name="TextBox 4">
            <a:extLst>
              <a:ext uri="{FF2B5EF4-FFF2-40B4-BE49-F238E27FC236}">
                <a16:creationId xmlns:a16="http://schemas.microsoft.com/office/drawing/2014/main" id="{23EEDA22-8329-277A-789A-5D30BB44DD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188" y="130175"/>
            <a:ext cx="11074400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Brief Specifications of the Product is displayed</a:t>
            </a:r>
            <a:endParaRPr kumimoji="0" lang="id-ID" altLang="en-US" sz="3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Condensed" panose="020B0506030000000003" pitchFamily="34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34821" name="Slide Number Placeholder 2">
            <a:extLst>
              <a:ext uri="{FF2B5EF4-FFF2-40B4-BE49-F238E27FC236}">
                <a16:creationId xmlns:a16="http://schemas.microsoft.com/office/drawing/2014/main" id="{7A2157FB-3066-D869-DCC5-1914146DC6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3BD864-7BB9-4B24-8D57-67280C6DBDEC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0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FD27AD6-3041-1B25-F6E5-93BE5EE1A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7" b="50000"/>
          <a:stretch>
            <a:fillRect/>
          </a:stretch>
        </p:blipFill>
        <p:spPr bwMode="auto">
          <a:xfrm>
            <a:off x="365125" y="792163"/>
            <a:ext cx="11461750" cy="548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BD29E4D-4999-A683-5A5C-B6278B732651}"/>
              </a:ext>
            </a:extLst>
          </p:cNvPr>
          <p:cNvSpPr/>
          <p:nvPr/>
        </p:nvSpPr>
        <p:spPr>
          <a:xfrm>
            <a:off x="26988" y="0"/>
            <a:ext cx="12192000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67AA5294-EE29-89D1-4A06-A4EB364ED396}"/>
              </a:ext>
            </a:extLst>
          </p:cNvPr>
          <p:cNvGrpSpPr/>
          <p:nvPr/>
        </p:nvGrpSpPr>
        <p:grpSpPr>
          <a:xfrm>
            <a:off x="271465" y="171450"/>
            <a:ext cx="790575" cy="742950"/>
            <a:chOff x="11182350" y="171450"/>
            <a:chExt cx="790575" cy="742950"/>
          </a:xfrm>
          <a:noFill/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8220FA85-CA3D-CEAA-04FC-9E0527E9D1E6}"/>
                </a:ext>
              </a:extLst>
            </p:cNvPr>
            <p:cNvSpPr/>
            <p:nvPr/>
          </p:nvSpPr>
          <p:spPr>
            <a:xfrm>
              <a:off x="11182350" y="171450"/>
              <a:ext cx="742950" cy="7429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Right Triangle 170">
              <a:extLst>
                <a:ext uri="{FF2B5EF4-FFF2-40B4-BE49-F238E27FC236}">
                  <a16:creationId xmlns:a16="http://schemas.microsoft.com/office/drawing/2014/main" id="{9EAD97C8-F463-D078-D49F-C13C909B276D}"/>
                </a:ext>
              </a:extLst>
            </p:cNvPr>
            <p:cNvSpPr/>
            <p:nvPr/>
          </p:nvSpPr>
          <p:spPr>
            <a:xfrm>
              <a:off x="11925300" y="1714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ight Triangle 172">
              <a:extLst>
                <a:ext uri="{FF2B5EF4-FFF2-40B4-BE49-F238E27FC236}">
                  <a16:creationId xmlns:a16="http://schemas.microsoft.com/office/drawing/2014/main" id="{2202DB2F-F6B1-1B25-C4DE-5BB9FCDD4922}"/>
                </a:ext>
              </a:extLst>
            </p:cNvPr>
            <p:cNvSpPr/>
            <p:nvPr/>
          </p:nvSpPr>
          <p:spPr>
            <a:xfrm flipV="1">
              <a:off x="11925300" y="819150"/>
              <a:ext cx="47625" cy="9525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772" name="TextBox 4">
            <a:extLst>
              <a:ext uri="{FF2B5EF4-FFF2-40B4-BE49-F238E27FC236}">
                <a16:creationId xmlns:a16="http://schemas.microsoft.com/office/drawing/2014/main" id="{71226F31-DF9B-E881-FA22-7FDD06FF7B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188" y="130175"/>
            <a:ext cx="11074400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Brief Specifications of the Product is displayed</a:t>
            </a:r>
            <a:endParaRPr kumimoji="0" lang="id-ID" altLang="en-US" sz="3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72 Condensed" panose="020B0506030000000003" pitchFamily="34" charset="0"/>
              <a:ea typeface="+mn-ea"/>
              <a:cs typeface="72 Condensed" panose="020B0506030000000003" pitchFamily="34" charset="0"/>
            </a:endParaRPr>
          </a:p>
        </p:txBody>
      </p:sp>
      <p:sp>
        <p:nvSpPr>
          <p:cNvPr id="32773" name="Slide Number Placeholder 2">
            <a:extLst>
              <a:ext uri="{FF2B5EF4-FFF2-40B4-BE49-F238E27FC236}">
                <a16:creationId xmlns:a16="http://schemas.microsoft.com/office/drawing/2014/main" id="{896A82EE-FF42-7B98-C4FB-44DC115156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7F886A-348C-4D0B-AD3D-565D632AC869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B78C7BA-2EB6-3E8A-6646-7D7C790CD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0" y="796925"/>
            <a:ext cx="11968163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5">
            <a:extLst>
              <a:ext uri="{FF2B5EF4-FFF2-40B4-BE49-F238E27FC236}">
                <a16:creationId xmlns:a16="http://schemas.microsoft.com/office/drawing/2014/main" id="{F0891BF2-FA3D-7568-BC9D-A947293D4670}"/>
              </a:ext>
            </a:extLst>
          </p:cNvPr>
          <p:cNvSpPr/>
          <p:nvPr/>
        </p:nvSpPr>
        <p:spPr>
          <a:xfrm>
            <a:off x="-23813" y="0"/>
            <a:ext cx="12203113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9993 w 12201993"/>
              <a:gd name="connsiteY0" fmla="*/ 0 h 6858000"/>
              <a:gd name="connsiteX1" fmla="*/ 12201993 w 12201993"/>
              <a:gd name="connsiteY1" fmla="*/ 0 h 6858000"/>
              <a:gd name="connsiteX2" fmla="*/ 0 w 12201993"/>
              <a:gd name="connsiteY2" fmla="*/ 6093501 h 6858000"/>
              <a:gd name="connsiteX3" fmla="*/ 9993 w 12201993"/>
              <a:gd name="connsiteY3" fmla="*/ 6858000 h 6858000"/>
              <a:gd name="connsiteX4" fmla="*/ 9993 w 1220199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1993" h="6858000">
                <a:moveTo>
                  <a:pt x="9993" y="0"/>
                </a:moveTo>
                <a:lnTo>
                  <a:pt x="12201993" y="0"/>
                </a:lnTo>
                <a:lnTo>
                  <a:pt x="0" y="6093501"/>
                </a:lnTo>
                <a:lnTo>
                  <a:pt x="9993" y="6858000"/>
                </a:lnTo>
                <a:lnTo>
                  <a:pt x="999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843" name="Title 1">
            <a:extLst>
              <a:ext uri="{FF2B5EF4-FFF2-40B4-BE49-F238E27FC236}">
                <a16:creationId xmlns:a16="http://schemas.microsoft.com/office/drawing/2014/main" id="{D60BEB9C-F00E-F096-C407-B369BAE5DC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6038"/>
            <a:ext cx="121793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alt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72 Condensed" panose="020B0506030000000003" pitchFamily="34" charset="0"/>
                <a:ea typeface="+mn-ea"/>
                <a:cs typeface="72 Condensed" panose="020B0506030000000003" pitchFamily="34" charset="0"/>
              </a:rPr>
              <a:t>Pan India Presence</a:t>
            </a:r>
          </a:p>
        </p:txBody>
      </p:sp>
      <p:sp>
        <p:nvSpPr>
          <p:cNvPr id="35844" name="Slide Number Placeholder 2">
            <a:extLst>
              <a:ext uri="{FF2B5EF4-FFF2-40B4-BE49-F238E27FC236}">
                <a16:creationId xmlns:a16="http://schemas.microsoft.com/office/drawing/2014/main" id="{5674E142-DA5F-EB25-3723-523ADF0E90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8800" y="6492875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0EF09E-157C-4290-AC5E-9F0D702EC472}" type="slidenum">
              <a:rPr kumimoji="0" lang="en-I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N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35845" name="Group 145">
            <a:extLst>
              <a:ext uri="{FF2B5EF4-FFF2-40B4-BE49-F238E27FC236}">
                <a16:creationId xmlns:a16="http://schemas.microsoft.com/office/drawing/2014/main" id="{2A94C021-7C9F-4B32-99D4-F79443443DF9}"/>
              </a:ext>
            </a:extLst>
          </p:cNvPr>
          <p:cNvGrpSpPr>
            <a:grpSpLocks/>
          </p:cNvGrpSpPr>
          <p:nvPr/>
        </p:nvGrpSpPr>
        <p:grpSpPr bwMode="auto">
          <a:xfrm>
            <a:off x="5824538" y="133350"/>
            <a:ext cx="6215062" cy="6638925"/>
            <a:chOff x="1809366" y="863130"/>
            <a:chExt cx="4378747" cy="4862800"/>
          </a:xfrm>
        </p:grpSpPr>
        <p:grpSp>
          <p:nvGrpSpPr>
            <p:cNvPr id="35867" name="Group 179">
              <a:extLst>
                <a:ext uri="{FF2B5EF4-FFF2-40B4-BE49-F238E27FC236}">
                  <a16:creationId xmlns:a16="http://schemas.microsoft.com/office/drawing/2014/main" id="{79A2E755-C42B-C64D-A427-A7527115C9C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52707" y="863130"/>
              <a:ext cx="2218790" cy="2213749"/>
              <a:chOff x="2582433" y="463550"/>
              <a:chExt cx="2706796" cy="2602146"/>
            </a:xfrm>
          </p:grpSpPr>
          <p:sp>
            <p:nvSpPr>
              <p:cNvPr id="182" name="Freeform 317">
                <a:extLst>
                  <a:ext uri="{FF2B5EF4-FFF2-40B4-BE49-F238E27FC236}">
                    <a16:creationId xmlns:a16="http://schemas.microsoft.com/office/drawing/2014/main" id="{68B44F46-AC87-0471-8010-0F59A1DD1C33}"/>
                  </a:ext>
                </a:extLst>
              </p:cNvPr>
              <p:cNvSpPr/>
              <p:nvPr/>
            </p:nvSpPr>
            <p:spPr>
              <a:xfrm>
                <a:off x="3239259" y="2066809"/>
                <a:ext cx="94147" cy="112078"/>
              </a:xfrm>
              <a:custGeom>
                <a:avLst/>
                <a:gdLst>
                  <a:gd name="connsiteX0" fmla="*/ 70923 w 83588"/>
                  <a:gd name="connsiteY0" fmla="*/ 0 h 93719"/>
                  <a:gd name="connsiteX1" fmla="*/ 7599 w 83588"/>
                  <a:gd name="connsiteY1" fmla="*/ 32928 h 93719"/>
                  <a:gd name="connsiteX2" fmla="*/ 10132 w 83588"/>
                  <a:gd name="connsiteY2" fmla="*/ 45593 h 93719"/>
                  <a:gd name="connsiteX3" fmla="*/ 0 w 83588"/>
                  <a:gd name="connsiteY3" fmla="*/ 65857 h 93719"/>
                  <a:gd name="connsiteX4" fmla="*/ 58259 w 83588"/>
                  <a:gd name="connsiteY4" fmla="*/ 93719 h 93719"/>
                  <a:gd name="connsiteX5" fmla="*/ 73456 w 83588"/>
                  <a:gd name="connsiteY5" fmla="*/ 88654 h 93719"/>
                  <a:gd name="connsiteX6" fmla="*/ 83588 w 83588"/>
                  <a:gd name="connsiteY6" fmla="*/ 70923 h 93719"/>
                  <a:gd name="connsiteX7" fmla="*/ 70923 w 83588"/>
                  <a:gd name="connsiteY7" fmla="*/ 0 h 93719"/>
                  <a:gd name="connsiteX0" fmla="*/ 70923 w 83588"/>
                  <a:gd name="connsiteY0" fmla="*/ 0 h 93719"/>
                  <a:gd name="connsiteX1" fmla="*/ 35521 w 83588"/>
                  <a:gd name="connsiteY1" fmla="*/ 14386 h 93719"/>
                  <a:gd name="connsiteX2" fmla="*/ 7599 w 83588"/>
                  <a:gd name="connsiteY2" fmla="*/ 32928 h 93719"/>
                  <a:gd name="connsiteX3" fmla="*/ 10132 w 83588"/>
                  <a:gd name="connsiteY3" fmla="*/ 45593 h 93719"/>
                  <a:gd name="connsiteX4" fmla="*/ 0 w 83588"/>
                  <a:gd name="connsiteY4" fmla="*/ 65857 h 93719"/>
                  <a:gd name="connsiteX5" fmla="*/ 58259 w 83588"/>
                  <a:gd name="connsiteY5" fmla="*/ 93719 h 93719"/>
                  <a:gd name="connsiteX6" fmla="*/ 73456 w 83588"/>
                  <a:gd name="connsiteY6" fmla="*/ 88654 h 93719"/>
                  <a:gd name="connsiteX7" fmla="*/ 83588 w 83588"/>
                  <a:gd name="connsiteY7" fmla="*/ 70923 h 93719"/>
                  <a:gd name="connsiteX8" fmla="*/ 70923 w 83588"/>
                  <a:gd name="connsiteY8" fmla="*/ 0 h 93719"/>
                  <a:gd name="connsiteX0" fmla="*/ 70923 w 83588"/>
                  <a:gd name="connsiteY0" fmla="*/ 11808 h 105527"/>
                  <a:gd name="connsiteX1" fmla="*/ 21234 w 83588"/>
                  <a:gd name="connsiteY1" fmla="*/ 0 h 105527"/>
                  <a:gd name="connsiteX2" fmla="*/ 7599 w 83588"/>
                  <a:gd name="connsiteY2" fmla="*/ 44736 h 105527"/>
                  <a:gd name="connsiteX3" fmla="*/ 10132 w 83588"/>
                  <a:gd name="connsiteY3" fmla="*/ 57401 h 105527"/>
                  <a:gd name="connsiteX4" fmla="*/ 0 w 83588"/>
                  <a:gd name="connsiteY4" fmla="*/ 77665 h 105527"/>
                  <a:gd name="connsiteX5" fmla="*/ 58259 w 83588"/>
                  <a:gd name="connsiteY5" fmla="*/ 105527 h 105527"/>
                  <a:gd name="connsiteX6" fmla="*/ 73456 w 83588"/>
                  <a:gd name="connsiteY6" fmla="*/ 100462 h 105527"/>
                  <a:gd name="connsiteX7" fmla="*/ 83588 w 83588"/>
                  <a:gd name="connsiteY7" fmla="*/ 82731 h 105527"/>
                  <a:gd name="connsiteX8" fmla="*/ 70923 w 83588"/>
                  <a:gd name="connsiteY8" fmla="*/ 11808 h 105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588" h="105527">
                    <a:moveTo>
                      <a:pt x="70923" y="11808"/>
                    </a:moveTo>
                    <a:lnTo>
                      <a:pt x="21234" y="0"/>
                    </a:lnTo>
                    <a:lnTo>
                      <a:pt x="7599" y="44736"/>
                    </a:lnTo>
                    <a:lnTo>
                      <a:pt x="10132" y="57401"/>
                    </a:lnTo>
                    <a:lnTo>
                      <a:pt x="0" y="77665"/>
                    </a:lnTo>
                    <a:lnTo>
                      <a:pt x="58259" y="105527"/>
                    </a:lnTo>
                    <a:lnTo>
                      <a:pt x="73456" y="100462"/>
                    </a:lnTo>
                    <a:lnTo>
                      <a:pt x="83588" y="82731"/>
                    </a:lnTo>
                    <a:lnTo>
                      <a:pt x="70923" y="11808"/>
                    </a:lnTo>
                    <a:close/>
                  </a:path>
                </a:pathLst>
              </a:custGeom>
              <a:solidFill>
                <a:srgbClr val="FFD13F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 318">
                <a:extLst>
                  <a:ext uri="{FF2B5EF4-FFF2-40B4-BE49-F238E27FC236}">
                    <a16:creationId xmlns:a16="http://schemas.microsoft.com/office/drawing/2014/main" id="{B079DAC9-61BD-DABB-A9F9-83EA5D6CA498}"/>
                  </a:ext>
                </a:extLst>
              </p:cNvPr>
              <p:cNvSpPr/>
              <p:nvPr/>
            </p:nvSpPr>
            <p:spPr>
              <a:xfrm rot="21396613">
                <a:off x="2582958" y="463550"/>
                <a:ext cx="1330339" cy="1031936"/>
              </a:xfrm>
              <a:custGeom>
                <a:avLst/>
                <a:gdLst>
                  <a:gd name="connsiteX0" fmla="*/ 0 w 1213253"/>
                  <a:gd name="connsiteY0" fmla="*/ 93671 h 967926"/>
                  <a:gd name="connsiteX1" fmla="*/ 8921 w 1213253"/>
                  <a:gd name="connsiteY1" fmla="*/ 196262 h 967926"/>
                  <a:gd name="connsiteX2" fmla="*/ 75828 w 1213253"/>
                  <a:gd name="connsiteY2" fmla="*/ 214104 h 967926"/>
                  <a:gd name="connsiteX3" fmla="*/ 111512 w 1213253"/>
                  <a:gd name="connsiteY3" fmla="*/ 236406 h 967926"/>
                  <a:gd name="connsiteX4" fmla="*/ 151656 w 1213253"/>
                  <a:gd name="connsiteY4" fmla="*/ 289932 h 967926"/>
                  <a:gd name="connsiteX5" fmla="*/ 182880 w 1213253"/>
                  <a:gd name="connsiteY5" fmla="*/ 298853 h 967926"/>
                  <a:gd name="connsiteX6" fmla="*/ 209643 w 1213253"/>
                  <a:gd name="connsiteY6" fmla="*/ 347919 h 967926"/>
                  <a:gd name="connsiteX7" fmla="*/ 209643 w 1213253"/>
                  <a:gd name="connsiteY7" fmla="*/ 392523 h 967926"/>
                  <a:gd name="connsiteX8" fmla="*/ 129354 w 1213253"/>
                  <a:gd name="connsiteY8" fmla="*/ 472812 h 967926"/>
                  <a:gd name="connsiteX9" fmla="*/ 115973 w 1213253"/>
                  <a:gd name="connsiteY9" fmla="*/ 504036 h 967926"/>
                  <a:gd name="connsiteX10" fmla="*/ 120433 w 1213253"/>
                  <a:gd name="connsiteY10" fmla="*/ 722600 h 967926"/>
                  <a:gd name="connsiteX11" fmla="*/ 156117 w 1213253"/>
                  <a:gd name="connsiteY11" fmla="*/ 762744 h 967926"/>
                  <a:gd name="connsiteX12" fmla="*/ 200722 w 1213253"/>
                  <a:gd name="connsiteY12" fmla="*/ 771665 h 967926"/>
                  <a:gd name="connsiteX13" fmla="*/ 218564 w 1213253"/>
                  <a:gd name="connsiteY13" fmla="*/ 802888 h 967926"/>
                  <a:gd name="connsiteX14" fmla="*/ 245327 w 1213253"/>
                  <a:gd name="connsiteY14" fmla="*/ 802888 h 967926"/>
                  <a:gd name="connsiteX15" fmla="*/ 285471 w 1213253"/>
                  <a:gd name="connsiteY15" fmla="*/ 860875 h 967926"/>
                  <a:gd name="connsiteX16" fmla="*/ 356839 w 1213253"/>
                  <a:gd name="connsiteY16" fmla="*/ 860875 h 967926"/>
                  <a:gd name="connsiteX17" fmla="*/ 356839 w 1213253"/>
                  <a:gd name="connsiteY17" fmla="*/ 909940 h 967926"/>
                  <a:gd name="connsiteX18" fmla="*/ 432667 w 1213253"/>
                  <a:gd name="connsiteY18" fmla="*/ 905480 h 967926"/>
                  <a:gd name="connsiteX19" fmla="*/ 450509 w 1213253"/>
                  <a:gd name="connsiteY19" fmla="*/ 896559 h 967926"/>
                  <a:gd name="connsiteX20" fmla="*/ 454970 w 1213253"/>
                  <a:gd name="connsiteY20" fmla="*/ 820730 h 967926"/>
                  <a:gd name="connsiteX21" fmla="*/ 481733 w 1213253"/>
                  <a:gd name="connsiteY21" fmla="*/ 785046 h 967926"/>
                  <a:gd name="connsiteX22" fmla="*/ 499575 w 1213253"/>
                  <a:gd name="connsiteY22" fmla="*/ 749362 h 967926"/>
                  <a:gd name="connsiteX23" fmla="*/ 544179 w 1213253"/>
                  <a:gd name="connsiteY23" fmla="*/ 740441 h 967926"/>
                  <a:gd name="connsiteX24" fmla="*/ 597705 w 1213253"/>
                  <a:gd name="connsiteY24" fmla="*/ 740441 h 967926"/>
                  <a:gd name="connsiteX25" fmla="*/ 624468 w 1213253"/>
                  <a:gd name="connsiteY25" fmla="*/ 785046 h 967926"/>
                  <a:gd name="connsiteX26" fmla="*/ 651231 w 1213253"/>
                  <a:gd name="connsiteY26" fmla="*/ 802888 h 967926"/>
                  <a:gd name="connsiteX27" fmla="*/ 709217 w 1213253"/>
                  <a:gd name="connsiteY27" fmla="*/ 825191 h 967926"/>
                  <a:gd name="connsiteX28" fmla="*/ 771664 w 1213253"/>
                  <a:gd name="connsiteY28" fmla="*/ 816270 h 967926"/>
                  <a:gd name="connsiteX29" fmla="*/ 785046 w 1213253"/>
                  <a:gd name="connsiteY29" fmla="*/ 851954 h 967926"/>
                  <a:gd name="connsiteX30" fmla="*/ 807348 w 1213253"/>
                  <a:gd name="connsiteY30" fmla="*/ 869796 h 967926"/>
                  <a:gd name="connsiteX31" fmla="*/ 865335 w 1213253"/>
                  <a:gd name="connsiteY31" fmla="*/ 905480 h 967926"/>
                  <a:gd name="connsiteX32" fmla="*/ 932242 w 1213253"/>
                  <a:gd name="connsiteY32" fmla="*/ 878717 h 967926"/>
                  <a:gd name="connsiteX33" fmla="*/ 945623 w 1213253"/>
                  <a:gd name="connsiteY33" fmla="*/ 874256 h 967926"/>
                  <a:gd name="connsiteX34" fmla="*/ 936702 w 1213253"/>
                  <a:gd name="connsiteY34" fmla="*/ 918861 h 967926"/>
                  <a:gd name="connsiteX35" fmla="*/ 945623 w 1213253"/>
                  <a:gd name="connsiteY35" fmla="*/ 959005 h 967926"/>
                  <a:gd name="connsiteX36" fmla="*/ 999149 w 1213253"/>
                  <a:gd name="connsiteY36" fmla="*/ 967926 h 967926"/>
                  <a:gd name="connsiteX37" fmla="*/ 1008070 w 1213253"/>
                  <a:gd name="connsiteY37" fmla="*/ 936703 h 967926"/>
                  <a:gd name="connsiteX38" fmla="*/ 1016991 w 1213253"/>
                  <a:gd name="connsiteY38" fmla="*/ 901019 h 967926"/>
                  <a:gd name="connsiteX39" fmla="*/ 1052675 w 1213253"/>
                  <a:gd name="connsiteY39" fmla="*/ 892098 h 967926"/>
                  <a:gd name="connsiteX40" fmla="*/ 1074977 w 1213253"/>
                  <a:gd name="connsiteY40" fmla="*/ 878717 h 967926"/>
                  <a:gd name="connsiteX41" fmla="*/ 1061596 w 1213253"/>
                  <a:gd name="connsiteY41" fmla="*/ 843033 h 967926"/>
                  <a:gd name="connsiteX42" fmla="*/ 1034833 w 1213253"/>
                  <a:gd name="connsiteY42" fmla="*/ 807349 h 967926"/>
                  <a:gd name="connsiteX43" fmla="*/ 1043754 w 1213253"/>
                  <a:gd name="connsiteY43" fmla="*/ 762744 h 967926"/>
                  <a:gd name="connsiteX44" fmla="*/ 1008070 w 1213253"/>
                  <a:gd name="connsiteY44" fmla="*/ 758283 h 967926"/>
                  <a:gd name="connsiteX45" fmla="*/ 972386 w 1213253"/>
                  <a:gd name="connsiteY45" fmla="*/ 695837 h 967926"/>
                  <a:gd name="connsiteX46" fmla="*/ 985768 w 1213253"/>
                  <a:gd name="connsiteY46" fmla="*/ 664613 h 967926"/>
                  <a:gd name="connsiteX47" fmla="*/ 994689 w 1213253"/>
                  <a:gd name="connsiteY47" fmla="*/ 646771 h 967926"/>
                  <a:gd name="connsiteX48" fmla="*/ 990228 w 1213253"/>
                  <a:gd name="connsiteY48" fmla="*/ 615548 h 967926"/>
                  <a:gd name="connsiteX49" fmla="*/ 1003610 w 1213253"/>
                  <a:gd name="connsiteY49" fmla="*/ 606627 h 967926"/>
                  <a:gd name="connsiteX50" fmla="*/ 1034833 w 1213253"/>
                  <a:gd name="connsiteY50" fmla="*/ 624469 h 967926"/>
                  <a:gd name="connsiteX51" fmla="*/ 1066056 w 1213253"/>
                  <a:gd name="connsiteY51" fmla="*/ 588785 h 967926"/>
                  <a:gd name="connsiteX52" fmla="*/ 1074977 w 1213253"/>
                  <a:gd name="connsiteY52" fmla="*/ 570943 h 967926"/>
                  <a:gd name="connsiteX53" fmla="*/ 1074977 w 1213253"/>
                  <a:gd name="connsiteY53" fmla="*/ 553101 h 967926"/>
                  <a:gd name="connsiteX54" fmla="*/ 1092819 w 1213253"/>
                  <a:gd name="connsiteY54" fmla="*/ 530799 h 967926"/>
                  <a:gd name="connsiteX55" fmla="*/ 1159727 w 1213253"/>
                  <a:gd name="connsiteY55" fmla="*/ 517417 h 967926"/>
                  <a:gd name="connsiteX56" fmla="*/ 1168648 w 1213253"/>
                  <a:gd name="connsiteY56" fmla="*/ 468352 h 967926"/>
                  <a:gd name="connsiteX57" fmla="*/ 1190950 w 1213253"/>
                  <a:gd name="connsiteY57" fmla="*/ 437128 h 967926"/>
                  <a:gd name="connsiteX58" fmla="*/ 1195411 w 1213253"/>
                  <a:gd name="connsiteY58" fmla="*/ 379142 h 967926"/>
                  <a:gd name="connsiteX59" fmla="*/ 1213253 w 1213253"/>
                  <a:gd name="connsiteY59" fmla="*/ 325616 h 967926"/>
                  <a:gd name="connsiteX60" fmla="*/ 1204332 w 1213253"/>
                  <a:gd name="connsiteY60" fmla="*/ 281011 h 967926"/>
                  <a:gd name="connsiteX61" fmla="*/ 1155266 w 1213253"/>
                  <a:gd name="connsiteY61" fmla="*/ 272090 h 967926"/>
                  <a:gd name="connsiteX62" fmla="*/ 1110661 w 1213253"/>
                  <a:gd name="connsiteY62" fmla="*/ 281011 h 967926"/>
                  <a:gd name="connsiteX63" fmla="*/ 1030373 w 1213253"/>
                  <a:gd name="connsiteY63" fmla="*/ 227485 h 967926"/>
                  <a:gd name="connsiteX64" fmla="*/ 1003610 w 1213253"/>
                  <a:gd name="connsiteY64" fmla="*/ 231946 h 967926"/>
                  <a:gd name="connsiteX65" fmla="*/ 985768 w 1213253"/>
                  <a:gd name="connsiteY65" fmla="*/ 285472 h 967926"/>
                  <a:gd name="connsiteX66" fmla="*/ 967926 w 1213253"/>
                  <a:gd name="connsiteY66" fmla="*/ 289932 h 967926"/>
                  <a:gd name="connsiteX67" fmla="*/ 896558 w 1213253"/>
                  <a:gd name="connsiteY67" fmla="*/ 281011 h 967926"/>
                  <a:gd name="connsiteX68" fmla="*/ 878716 w 1213253"/>
                  <a:gd name="connsiteY68" fmla="*/ 325616 h 967926"/>
                  <a:gd name="connsiteX69" fmla="*/ 856414 w 1213253"/>
                  <a:gd name="connsiteY69" fmla="*/ 325616 h 967926"/>
                  <a:gd name="connsiteX70" fmla="*/ 802888 w 1213253"/>
                  <a:gd name="connsiteY70" fmla="*/ 307774 h 967926"/>
                  <a:gd name="connsiteX71" fmla="*/ 758283 w 1213253"/>
                  <a:gd name="connsiteY71" fmla="*/ 321156 h 967926"/>
                  <a:gd name="connsiteX72" fmla="*/ 677994 w 1213253"/>
                  <a:gd name="connsiteY72" fmla="*/ 272090 h 967926"/>
                  <a:gd name="connsiteX73" fmla="*/ 669073 w 1213253"/>
                  <a:gd name="connsiteY73" fmla="*/ 205183 h 967926"/>
                  <a:gd name="connsiteX74" fmla="*/ 664613 w 1213253"/>
                  <a:gd name="connsiteY74" fmla="*/ 182880 h 967926"/>
                  <a:gd name="connsiteX75" fmla="*/ 620008 w 1213253"/>
                  <a:gd name="connsiteY75" fmla="*/ 173960 h 967926"/>
                  <a:gd name="connsiteX76" fmla="*/ 597705 w 1213253"/>
                  <a:gd name="connsiteY76" fmla="*/ 124894 h 967926"/>
                  <a:gd name="connsiteX77" fmla="*/ 526337 w 1213253"/>
                  <a:gd name="connsiteY77" fmla="*/ 120434 h 967926"/>
                  <a:gd name="connsiteX78" fmla="*/ 504035 w 1213253"/>
                  <a:gd name="connsiteY78" fmla="*/ 57987 h 967926"/>
                  <a:gd name="connsiteX79" fmla="*/ 454970 w 1213253"/>
                  <a:gd name="connsiteY79" fmla="*/ 8921 h 967926"/>
                  <a:gd name="connsiteX80" fmla="*/ 419286 w 1213253"/>
                  <a:gd name="connsiteY80" fmla="*/ 0 h 967926"/>
                  <a:gd name="connsiteX81" fmla="*/ 401444 w 1213253"/>
                  <a:gd name="connsiteY81" fmla="*/ 22303 h 967926"/>
                  <a:gd name="connsiteX82" fmla="*/ 361299 w 1213253"/>
                  <a:gd name="connsiteY82" fmla="*/ 4461 h 967926"/>
                  <a:gd name="connsiteX83" fmla="*/ 343457 w 1213253"/>
                  <a:gd name="connsiteY83" fmla="*/ 13382 h 967926"/>
                  <a:gd name="connsiteX84" fmla="*/ 321155 w 1213253"/>
                  <a:gd name="connsiteY84" fmla="*/ 31224 h 967926"/>
                  <a:gd name="connsiteX85" fmla="*/ 281011 w 1213253"/>
                  <a:gd name="connsiteY85" fmla="*/ 22303 h 967926"/>
                  <a:gd name="connsiteX86" fmla="*/ 249787 w 1213253"/>
                  <a:gd name="connsiteY86" fmla="*/ 40145 h 967926"/>
                  <a:gd name="connsiteX87" fmla="*/ 165038 w 1213253"/>
                  <a:gd name="connsiteY87" fmla="*/ 40145 h 967926"/>
                  <a:gd name="connsiteX88" fmla="*/ 133815 w 1213253"/>
                  <a:gd name="connsiteY88" fmla="*/ 35684 h 967926"/>
                  <a:gd name="connsiteX89" fmla="*/ 133815 w 1213253"/>
                  <a:gd name="connsiteY89" fmla="*/ 35684 h 967926"/>
                  <a:gd name="connsiteX90" fmla="*/ 98131 w 1213253"/>
                  <a:gd name="connsiteY90" fmla="*/ 75829 h 967926"/>
                  <a:gd name="connsiteX91" fmla="*/ 98131 w 1213253"/>
                  <a:gd name="connsiteY91" fmla="*/ 129355 h 967926"/>
                  <a:gd name="connsiteX92" fmla="*/ 84749 w 1213253"/>
                  <a:gd name="connsiteY92" fmla="*/ 129355 h 967926"/>
                  <a:gd name="connsiteX93" fmla="*/ 0 w 1213253"/>
                  <a:gd name="connsiteY93" fmla="*/ 93671 h 967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213253" h="967926">
                    <a:moveTo>
                      <a:pt x="0" y="93671"/>
                    </a:moveTo>
                    <a:lnTo>
                      <a:pt x="8921" y="196262"/>
                    </a:lnTo>
                    <a:lnTo>
                      <a:pt x="75828" y="214104"/>
                    </a:lnTo>
                    <a:lnTo>
                      <a:pt x="111512" y="236406"/>
                    </a:lnTo>
                    <a:lnTo>
                      <a:pt x="151656" y="289932"/>
                    </a:lnTo>
                    <a:lnTo>
                      <a:pt x="182880" y="298853"/>
                    </a:lnTo>
                    <a:lnTo>
                      <a:pt x="209643" y="347919"/>
                    </a:lnTo>
                    <a:lnTo>
                      <a:pt x="209643" y="392523"/>
                    </a:lnTo>
                    <a:lnTo>
                      <a:pt x="129354" y="472812"/>
                    </a:lnTo>
                    <a:lnTo>
                      <a:pt x="115973" y="504036"/>
                    </a:lnTo>
                    <a:cubicBezTo>
                      <a:pt x="117460" y="576891"/>
                      <a:pt x="118946" y="649745"/>
                      <a:pt x="120433" y="722600"/>
                    </a:cubicBezTo>
                    <a:lnTo>
                      <a:pt x="156117" y="762744"/>
                    </a:lnTo>
                    <a:lnTo>
                      <a:pt x="200722" y="771665"/>
                    </a:lnTo>
                    <a:lnTo>
                      <a:pt x="218564" y="802888"/>
                    </a:lnTo>
                    <a:lnTo>
                      <a:pt x="245327" y="802888"/>
                    </a:lnTo>
                    <a:lnTo>
                      <a:pt x="285471" y="860875"/>
                    </a:lnTo>
                    <a:lnTo>
                      <a:pt x="356839" y="860875"/>
                    </a:lnTo>
                    <a:lnTo>
                      <a:pt x="356839" y="909940"/>
                    </a:lnTo>
                    <a:lnTo>
                      <a:pt x="432667" y="905480"/>
                    </a:lnTo>
                    <a:lnTo>
                      <a:pt x="450509" y="896559"/>
                    </a:lnTo>
                    <a:lnTo>
                      <a:pt x="454970" y="820730"/>
                    </a:lnTo>
                    <a:lnTo>
                      <a:pt x="481733" y="785046"/>
                    </a:lnTo>
                    <a:lnTo>
                      <a:pt x="499575" y="749362"/>
                    </a:lnTo>
                    <a:lnTo>
                      <a:pt x="544179" y="740441"/>
                    </a:lnTo>
                    <a:lnTo>
                      <a:pt x="597705" y="740441"/>
                    </a:lnTo>
                    <a:lnTo>
                      <a:pt x="624468" y="785046"/>
                    </a:lnTo>
                    <a:lnTo>
                      <a:pt x="651231" y="802888"/>
                    </a:lnTo>
                    <a:lnTo>
                      <a:pt x="709217" y="825191"/>
                    </a:lnTo>
                    <a:lnTo>
                      <a:pt x="771664" y="816270"/>
                    </a:lnTo>
                    <a:lnTo>
                      <a:pt x="785046" y="851954"/>
                    </a:lnTo>
                    <a:lnTo>
                      <a:pt x="807348" y="869796"/>
                    </a:lnTo>
                    <a:lnTo>
                      <a:pt x="865335" y="905480"/>
                    </a:lnTo>
                    <a:lnTo>
                      <a:pt x="932242" y="878717"/>
                    </a:lnTo>
                    <a:lnTo>
                      <a:pt x="945623" y="874256"/>
                    </a:lnTo>
                    <a:lnTo>
                      <a:pt x="936702" y="918861"/>
                    </a:lnTo>
                    <a:lnTo>
                      <a:pt x="945623" y="959005"/>
                    </a:lnTo>
                    <a:lnTo>
                      <a:pt x="999149" y="967926"/>
                    </a:lnTo>
                    <a:lnTo>
                      <a:pt x="1008070" y="936703"/>
                    </a:lnTo>
                    <a:lnTo>
                      <a:pt x="1016991" y="901019"/>
                    </a:lnTo>
                    <a:lnTo>
                      <a:pt x="1052675" y="892098"/>
                    </a:lnTo>
                    <a:lnTo>
                      <a:pt x="1074977" y="878717"/>
                    </a:lnTo>
                    <a:lnTo>
                      <a:pt x="1061596" y="843033"/>
                    </a:lnTo>
                    <a:lnTo>
                      <a:pt x="1034833" y="807349"/>
                    </a:lnTo>
                    <a:lnTo>
                      <a:pt x="1043754" y="762744"/>
                    </a:lnTo>
                    <a:lnTo>
                      <a:pt x="1008070" y="758283"/>
                    </a:lnTo>
                    <a:lnTo>
                      <a:pt x="972386" y="695837"/>
                    </a:lnTo>
                    <a:lnTo>
                      <a:pt x="985768" y="664613"/>
                    </a:lnTo>
                    <a:lnTo>
                      <a:pt x="994689" y="646771"/>
                    </a:lnTo>
                    <a:lnTo>
                      <a:pt x="990228" y="615548"/>
                    </a:lnTo>
                    <a:lnTo>
                      <a:pt x="1003610" y="606627"/>
                    </a:lnTo>
                    <a:lnTo>
                      <a:pt x="1034833" y="624469"/>
                    </a:lnTo>
                    <a:lnTo>
                      <a:pt x="1066056" y="588785"/>
                    </a:lnTo>
                    <a:lnTo>
                      <a:pt x="1074977" y="570943"/>
                    </a:lnTo>
                    <a:lnTo>
                      <a:pt x="1074977" y="553101"/>
                    </a:lnTo>
                    <a:lnTo>
                      <a:pt x="1092819" y="530799"/>
                    </a:lnTo>
                    <a:lnTo>
                      <a:pt x="1159727" y="517417"/>
                    </a:lnTo>
                    <a:lnTo>
                      <a:pt x="1168648" y="468352"/>
                    </a:lnTo>
                    <a:lnTo>
                      <a:pt x="1190950" y="437128"/>
                    </a:lnTo>
                    <a:lnTo>
                      <a:pt x="1195411" y="379142"/>
                    </a:lnTo>
                    <a:lnTo>
                      <a:pt x="1213253" y="325616"/>
                    </a:lnTo>
                    <a:lnTo>
                      <a:pt x="1204332" y="281011"/>
                    </a:lnTo>
                    <a:lnTo>
                      <a:pt x="1155266" y="272090"/>
                    </a:lnTo>
                    <a:lnTo>
                      <a:pt x="1110661" y="281011"/>
                    </a:lnTo>
                    <a:lnTo>
                      <a:pt x="1030373" y="227485"/>
                    </a:lnTo>
                    <a:lnTo>
                      <a:pt x="1003610" y="231946"/>
                    </a:lnTo>
                    <a:lnTo>
                      <a:pt x="985768" y="285472"/>
                    </a:lnTo>
                    <a:lnTo>
                      <a:pt x="967926" y="289932"/>
                    </a:lnTo>
                    <a:lnTo>
                      <a:pt x="896558" y="281011"/>
                    </a:lnTo>
                    <a:lnTo>
                      <a:pt x="878716" y="325616"/>
                    </a:lnTo>
                    <a:lnTo>
                      <a:pt x="856414" y="325616"/>
                    </a:lnTo>
                    <a:lnTo>
                      <a:pt x="802888" y="307774"/>
                    </a:lnTo>
                    <a:lnTo>
                      <a:pt x="758283" y="321156"/>
                    </a:lnTo>
                    <a:lnTo>
                      <a:pt x="677994" y="272090"/>
                    </a:lnTo>
                    <a:lnTo>
                      <a:pt x="669073" y="205183"/>
                    </a:lnTo>
                    <a:lnTo>
                      <a:pt x="664613" y="182880"/>
                    </a:lnTo>
                    <a:lnTo>
                      <a:pt x="620008" y="173960"/>
                    </a:lnTo>
                    <a:lnTo>
                      <a:pt x="597705" y="124894"/>
                    </a:lnTo>
                    <a:lnTo>
                      <a:pt x="526337" y="120434"/>
                    </a:lnTo>
                    <a:lnTo>
                      <a:pt x="504035" y="57987"/>
                    </a:lnTo>
                    <a:lnTo>
                      <a:pt x="454970" y="8921"/>
                    </a:lnTo>
                    <a:lnTo>
                      <a:pt x="419286" y="0"/>
                    </a:lnTo>
                    <a:lnTo>
                      <a:pt x="401444" y="22303"/>
                    </a:lnTo>
                    <a:lnTo>
                      <a:pt x="361299" y="4461"/>
                    </a:lnTo>
                    <a:lnTo>
                      <a:pt x="343457" y="13382"/>
                    </a:lnTo>
                    <a:lnTo>
                      <a:pt x="321155" y="31224"/>
                    </a:lnTo>
                    <a:lnTo>
                      <a:pt x="281011" y="22303"/>
                    </a:lnTo>
                    <a:lnTo>
                      <a:pt x="249787" y="40145"/>
                    </a:lnTo>
                    <a:lnTo>
                      <a:pt x="165038" y="40145"/>
                    </a:lnTo>
                    <a:lnTo>
                      <a:pt x="133815" y="35684"/>
                    </a:lnTo>
                    <a:lnTo>
                      <a:pt x="133815" y="35684"/>
                    </a:lnTo>
                    <a:lnTo>
                      <a:pt x="98131" y="75829"/>
                    </a:lnTo>
                    <a:lnTo>
                      <a:pt x="98131" y="129355"/>
                    </a:lnTo>
                    <a:lnTo>
                      <a:pt x="84749" y="129355"/>
                    </a:lnTo>
                    <a:lnTo>
                      <a:pt x="0" y="93671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 319">
                <a:extLst>
                  <a:ext uri="{FF2B5EF4-FFF2-40B4-BE49-F238E27FC236}">
                    <a16:creationId xmlns:a16="http://schemas.microsoft.com/office/drawing/2014/main" id="{F96A3E32-F4E0-65E8-1B5D-DF5310875EA4}"/>
                  </a:ext>
                </a:extLst>
              </p:cNvPr>
              <p:cNvSpPr/>
              <p:nvPr/>
            </p:nvSpPr>
            <p:spPr>
              <a:xfrm rot="21396613">
                <a:off x="3070067" y="1231693"/>
                <a:ext cx="529406" cy="576791"/>
              </a:xfrm>
              <a:custGeom>
                <a:avLst/>
                <a:gdLst>
                  <a:gd name="connsiteX0" fmla="*/ 165038 w 481732"/>
                  <a:gd name="connsiteY0" fmla="*/ 0 h 539719"/>
                  <a:gd name="connsiteX1" fmla="*/ 75828 w 481732"/>
                  <a:gd name="connsiteY1" fmla="*/ 8921 h 539719"/>
                  <a:gd name="connsiteX2" fmla="*/ 31223 w 481732"/>
                  <a:gd name="connsiteY2" fmla="*/ 80289 h 539719"/>
                  <a:gd name="connsiteX3" fmla="*/ 22302 w 481732"/>
                  <a:gd name="connsiteY3" fmla="*/ 160578 h 539719"/>
                  <a:gd name="connsiteX4" fmla="*/ 0 w 481732"/>
                  <a:gd name="connsiteY4" fmla="*/ 178419 h 539719"/>
                  <a:gd name="connsiteX5" fmla="*/ 0 w 481732"/>
                  <a:gd name="connsiteY5" fmla="*/ 223024 h 539719"/>
                  <a:gd name="connsiteX6" fmla="*/ 35684 w 481732"/>
                  <a:gd name="connsiteY6" fmla="*/ 258708 h 539719"/>
                  <a:gd name="connsiteX7" fmla="*/ 62447 w 481732"/>
                  <a:gd name="connsiteY7" fmla="*/ 338997 h 539719"/>
                  <a:gd name="connsiteX8" fmla="*/ 107051 w 481732"/>
                  <a:gd name="connsiteY8" fmla="*/ 356839 h 539719"/>
                  <a:gd name="connsiteX9" fmla="*/ 133814 w 481732"/>
                  <a:gd name="connsiteY9" fmla="*/ 414825 h 539719"/>
                  <a:gd name="connsiteX10" fmla="*/ 214103 w 481732"/>
                  <a:gd name="connsiteY10" fmla="*/ 437128 h 539719"/>
                  <a:gd name="connsiteX11" fmla="*/ 223024 w 481732"/>
                  <a:gd name="connsiteY11" fmla="*/ 486193 h 539719"/>
                  <a:gd name="connsiteX12" fmla="*/ 249787 w 481732"/>
                  <a:gd name="connsiteY12" fmla="*/ 486193 h 539719"/>
                  <a:gd name="connsiteX13" fmla="*/ 281010 w 481732"/>
                  <a:gd name="connsiteY13" fmla="*/ 539719 h 539719"/>
                  <a:gd name="connsiteX14" fmla="*/ 330076 w 481732"/>
                  <a:gd name="connsiteY14" fmla="*/ 472812 h 539719"/>
                  <a:gd name="connsiteX15" fmla="*/ 321155 w 481732"/>
                  <a:gd name="connsiteY15" fmla="*/ 414825 h 539719"/>
                  <a:gd name="connsiteX16" fmla="*/ 388062 w 481732"/>
                  <a:gd name="connsiteY16" fmla="*/ 379141 h 539719"/>
                  <a:gd name="connsiteX17" fmla="*/ 437128 w 481732"/>
                  <a:gd name="connsiteY17" fmla="*/ 392523 h 539719"/>
                  <a:gd name="connsiteX18" fmla="*/ 437128 w 481732"/>
                  <a:gd name="connsiteY18" fmla="*/ 392523 h 539719"/>
                  <a:gd name="connsiteX19" fmla="*/ 481732 w 481732"/>
                  <a:gd name="connsiteY19" fmla="*/ 383602 h 539719"/>
                  <a:gd name="connsiteX20" fmla="*/ 468351 w 481732"/>
                  <a:gd name="connsiteY20" fmla="*/ 347918 h 539719"/>
                  <a:gd name="connsiteX21" fmla="*/ 468351 w 481732"/>
                  <a:gd name="connsiteY21" fmla="*/ 298853 h 539719"/>
                  <a:gd name="connsiteX22" fmla="*/ 481732 w 481732"/>
                  <a:gd name="connsiteY22" fmla="*/ 263169 h 539719"/>
                  <a:gd name="connsiteX23" fmla="*/ 459430 w 481732"/>
                  <a:gd name="connsiteY23" fmla="*/ 231945 h 539719"/>
                  <a:gd name="connsiteX24" fmla="*/ 437128 w 481732"/>
                  <a:gd name="connsiteY24" fmla="*/ 173959 h 539719"/>
                  <a:gd name="connsiteX25" fmla="*/ 361299 w 481732"/>
                  <a:gd name="connsiteY25" fmla="*/ 120433 h 539719"/>
                  <a:gd name="connsiteX26" fmla="*/ 338997 w 481732"/>
                  <a:gd name="connsiteY26" fmla="*/ 75828 h 539719"/>
                  <a:gd name="connsiteX27" fmla="*/ 281010 w 481732"/>
                  <a:gd name="connsiteY27" fmla="*/ 89210 h 539719"/>
                  <a:gd name="connsiteX28" fmla="*/ 209643 w 481732"/>
                  <a:gd name="connsiteY28" fmla="*/ 62447 h 539719"/>
                  <a:gd name="connsiteX29" fmla="*/ 165038 w 481732"/>
                  <a:gd name="connsiteY29" fmla="*/ 0 h 53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81732" h="539719">
                    <a:moveTo>
                      <a:pt x="165038" y="0"/>
                    </a:moveTo>
                    <a:lnTo>
                      <a:pt x="75828" y="8921"/>
                    </a:lnTo>
                    <a:lnTo>
                      <a:pt x="31223" y="80289"/>
                    </a:lnTo>
                    <a:lnTo>
                      <a:pt x="22302" y="160578"/>
                    </a:lnTo>
                    <a:lnTo>
                      <a:pt x="0" y="178419"/>
                    </a:lnTo>
                    <a:lnTo>
                      <a:pt x="0" y="223024"/>
                    </a:lnTo>
                    <a:lnTo>
                      <a:pt x="35684" y="258708"/>
                    </a:lnTo>
                    <a:lnTo>
                      <a:pt x="62447" y="338997"/>
                    </a:lnTo>
                    <a:lnTo>
                      <a:pt x="107051" y="356839"/>
                    </a:lnTo>
                    <a:lnTo>
                      <a:pt x="133814" y="414825"/>
                    </a:lnTo>
                    <a:lnTo>
                      <a:pt x="214103" y="437128"/>
                    </a:lnTo>
                    <a:lnTo>
                      <a:pt x="223024" y="486193"/>
                    </a:lnTo>
                    <a:lnTo>
                      <a:pt x="249787" y="486193"/>
                    </a:lnTo>
                    <a:lnTo>
                      <a:pt x="281010" y="539719"/>
                    </a:lnTo>
                    <a:lnTo>
                      <a:pt x="330076" y="472812"/>
                    </a:lnTo>
                    <a:lnTo>
                      <a:pt x="321155" y="414825"/>
                    </a:lnTo>
                    <a:lnTo>
                      <a:pt x="388062" y="379141"/>
                    </a:lnTo>
                    <a:lnTo>
                      <a:pt x="437128" y="392523"/>
                    </a:lnTo>
                    <a:lnTo>
                      <a:pt x="437128" y="392523"/>
                    </a:lnTo>
                    <a:lnTo>
                      <a:pt x="481732" y="383602"/>
                    </a:lnTo>
                    <a:lnTo>
                      <a:pt x="468351" y="347918"/>
                    </a:lnTo>
                    <a:lnTo>
                      <a:pt x="468351" y="298853"/>
                    </a:lnTo>
                    <a:lnTo>
                      <a:pt x="481732" y="263169"/>
                    </a:lnTo>
                    <a:lnTo>
                      <a:pt x="459430" y="231945"/>
                    </a:lnTo>
                    <a:lnTo>
                      <a:pt x="437128" y="173959"/>
                    </a:lnTo>
                    <a:lnTo>
                      <a:pt x="361299" y="120433"/>
                    </a:lnTo>
                    <a:lnTo>
                      <a:pt x="338997" y="75828"/>
                    </a:lnTo>
                    <a:lnTo>
                      <a:pt x="281010" y="89210"/>
                    </a:lnTo>
                    <a:lnTo>
                      <a:pt x="209643" y="62447"/>
                    </a:lnTo>
                    <a:lnTo>
                      <a:pt x="165038" y="0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 320">
                <a:extLst>
                  <a:ext uri="{FF2B5EF4-FFF2-40B4-BE49-F238E27FC236}">
                    <a16:creationId xmlns:a16="http://schemas.microsoft.com/office/drawing/2014/main" id="{F42E295B-61D0-2AA5-FFA0-2E6CB021B4D4}"/>
                  </a:ext>
                </a:extLst>
              </p:cNvPr>
              <p:cNvSpPr/>
              <p:nvPr/>
            </p:nvSpPr>
            <p:spPr>
              <a:xfrm rot="21396613">
                <a:off x="2705759" y="1438080"/>
                <a:ext cx="571705" cy="496149"/>
              </a:xfrm>
              <a:custGeom>
                <a:avLst/>
                <a:gdLst>
                  <a:gd name="connsiteX0" fmla="*/ 336884 w 521791"/>
                  <a:gd name="connsiteY0" fmla="*/ 0 h 466065"/>
                  <a:gd name="connsiteX1" fmla="*/ 271027 w 521791"/>
                  <a:gd name="connsiteY1" fmla="*/ 2533 h 466065"/>
                  <a:gd name="connsiteX2" fmla="*/ 238099 w 521791"/>
                  <a:gd name="connsiteY2" fmla="*/ 48126 h 466065"/>
                  <a:gd name="connsiteX3" fmla="*/ 200104 w 521791"/>
                  <a:gd name="connsiteY3" fmla="*/ 60791 h 466065"/>
                  <a:gd name="connsiteX4" fmla="*/ 131714 w 521791"/>
                  <a:gd name="connsiteY4" fmla="*/ 98785 h 466065"/>
                  <a:gd name="connsiteX5" fmla="*/ 131714 w 521791"/>
                  <a:gd name="connsiteY5" fmla="*/ 134247 h 466065"/>
                  <a:gd name="connsiteX6" fmla="*/ 151978 w 521791"/>
                  <a:gd name="connsiteY6" fmla="*/ 174774 h 466065"/>
                  <a:gd name="connsiteX7" fmla="*/ 159577 w 521791"/>
                  <a:gd name="connsiteY7" fmla="*/ 207703 h 466065"/>
                  <a:gd name="connsiteX8" fmla="*/ 169709 w 521791"/>
                  <a:gd name="connsiteY8" fmla="*/ 222900 h 466065"/>
                  <a:gd name="connsiteX9" fmla="*/ 141846 w 521791"/>
                  <a:gd name="connsiteY9" fmla="*/ 235565 h 466065"/>
                  <a:gd name="connsiteX10" fmla="*/ 53192 w 521791"/>
                  <a:gd name="connsiteY10" fmla="*/ 263428 h 466065"/>
                  <a:gd name="connsiteX11" fmla="*/ 22797 w 521791"/>
                  <a:gd name="connsiteY11" fmla="*/ 321686 h 466065"/>
                  <a:gd name="connsiteX12" fmla="*/ 0 w 521791"/>
                  <a:gd name="connsiteY12" fmla="*/ 339417 h 466065"/>
                  <a:gd name="connsiteX13" fmla="*/ 7599 w 521791"/>
                  <a:gd name="connsiteY13" fmla="*/ 369812 h 466065"/>
                  <a:gd name="connsiteX14" fmla="*/ 20264 w 521791"/>
                  <a:gd name="connsiteY14" fmla="*/ 397675 h 466065"/>
                  <a:gd name="connsiteX15" fmla="*/ 113983 w 521791"/>
                  <a:gd name="connsiteY15" fmla="*/ 402741 h 466065"/>
                  <a:gd name="connsiteX16" fmla="*/ 134247 w 521791"/>
                  <a:gd name="connsiteY16" fmla="*/ 390076 h 466065"/>
                  <a:gd name="connsiteX17" fmla="*/ 162110 w 521791"/>
                  <a:gd name="connsiteY17" fmla="*/ 387543 h 466065"/>
                  <a:gd name="connsiteX18" fmla="*/ 189972 w 521791"/>
                  <a:gd name="connsiteY18" fmla="*/ 405274 h 466065"/>
                  <a:gd name="connsiteX19" fmla="*/ 243165 w 521791"/>
                  <a:gd name="connsiteY19" fmla="*/ 466065 h 466065"/>
                  <a:gd name="connsiteX20" fmla="*/ 288758 w 521791"/>
                  <a:gd name="connsiteY20" fmla="*/ 430604 h 466065"/>
                  <a:gd name="connsiteX21" fmla="*/ 359681 w 521791"/>
                  <a:gd name="connsiteY21" fmla="*/ 433136 h 466065"/>
                  <a:gd name="connsiteX22" fmla="*/ 390077 w 521791"/>
                  <a:gd name="connsiteY22" fmla="*/ 405274 h 466065"/>
                  <a:gd name="connsiteX23" fmla="*/ 423005 w 521791"/>
                  <a:gd name="connsiteY23" fmla="*/ 359681 h 466065"/>
                  <a:gd name="connsiteX24" fmla="*/ 466065 w 521791"/>
                  <a:gd name="connsiteY24" fmla="*/ 341950 h 466065"/>
                  <a:gd name="connsiteX25" fmla="*/ 488862 w 521791"/>
                  <a:gd name="connsiteY25" fmla="*/ 331818 h 466065"/>
                  <a:gd name="connsiteX26" fmla="*/ 521791 w 521791"/>
                  <a:gd name="connsiteY26" fmla="*/ 344483 h 466065"/>
                  <a:gd name="connsiteX27" fmla="*/ 519258 w 521791"/>
                  <a:gd name="connsiteY27" fmla="*/ 321686 h 466065"/>
                  <a:gd name="connsiteX28" fmla="*/ 501527 w 521791"/>
                  <a:gd name="connsiteY28" fmla="*/ 296356 h 466065"/>
                  <a:gd name="connsiteX29" fmla="*/ 516725 w 521791"/>
                  <a:gd name="connsiteY29" fmla="*/ 253296 h 466065"/>
                  <a:gd name="connsiteX30" fmla="*/ 476197 w 521791"/>
                  <a:gd name="connsiteY30" fmla="*/ 240631 h 466065"/>
                  <a:gd name="connsiteX31" fmla="*/ 448335 w 521791"/>
                  <a:gd name="connsiteY31" fmla="*/ 192505 h 466065"/>
                  <a:gd name="connsiteX32" fmla="*/ 410340 w 521791"/>
                  <a:gd name="connsiteY32" fmla="*/ 167175 h 466065"/>
                  <a:gd name="connsiteX33" fmla="*/ 379945 w 521791"/>
                  <a:gd name="connsiteY33" fmla="*/ 88653 h 466065"/>
                  <a:gd name="connsiteX34" fmla="*/ 349549 w 521791"/>
                  <a:gd name="connsiteY34" fmla="*/ 53192 h 466065"/>
                  <a:gd name="connsiteX35" fmla="*/ 336884 w 521791"/>
                  <a:gd name="connsiteY35" fmla="*/ 0 h 466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1791" h="466065">
                    <a:moveTo>
                      <a:pt x="336884" y="0"/>
                    </a:moveTo>
                    <a:lnTo>
                      <a:pt x="271027" y="2533"/>
                    </a:lnTo>
                    <a:lnTo>
                      <a:pt x="238099" y="48126"/>
                    </a:lnTo>
                    <a:lnTo>
                      <a:pt x="200104" y="60791"/>
                    </a:lnTo>
                    <a:lnTo>
                      <a:pt x="131714" y="98785"/>
                    </a:lnTo>
                    <a:lnTo>
                      <a:pt x="131714" y="134247"/>
                    </a:lnTo>
                    <a:lnTo>
                      <a:pt x="151978" y="174774"/>
                    </a:lnTo>
                    <a:lnTo>
                      <a:pt x="159577" y="207703"/>
                    </a:lnTo>
                    <a:lnTo>
                      <a:pt x="169709" y="222900"/>
                    </a:lnTo>
                    <a:lnTo>
                      <a:pt x="141846" y="235565"/>
                    </a:lnTo>
                    <a:lnTo>
                      <a:pt x="53192" y="263428"/>
                    </a:lnTo>
                    <a:lnTo>
                      <a:pt x="22797" y="321686"/>
                    </a:lnTo>
                    <a:lnTo>
                      <a:pt x="0" y="339417"/>
                    </a:lnTo>
                    <a:lnTo>
                      <a:pt x="7599" y="369812"/>
                    </a:lnTo>
                    <a:lnTo>
                      <a:pt x="20264" y="397675"/>
                    </a:lnTo>
                    <a:lnTo>
                      <a:pt x="113983" y="402741"/>
                    </a:lnTo>
                    <a:lnTo>
                      <a:pt x="134247" y="390076"/>
                    </a:lnTo>
                    <a:lnTo>
                      <a:pt x="162110" y="387543"/>
                    </a:lnTo>
                    <a:lnTo>
                      <a:pt x="189972" y="405274"/>
                    </a:lnTo>
                    <a:lnTo>
                      <a:pt x="243165" y="466065"/>
                    </a:lnTo>
                    <a:lnTo>
                      <a:pt x="288758" y="430604"/>
                    </a:lnTo>
                    <a:lnTo>
                      <a:pt x="359681" y="433136"/>
                    </a:lnTo>
                    <a:lnTo>
                      <a:pt x="390077" y="405274"/>
                    </a:lnTo>
                    <a:lnTo>
                      <a:pt x="423005" y="359681"/>
                    </a:lnTo>
                    <a:lnTo>
                      <a:pt x="466065" y="341950"/>
                    </a:lnTo>
                    <a:lnTo>
                      <a:pt x="488862" y="331818"/>
                    </a:lnTo>
                    <a:lnTo>
                      <a:pt x="521791" y="344483"/>
                    </a:lnTo>
                    <a:lnTo>
                      <a:pt x="519258" y="321686"/>
                    </a:lnTo>
                    <a:lnTo>
                      <a:pt x="501527" y="296356"/>
                    </a:lnTo>
                    <a:lnTo>
                      <a:pt x="516725" y="253296"/>
                    </a:lnTo>
                    <a:lnTo>
                      <a:pt x="476197" y="240631"/>
                    </a:lnTo>
                    <a:lnTo>
                      <a:pt x="448335" y="192505"/>
                    </a:lnTo>
                    <a:lnTo>
                      <a:pt x="410340" y="167175"/>
                    </a:lnTo>
                    <a:lnTo>
                      <a:pt x="379945" y="88653"/>
                    </a:lnTo>
                    <a:lnTo>
                      <a:pt x="349549" y="53192"/>
                    </a:lnTo>
                    <a:lnTo>
                      <a:pt x="336884" y="0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 321">
                <a:extLst>
                  <a:ext uri="{FF2B5EF4-FFF2-40B4-BE49-F238E27FC236}">
                    <a16:creationId xmlns:a16="http://schemas.microsoft.com/office/drawing/2014/main" id="{77734564-AA80-5AED-35E5-C5FDD7498992}"/>
                  </a:ext>
                </a:extLst>
              </p:cNvPr>
              <p:cNvSpPr/>
              <p:nvPr/>
            </p:nvSpPr>
            <p:spPr>
              <a:xfrm rot="21396613">
                <a:off x="2816279" y="1705974"/>
                <a:ext cx="593535" cy="600026"/>
              </a:xfrm>
              <a:custGeom>
                <a:avLst/>
                <a:gdLst>
                  <a:gd name="connsiteX0" fmla="*/ 22797 w 542054"/>
                  <a:gd name="connsiteY0" fmla="*/ 146912 h 562318"/>
                  <a:gd name="connsiteX1" fmla="*/ 0 w 542054"/>
                  <a:gd name="connsiteY1" fmla="*/ 205170 h 562318"/>
                  <a:gd name="connsiteX2" fmla="*/ 55725 w 542054"/>
                  <a:gd name="connsiteY2" fmla="*/ 245697 h 562318"/>
                  <a:gd name="connsiteX3" fmla="*/ 96252 w 542054"/>
                  <a:gd name="connsiteY3" fmla="*/ 321686 h 562318"/>
                  <a:gd name="connsiteX4" fmla="*/ 157044 w 542054"/>
                  <a:gd name="connsiteY4" fmla="*/ 347016 h 562318"/>
                  <a:gd name="connsiteX5" fmla="*/ 151978 w 542054"/>
                  <a:gd name="connsiteY5" fmla="*/ 400208 h 562318"/>
                  <a:gd name="connsiteX6" fmla="*/ 164643 w 542054"/>
                  <a:gd name="connsiteY6" fmla="*/ 415406 h 562318"/>
                  <a:gd name="connsiteX7" fmla="*/ 164643 w 542054"/>
                  <a:gd name="connsiteY7" fmla="*/ 438203 h 562318"/>
                  <a:gd name="connsiteX8" fmla="*/ 164643 w 542054"/>
                  <a:gd name="connsiteY8" fmla="*/ 501527 h 562318"/>
                  <a:gd name="connsiteX9" fmla="*/ 197571 w 542054"/>
                  <a:gd name="connsiteY9" fmla="*/ 552186 h 562318"/>
                  <a:gd name="connsiteX10" fmla="*/ 248230 w 542054"/>
                  <a:gd name="connsiteY10" fmla="*/ 557252 h 562318"/>
                  <a:gd name="connsiteX11" fmla="*/ 298890 w 542054"/>
                  <a:gd name="connsiteY11" fmla="*/ 526857 h 562318"/>
                  <a:gd name="connsiteX12" fmla="*/ 311554 w 542054"/>
                  <a:gd name="connsiteY12" fmla="*/ 526857 h 562318"/>
                  <a:gd name="connsiteX13" fmla="*/ 324219 w 542054"/>
                  <a:gd name="connsiteY13" fmla="*/ 557252 h 562318"/>
                  <a:gd name="connsiteX14" fmla="*/ 387543 w 542054"/>
                  <a:gd name="connsiteY14" fmla="*/ 562318 h 562318"/>
                  <a:gd name="connsiteX15" fmla="*/ 440736 w 542054"/>
                  <a:gd name="connsiteY15" fmla="*/ 544587 h 562318"/>
                  <a:gd name="connsiteX16" fmla="*/ 481263 w 542054"/>
                  <a:gd name="connsiteY16" fmla="*/ 491395 h 562318"/>
                  <a:gd name="connsiteX17" fmla="*/ 488862 w 542054"/>
                  <a:gd name="connsiteY17" fmla="*/ 448335 h 562318"/>
                  <a:gd name="connsiteX18" fmla="*/ 466065 w 542054"/>
                  <a:gd name="connsiteY18" fmla="*/ 433137 h 562318"/>
                  <a:gd name="connsiteX19" fmla="*/ 453400 w 542054"/>
                  <a:gd name="connsiteY19" fmla="*/ 453401 h 562318"/>
                  <a:gd name="connsiteX20" fmla="*/ 438203 w 542054"/>
                  <a:gd name="connsiteY20" fmla="*/ 458466 h 562318"/>
                  <a:gd name="connsiteX21" fmla="*/ 402741 w 542054"/>
                  <a:gd name="connsiteY21" fmla="*/ 440736 h 562318"/>
                  <a:gd name="connsiteX22" fmla="*/ 382477 w 542054"/>
                  <a:gd name="connsiteY22" fmla="*/ 428071 h 562318"/>
                  <a:gd name="connsiteX23" fmla="*/ 395142 w 542054"/>
                  <a:gd name="connsiteY23" fmla="*/ 407807 h 562318"/>
                  <a:gd name="connsiteX24" fmla="*/ 387543 w 542054"/>
                  <a:gd name="connsiteY24" fmla="*/ 397675 h 562318"/>
                  <a:gd name="connsiteX25" fmla="*/ 407807 w 542054"/>
                  <a:gd name="connsiteY25" fmla="*/ 359681 h 562318"/>
                  <a:gd name="connsiteX26" fmla="*/ 445802 w 542054"/>
                  <a:gd name="connsiteY26" fmla="*/ 362214 h 562318"/>
                  <a:gd name="connsiteX27" fmla="*/ 468598 w 542054"/>
                  <a:gd name="connsiteY27" fmla="*/ 354615 h 562318"/>
                  <a:gd name="connsiteX28" fmla="*/ 493928 w 542054"/>
                  <a:gd name="connsiteY28" fmla="*/ 316620 h 562318"/>
                  <a:gd name="connsiteX29" fmla="*/ 491395 w 542054"/>
                  <a:gd name="connsiteY29" fmla="*/ 293824 h 562318"/>
                  <a:gd name="connsiteX30" fmla="*/ 460999 w 542054"/>
                  <a:gd name="connsiteY30" fmla="*/ 263428 h 562318"/>
                  <a:gd name="connsiteX31" fmla="*/ 481263 w 542054"/>
                  <a:gd name="connsiteY31" fmla="*/ 220368 h 562318"/>
                  <a:gd name="connsiteX32" fmla="*/ 483796 w 542054"/>
                  <a:gd name="connsiteY32" fmla="*/ 205170 h 562318"/>
                  <a:gd name="connsiteX33" fmla="*/ 476197 w 542054"/>
                  <a:gd name="connsiteY33" fmla="*/ 169709 h 562318"/>
                  <a:gd name="connsiteX34" fmla="*/ 491395 w 542054"/>
                  <a:gd name="connsiteY34" fmla="*/ 144379 h 562318"/>
                  <a:gd name="connsiteX35" fmla="*/ 542054 w 542054"/>
                  <a:gd name="connsiteY35" fmla="*/ 113983 h 562318"/>
                  <a:gd name="connsiteX36" fmla="*/ 506593 w 542054"/>
                  <a:gd name="connsiteY36" fmla="*/ 58258 h 562318"/>
                  <a:gd name="connsiteX37" fmla="*/ 471131 w 542054"/>
                  <a:gd name="connsiteY37" fmla="*/ 60791 h 562318"/>
                  <a:gd name="connsiteX38" fmla="*/ 466065 w 542054"/>
                  <a:gd name="connsiteY38" fmla="*/ 20264 h 562318"/>
                  <a:gd name="connsiteX39" fmla="*/ 466065 w 542054"/>
                  <a:gd name="connsiteY39" fmla="*/ 12665 h 562318"/>
                  <a:gd name="connsiteX40" fmla="*/ 433137 w 542054"/>
                  <a:gd name="connsiteY40" fmla="*/ 0 h 562318"/>
                  <a:gd name="connsiteX41" fmla="*/ 420472 w 542054"/>
                  <a:gd name="connsiteY41" fmla="*/ 45593 h 562318"/>
                  <a:gd name="connsiteX42" fmla="*/ 435670 w 542054"/>
                  <a:gd name="connsiteY42" fmla="*/ 68390 h 562318"/>
                  <a:gd name="connsiteX43" fmla="*/ 435670 w 542054"/>
                  <a:gd name="connsiteY43" fmla="*/ 91187 h 562318"/>
                  <a:gd name="connsiteX44" fmla="*/ 407807 w 542054"/>
                  <a:gd name="connsiteY44" fmla="*/ 81055 h 562318"/>
                  <a:gd name="connsiteX45" fmla="*/ 344483 w 542054"/>
                  <a:gd name="connsiteY45" fmla="*/ 98786 h 562318"/>
                  <a:gd name="connsiteX46" fmla="*/ 278626 w 542054"/>
                  <a:gd name="connsiteY46" fmla="*/ 174775 h 562318"/>
                  <a:gd name="connsiteX47" fmla="*/ 210236 w 542054"/>
                  <a:gd name="connsiteY47" fmla="*/ 182373 h 562318"/>
                  <a:gd name="connsiteX48" fmla="*/ 162110 w 542054"/>
                  <a:gd name="connsiteY48" fmla="*/ 210236 h 562318"/>
                  <a:gd name="connsiteX49" fmla="*/ 88654 w 542054"/>
                  <a:gd name="connsiteY49" fmla="*/ 136780 h 562318"/>
                  <a:gd name="connsiteX50" fmla="*/ 22797 w 542054"/>
                  <a:gd name="connsiteY50" fmla="*/ 146912 h 562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542054" h="562318">
                    <a:moveTo>
                      <a:pt x="22797" y="146912"/>
                    </a:moveTo>
                    <a:lnTo>
                      <a:pt x="0" y="205170"/>
                    </a:lnTo>
                    <a:lnTo>
                      <a:pt x="55725" y="245697"/>
                    </a:lnTo>
                    <a:lnTo>
                      <a:pt x="96252" y="321686"/>
                    </a:lnTo>
                    <a:lnTo>
                      <a:pt x="157044" y="347016"/>
                    </a:lnTo>
                    <a:lnTo>
                      <a:pt x="151978" y="400208"/>
                    </a:lnTo>
                    <a:lnTo>
                      <a:pt x="164643" y="415406"/>
                    </a:lnTo>
                    <a:lnTo>
                      <a:pt x="164643" y="438203"/>
                    </a:lnTo>
                    <a:lnTo>
                      <a:pt x="164643" y="501527"/>
                    </a:lnTo>
                    <a:lnTo>
                      <a:pt x="197571" y="552186"/>
                    </a:lnTo>
                    <a:lnTo>
                      <a:pt x="248230" y="557252"/>
                    </a:lnTo>
                    <a:lnTo>
                      <a:pt x="298890" y="526857"/>
                    </a:lnTo>
                    <a:lnTo>
                      <a:pt x="311554" y="526857"/>
                    </a:lnTo>
                    <a:lnTo>
                      <a:pt x="324219" y="557252"/>
                    </a:lnTo>
                    <a:lnTo>
                      <a:pt x="387543" y="562318"/>
                    </a:lnTo>
                    <a:lnTo>
                      <a:pt x="440736" y="544587"/>
                    </a:lnTo>
                    <a:lnTo>
                      <a:pt x="481263" y="491395"/>
                    </a:lnTo>
                    <a:lnTo>
                      <a:pt x="488862" y="448335"/>
                    </a:lnTo>
                    <a:lnTo>
                      <a:pt x="466065" y="433137"/>
                    </a:lnTo>
                    <a:lnTo>
                      <a:pt x="453400" y="453401"/>
                    </a:lnTo>
                    <a:lnTo>
                      <a:pt x="438203" y="458466"/>
                    </a:lnTo>
                    <a:lnTo>
                      <a:pt x="402741" y="440736"/>
                    </a:lnTo>
                    <a:lnTo>
                      <a:pt x="382477" y="428071"/>
                    </a:lnTo>
                    <a:lnTo>
                      <a:pt x="395142" y="407807"/>
                    </a:lnTo>
                    <a:lnTo>
                      <a:pt x="387543" y="397675"/>
                    </a:lnTo>
                    <a:lnTo>
                      <a:pt x="407807" y="359681"/>
                    </a:lnTo>
                    <a:lnTo>
                      <a:pt x="445802" y="362214"/>
                    </a:lnTo>
                    <a:lnTo>
                      <a:pt x="468598" y="354615"/>
                    </a:lnTo>
                    <a:lnTo>
                      <a:pt x="493928" y="316620"/>
                    </a:lnTo>
                    <a:lnTo>
                      <a:pt x="491395" y="293824"/>
                    </a:lnTo>
                    <a:lnTo>
                      <a:pt x="460999" y="263428"/>
                    </a:lnTo>
                    <a:lnTo>
                      <a:pt x="481263" y="220368"/>
                    </a:lnTo>
                    <a:lnTo>
                      <a:pt x="483796" y="205170"/>
                    </a:lnTo>
                    <a:lnTo>
                      <a:pt x="476197" y="169709"/>
                    </a:lnTo>
                    <a:lnTo>
                      <a:pt x="491395" y="144379"/>
                    </a:lnTo>
                    <a:lnTo>
                      <a:pt x="542054" y="113983"/>
                    </a:lnTo>
                    <a:lnTo>
                      <a:pt x="506593" y="58258"/>
                    </a:lnTo>
                    <a:lnTo>
                      <a:pt x="471131" y="60791"/>
                    </a:lnTo>
                    <a:lnTo>
                      <a:pt x="466065" y="20264"/>
                    </a:lnTo>
                    <a:lnTo>
                      <a:pt x="466065" y="12665"/>
                    </a:lnTo>
                    <a:lnTo>
                      <a:pt x="433137" y="0"/>
                    </a:lnTo>
                    <a:lnTo>
                      <a:pt x="420472" y="45593"/>
                    </a:lnTo>
                    <a:lnTo>
                      <a:pt x="435670" y="68390"/>
                    </a:lnTo>
                    <a:lnTo>
                      <a:pt x="435670" y="91187"/>
                    </a:lnTo>
                    <a:lnTo>
                      <a:pt x="407807" y="81055"/>
                    </a:lnTo>
                    <a:lnTo>
                      <a:pt x="344483" y="98786"/>
                    </a:lnTo>
                    <a:lnTo>
                      <a:pt x="278626" y="174775"/>
                    </a:lnTo>
                    <a:lnTo>
                      <a:pt x="210236" y="182373"/>
                    </a:lnTo>
                    <a:lnTo>
                      <a:pt x="162110" y="210236"/>
                    </a:lnTo>
                    <a:lnTo>
                      <a:pt x="88654" y="136780"/>
                    </a:lnTo>
                    <a:lnTo>
                      <a:pt x="22797" y="146912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 322">
                <a:extLst>
                  <a:ext uri="{FF2B5EF4-FFF2-40B4-BE49-F238E27FC236}">
                    <a16:creationId xmlns:a16="http://schemas.microsoft.com/office/drawing/2014/main" id="{3AFC9CD4-20CB-0657-FB71-AFC3F665948F}"/>
                  </a:ext>
                </a:extLst>
              </p:cNvPr>
              <p:cNvSpPr/>
              <p:nvPr/>
            </p:nvSpPr>
            <p:spPr>
              <a:xfrm rot="21396613">
                <a:off x="3405722" y="1602097"/>
                <a:ext cx="558059" cy="549454"/>
              </a:xfrm>
              <a:custGeom>
                <a:avLst/>
                <a:gdLst>
                  <a:gd name="connsiteX0" fmla="*/ 0 w 509588"/>
                  <a:gd name="connsiteY0" fmla="*/ 180975 h 514350"/>
                  <a:gd name="connsiteX1" fmla="*/ 54769 w 509588"/>
                  <a:gd name="connsiteY1" fmla="*/ 264319 h 514350"/>
                  <a:gd name="connsiteX2" fmla="*/ 80963 w 509588"/>
                  <a:gd name="connsiteY2" fmla="*/ 271463 h 514350"/>
                  <a:gd name="connsiteX3" fmla="*/ 88107 w 509588"/>
                  <a:gd name="connsiteY3" fmla="*/ 326231 h 514350"/>
                  <a:gd name="connsiteX4" fmla="*/ 66675 w 509588"/>
                  <a:gd name="connsiteY4" fmla="*/ 426244 h 514350"/>
                  <a:gd name="connsiteX5" fmla="*/ 111919 w 509588"/>
                  <a:gd name="connsiteY5" fmla="*/ 433388 h 514350"/>
                  <a:gd name="connsiteX6" fmla="*/ 178594 w 509588"/>
                  <a:gd name="connsiteY6" fmla="*/ 414338 h 514350"/>
                  <a:gd name="connsiteX7" fmla="*/ 221457 w 509588"/>
                  <a:gd name="connsiteY7" fmla="*/ 433388 h 514350"/>
                  <a:gd name="connsiteX8" fmla="*/ 330994 w 509588"/>
                  <a:gd name="connsiteY8" fmla="*/ 509588 h 514350"/>
                  <a:gd name="connsiteX9" fmla="*/ 395288 w 509588"/>
                  <a:gd name="connsiteY9" fmla="*/ 514350 h 514350"/>
                  <a:gd name="connsiteX10" fmla="*/ 414338 w 509588"/>
                  <a:gd name="connsiteY10" fmla="*/ 495300 h 514350"/>
                  <a:gd name="connsiteX11" fmla="*/ 385763 w 509588"/>
                  <a:gd name="connsiteY11" fmla="*/ 473869 h 514350"/>
                  <a:gd name="connsiteX12" fmla="*/ 385763 w 509588"/>
                  <a:gd name="connsiteY12" fmla="*/ 440531 h 514350"/>
                  <a:gd name="connsiteX13" fmla="*/ 423863 w 509588"/>
                  <a:gd name="connsiteY13" fmla="*/ 419100 h 514350"/>
                  <a:gd name="connsiteX14" fmla="*/ 431007 w 509588"/>
                  <a:gd name="connsiteY14" fmla="*/ 376238 h 514350"/>
                  <a:gd name="connsiteX15" fmla="*/ 435769 w 509588"/>
                  <a:gd name="connsiteY15" fmla="*/ 335756 h 514350"/>
                  <a:gd name="connsiteX16" fmla="*/ 497682 w 509588"/>
                  <a:gd name="connsiteY16" fmla="*/ 278606 h 514350"/>
                  <a:gd name="connsiteX17" fmla="*/ 509588 w 509588"/>
                  <a:gd name="connsiteY17" fmla="*/ 200025 h 514350"/>
                  <a:gd name="connsiteX18" fmla="*/ 390525 w 509588"/>
                  <a:gd name="connsiteY18" fmla="*/ 95250 h 514350"/>
                  <a:gd name="connsiteX19" fmla="*/ 323850 w 509588"/>
                  <a:gd name="connsiteY19" fmla="*/ 100013 h 514350"/>
                  <a:gd name="connsiteX20" fmla="*/ 295275 w 509588"/>
                  <a:gd name="connsiteY20" fmla="*/ 76200 h 514350"/>
                  <a:gd name="connsiteX21" fmla="*/ 283369 w 509588"/>
                  <a:gd name="connsiteY21" fmla="*/ 42863 h 514350"/>
                  <a:gd name="connsiteX22" fmla="*/ 266700 w 509588"/>
                  <a:gd name="connsiteY22" fmla="*/ 16669 h 514350"/>
                  <a:gd name="connsiteX23" fmla="*/ 192882 w 509588"/>
                  <a:gd name="connsiteY23" fmla="*/ 0 h 514350"/>
                  <a:gd name="connsiteX24" fmla="*/ 195263 w 509588"/>
                  <a:gd name="connsiteY24" fmla="*/ 21431 h 514350"/>
                  <a:gd name="connsiteX25" fmla="*/ 159544 w 509588"/>
                  <a:gd name="connsiteY25" fmla="*/ 33338 h 514350"/>
                  <a:gd name="connsiteX26" fmla="*/ 100013 w 509588"/>
                  <a:gd name="connsiteY26" fmla="*/ 16669 h 514350"/>
                  <a:gd name="connsiteX27" fmla="*/ 38100 w 509588"/>
                  <a:gd name="connsiteY27" fmla="*/ 52388 h 514350"/>
                  <a:gd name="connsiteX28" fmla="*/ 42863 w 509588"/>
                  <a:gd name="connsiteY28" fmla="*/ 109538 h 514350"/>
                  <a:gd name="connsiteX29" fmla="*/ 0 w 509588"/>
                  <a:gd name="connsiteY29" fmla="*/ 180975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09588" h="514350">
                    <a:moveTo>
                      <a:pt x="0" y="180975"/>
                    </a:moveTo>
                    <a:lnTo>
                      <a:pt x="54769" y="264319"/>
                    </a:lnTo>
                    <a:lnTo>
                      <a:pt x="80963" y="271463"/>
                    </a:lnTo>
                    <a:lnTo>
                      <a:pt x="88107" y="326231"/>
                    </a:lnTo>
                    <a:lnTo>
                      <a:pt x="66675" y="426244"/>
                    </a:lnTo>
                    <a:lnTo>
                      <a:pt x="111919" y="433388"/>
                    </a:lnTo>
                    <a:lnTo>
                      <a:pt x="178594" y="414338"/>
                    </a:lnTo>
                    <a:lnTo>
                      <a:pt x="221457" y="433388"/>
                    </a:lnTo>
                    <a:lnTo>
                      <a:pt x="330994" y="509588"/>
                    </a:lnTo>
                    <a:lnTo>
                      <a:pt x="395288" y="514350"/>
                    </a:lnTo>
                    <a:lnTo>
                      <a:pt x="414338" y="495300"/>
                    </a:lnTo>
                    <a:lnTo>
                      <a:pt x="385763" y="473869"/>
                    </a:lnTo>
                    <a:lnTo>
                      <a:pt x="385763" y="440531"/>
                    </a:lnTo>
                    <a:lnTo>
                      <a:pt x="423863" y="419100"/>
                    </a:lnTo>
                    <a:lnTo>
                      <a:pt x="431007" y="376238"/>
                    </a:lnTo>
                    <a:lnTo>
                      <a:pt x="435769" y="335756"/>
                    </a:lnTo>
                    <a:lnTo>
                      <a:pt x="497682" y="278606"/>
                    </a:lnTo>
                    <a:lnTo>
                      <a:pt x="509588" y="200025"/>
                    </a:lnTo>
                    <a:lnTo>
                      <a:pt x="390525" y="95250"/>
                    </a:lnTo>
                    <a:lnTo>
                      <a:pt x="323850" y="100013"/>
                    </a:lnTo>
                    <a:lnTo>
                      <a:pt x="295275" y="76200"/>
                    </a:lnTo>
                    <a:lnTo>
                      <a:pt x="283369" y="42863"/>
                    </a:lnTo>
                    <a:lnTo>
                      <a:pt x="266700" y="16669"/>
                    </a:lnTo>
                    <a:lnTo>
                      <a:pt x="192882" y="0"/>
                    </a:lnTo>
                    <a:lnTo>
                      <a:pt x="195263" y="21431"/>
                    </a:lnTo>
                    <a:lnTo>
                      <a:pt x="159544" y="33338"/>
                    </a:lnTo>
                    <a:lnTo>
                      <a:pt x="100013" y="16669"/>
                    </a:lnTo>
                    <a:lnTo>
                      <a:pt x="38100" y="52388"/>
                    </a:lnTo>
                    <a:lnTo>
                      <a:pt x="42863" y="109538"/>
                    </a:lnTo>
                    <a:lnTo>
                      <a:pt x="0" y="180975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 323">
                <a:extLst>
                  <a:ext uri="{FF2B5EF4-FFF2-40B4-BE49-F238E27FC236}">
                    <a16:creationId xmlns:a16="http://schemas.microsoft.com/office/drawing/2014/main" id="{4416D7FE-468A-E8F0-2452-6A436C10DC12}"/>
                  </a:ext>
                </a:extLst>
              </p:cNvPr>
              <p:cNvSpPr/>
              <p:nvPr/>
            </p:nvSpPr>
            <p:spPr>
              <a:xfrm rot="21396613">
                <a:off x="3276098" y="1783881"/>
                <a:ext cx="1341254" cy="1282060"/>
              </a:xfrm>
              <a:custGeom>
                <a:avLst/>
                <a:gdLst>
                  <a:gd name="connsiteX0" fmla="*/ 0 w 1226344"/>
                  <a:gd name="connsiteY0" fmla="*/ 452438 h 1152525"/>
                  <a:gd name="connsiteX1" fmla="*/ 28575 w 1226344"/>
                  <a:gd name="connsiteY1" fmla="*/ 526257 h 1152525"/>
                  <a:gd name="connsiteX2" fmla="*/ 73819 w 1226344"/>
                  <a:gd name="connsiteY2" fmla="*/ 564357 h 1152525"/>
                  <a:gd name="connsiteX3" fmla="*/ 109537 w 1226344"/>
                  <a:gd name="connsiteY3" fmla="*/ 657225 h 1152525"/>
                  <a:gd name="connsiteX4" fmla="*/ 128587 w 1226344"/>
                  <a:gd name="connsiteY4" fmla="*/ 685800 h 1152525"/>
                  <a:gd name="connsiteX5" fmla="*/ 142875 w 1226344"/>
                  <a:gd name="connsiteY5" fmla="*/ 666750 h 1152525"/>
                  <a:gd name="connsiteX6" fmla="*/ 142875 w 1226344"/>
                  <a:gd name="connsiteY6" fmla="*/ 633413 h 1152525"/>
                  <a:gd name="connsiteX7" fmla="*/ 180975 w 1226344"/>
                  <a:gd name="connsiteY7" fmla="*/ 666750 h 1152525"/>
                  <a:gd name="connsiteX8" fmla="*/ 240506 w 1226344"/>
                  <a:gd name="connsiteY8" fmla="*/ 673894 h 1152525"/>
                  <a:gd name="connsiteX9" fmla="*/ 271462 w 1226344"/>
                  <a:gd name="connsiteY9" fmla="*/ 702469 h 1152525"/>
                  <a:gd name="connsiteX10" fmla="*/ 326231 w 1226344"/>
                  <a:gd name="connsiteY10" fmla="*/ 721519 h 1152525"/>
                  <a:gd name="connsiteX11" fmla="*/ 338137 w 1226344"/>
                  <a:gd name="connsiteY11" fmla="*/ 762000 h 1152525"/>
                  <a:gd name="connsiteX12" fmla="*/ 321469 w 1226344"/>
                  <a:gd name="connsiteY12" fmla="*/ 781050 h 1152525"/>
                  <a:gd name="connsiteX13" fmla="*/ 311944 w 1226344"/>
                  <a:gd name="connsiteY13" fmla="*/ 807244 h 1152525"/>
                  <a:gd name="connsiteX14" fmla="*/ 266700 w 1226344"/>
                  <a:gd name="connsiteY14" fmla="*/ 826294 h 1152525"/>
                  <a:gd name="connsiteX15" fmla="*/ 219075 w 1226344"/>
                  <a:gd name="connsiteY15" fmla="*/ 900113 h 1152525"/>
                  <a:gd name="connsiteX16" fmla="*/ 204787 w 1226344"/>
                  <a:gd name="connsiteY16" fmla="*/ 909638 h 1152525"/>
                  <a:gd name="connsiteX17" fmla="*/ 192881 w 1226344"/>
                  <a:gd name="connsiteY17" fmla="*/ 973932 h 1152525"/>
                  <a:gd name="connsiteX18" fmla="*/ 152400 w 1226344"/>
                  <a:gd name="connsiteY18" fmla="*/ 1042988 h 1152525"/>
                  <a:gd name="connsiteX19" fmla="*/ 157162 w 1226344"/>
                  <a:gd name="connsiteY19" fmla="*/ 1071563 h 1152525"/>
                  <a:gd name="connsiteX20" fmla="*/ 204787 w 1226344"/>
                  <a:gd name="connsiteY20" fmla="*/ 1083469 h 1152525"/>
                  <a:gd name="connsiteX21" fmla="*/ 233362 w 1226344"/>
                  <a:gd name="connsiteY21" fmla="*/ 1133475 h 1152525"/>
                  <a:gd name="connsiteX22" fmla="*/ 247650 w 1226344"/>
                  <a:gd name="connsiteY22" fmla="*/ 1133475 h 1152525"/>
                  <a:gd name="connsiteX23" fmla="*/ 266700 w 1226344"/>
                  <a:gd name="connsiteY23" fmla="*/ 1102519 h 1152525"/>
                  <a:gd name="connsiteX24" fmla="*/ 257175 w 1226344"/>
                  <a:gd name="connsiteY24" fmla="*/ 1081088 h 1152525"/>
                  <a:gd name="connsiteX25" fmla="*/ 230981 w 1226344"/>
                  <a:gd name="connsiteY25" fmla="*/ 1076325 h 1152525"/>
                  <a:gd name="connsiteX26" fmla="*/ 230981 w 1226344"/>
                  <a:gd name="connsiteY26" fmla="*/ 1052513 h 1152525"/>
                  <a:gd name="connsiteX27" fmla="*/ 228600 w 1226344"/>
                  <a:gd name="connsiteY27" fmla="*/ 1009650 h 1152525"/>
                  <a:gd name="connsiteX28" fmla="*/ 216694 w 1226344"/>
                  <a:gd name="connsiteY28" fmla="*/ 976313 h 1152525"/>
                  <a:gd name="connsiteX29" fmla="*/ 223837 w 1226344"/>
                  <a:gd name="connsiteY29" fmla="*/ 940594 h 1152525"/>
                  <a:gd name="connsiteX30" fmla="*/ 266700 w 1226344"/>
                  <a:gd name="connsiteY30" fmla="*/ 900113 h 1152525"/>
                  <a:gd name="connsiteX31" fmla="*/ 278606 w 1226344"/>
                  <a:gd name="connsiteY31" fmla="*/ 897732 h 1152525"/>
                  <a:gd name="connsiteX32" fmla="*/ 290512 w 1226344"/>
                  <a:gd name="connsiteY32" fmla="*/ 938213 h 1152525"/>
                  <a:gd name="connsiteX33" fmla="*/ 302419 w 1226344"/>
                  <a:gd name="connsiteY33" fmla="*/ 938213 h 1152525"/>
                  <a:gd name="connsiteX34" fmla="*/ 321469 w 1226344"/>
                  <a:gd name="connsiteY34" fmla="*/ 962025 h 1152525"/>
                  <a:gd name="connsiteX35" fmla="*/ 338137 w 1226344"/>
                  <a:gd name="connsiteY35" fmla="*/ 957263 h 1152525"/>
                  <a:gd name="connsiteX36" fmla="*/ 359569 w 1226344"/>
                  <a:gd name="connsiteY36" fmla="*/ 942975 h 1152525"/>
                  <a:gd name="connsiteX37" fmla="*/ 483394 w 1226344"/>
                  <a:gd name="connsiteY37" fmla="*/ 954882 h 1152525"/>
                  <a:gd name="connsiteX38" fmla="*/ 516731 w 1226344"/>
                  <a:gd name="connsiteY38" fmla="*/ 947738 h 1152525"/>
                  <a:gd name="connsiteX39" fmla="*/ 545306 w 1226344"/>
                  <a:gd name="connsiteY39" fmla="*/ 964407 h 1152525"/>
                  <a:gd name="connsiteX40" fmla="*/ 561975 w 1226344"/>
                  <a:gd name="connsiteY40" fmla="*/ 978694 h 1152525"/>
                  <a:gd name="connsiteX41" fmla="*/ 604837 w 1226344"/>
                  <a:gd name="connsiteY41" fmla="*/ 981075 h 1152525"/>
                  <a:gd name="connsiteX42" fmla="*/ 640556 w 1226344"/>
                  <a:gd name="connsiteY42" fmla="*/ 1021557 h 1152525"/>
                  <a:gd name="connsiteX43" fmla="*/ 659606 w 1226344"/>
                  <a:gd name="connsiteY43" fmla="*/ 1019175 h 1152525"/>
                  <a:gd name="connsiteX44" fmla="*/ 702469 w 1226344"/>
                  <a:gd name="connsiteY44" fmla="*/ 976313 h 1152525"/>
                  <a:gd name="connsiteX45" fmla="*/ 735806 w 1226344"/>
                  <a:gd name="connsiteY45" fmla="*/ 1000125 h 1152525"/>
                  <a:gd name="connsiteX46" fmla="*/ 752475 w 1226344"/>
                  <a:gd name="connsiteY46" fmla="*/ 1023938 h 1152525"/>
                  <a:gd name="connsiteX47" fmla="*/ 785812 w 1226344"/>
                  <a:gd name="connsiteY47" fmla="*/ 1021557 h 1152525"/>
                  <a:gd name="connsiteX48" fmla="*/ 819150 w 1226344"/>
                  <a:gd name="connsiteY48" fmla="*/ 1042988 h 1152525"/>
                  <a:gd name="connsiteX49" fmla="*/ 823912 w 1226344"/>
                  <a:gd name="connsiteY49" fmla="*/ 1064419 h 1152525"/>
                  <a:gd name="connsiteX50" fmla="*/ 842962 w 1226344"/>
                  <a:gd name="connsiteY50" fmla="*/ 1066800 h 1152525"/>
                  <a:gd name="connsiteX51" fmla="*/ 904875 w 1226344"/>
                  <a:gd name="connsiteY51" fmla="*/ 1073944 h 1152525"/>
                  <a:gd name="connsiteX52" fmla="*/ 933450 w 1226344"/>
                  <a:gd name="connsiteY52" fmla="*/ 1112044 h 1152525"/>
                  <a:gd name="connsiteX53" fmla="*/ 938212 w 1226344"/>
                  <a:gd name="connsiteY53" fmla="*/ 1140619 h 1152525"/>
                  <a:gd name="connsiteX54" fmla="*/ 940594 w 1226344"/>
                  <a:gd name="connsiteY54" fmla="*/ 1152525 h 1152525"/>
                  <a:gd name="connsiteX55" fmla="*/ 1042987 w 1226344"/>
                  <a:gd name="connsiteY55" fmla="*/ 1150144 h 1152525"/>
                  <a:gd name="connsiteX56" fmla="*/ 1071562 w 1226344"/>
                  <a:gd name="connsiteY56" fmla="*/ 1069182 h 1152525"/>
                  <a:gd name="connsiteX57" fmla="*/ 1062037 w 1226344"/>
                  <a:gd name="connsiteY57" fmla="*/ 1045369 h 1152525"/>
                  <a:gd name="connsiteX58" fmla="*/ 1059656 w 1226344"/>
                  <a:gd name="connsiteY58" fmla="*/ 1012032 h 1152525"/>
                  <a:gd name="connsiteX59" fmla="*/ 1066800 w 1226344"/>
                  <a:gd name="connsiteY59" fmla="*/ 992982 h 1152525"/>
                  <a:gd name="connsiteX60" fmla="*/ 1083469 w 1226344"/>
                  <a:gd name="connsiteY60" fmla="*/ 973932 h 1152525"/>
                  <a:gd name="connsiteX61" fmla="*/ 1107281 w 1226344"/>
                  <a:gd name="connsiteY61" fmla="*/ 964407 h 1152525"/>
                  <a:gd name="connsiteX62" fmla="*/ 1133475 w 1226344"/>
                  <a:gd name="connsiteY62" fmla="*/ 921544 h 1152525"/>
                  <a:gd name="connsiteX63" fmla="*/ 1150144 w 1226344"/>
                  <a:gd name="connsiteY63" fmla="*/ 921544 h 1152525"/>
                  <a:gd name="connsiteX64" fmla="*/ 1197769 w 1226344"/>
                  <a:gd name="connsiteY64" fmla="*/ 940594 h 1152525"/>
                  <a:gd name="connsiteX65" fmla="*/ 1226344 w 1226344"/>
                  <a:gd name="connsiteY65" fmla="*/ 904875 h 1152525"/>
                  <a:gd name="connsiteX66" fmla="*/ 1195387 w 1226344"/>
                  <a:gd name="connsiteY66" fmla="*/ 852488 h 1152525"/>
                  <a:gd name="connsiteX67" fmla="*/ 1159669 w 1226344"/>
                  <a:gd name="connsiteY67" fmla="*/ 804863 h 1152525"/>
                  <a:gd name="connsiteX68" fmla="*/ 1162050 w 1226344"/>
                  <a:gd name="connsiteY68" fmla="*/ 762000 h 1152525"/>
                  <a:gd name="connsiteX69" fmla="*/ 1216819 w 1226344"/>
                  <a:gd name="connsiteY69" fmla="*/ 702469 h 1152525"/>
                  <a:gd name="connsiteX70" fmla="*/ 1219200 w 1226344"/>
                  <a:gd name="connsiteY70" fmla="*/ 676275 h 1152525"/>
                  <a:gd name="connsiteX71" fmla="*/ 1181100 w 1226344"/>
                  <a:gd name="connsiteY71" fmla="*/ 661988 h 1152525"/>
                  <a:gd name="connsiteX72" fmla="*/ 1150144 w 1226344"/>
                  <a:gd name="connsiteY72" fmla="*/ 635794 h 1152525"/>
                  <a:gd name="connsiteX73" fmla="*/ 1133475 w 1226344"/>
                  <a:gd name="connsiteY73" fmla="*/ 602457 h 1152525"/>
                  <a:gd name="connsiteX74" fmla="*/ 1083469 w 1226344"/>
                  <a:gd name="connsiteY74" fmla="*/ 604838 h 1152525"/>
                  <a:gd name="connsiteX75" fmla="*/ 1033462 w 1226344"/>
                  <a:gd name="connsiteY75" fmla="*/ 604838 h 1152525"/>
                  <a:gd name="connsiteX76" fmla="*/ 1014412 w 1226344"/>
                  <a:gd name="connsiteY76" fmla="*/ 583407 h 1152525"/>
                  <a:gd name="connsiteX77" fmla="*/ 950119 w 1226344"/>
                  <a:gd name="connsiteY77" fmla="*/ 578644 h 1152525"/>
                  <a:gd name="connsiteX78" fmla="*/ 933450 w 1226344"/>
                  <a:gd name="connsiteY78" fmla="*/ 561975 h 1152525"/>
                  <a:gd name="connsiteX79" fmla="*/ 933450 w 1226344"/>
                  <a:gd name="connsiteY79" fmla="*/ 547688 h 1152525"/>
                  <a:gd name="connsiteX80" fmla="*/ 859631 w 1226344"/>
                  <a:gd name="connsiteY80" fmla="*/ 511969 h 1152525"/>
                  <a:gd name="connsiteX81" fmla="*/ 850106 w 1226344"/>
                  <a:gd name="connsiteY81" fmla="*/ 492919 h 1152525"/>
                  <a:gd name="connsiteX82" fmla="*/ 828675 w 1226344"/>
                  <a:gd name="connsiteY82" fmla="*/ 476250 h 1152525"/>
                  <a:gd name="connsiteX83" fmla="*/ 795337 w 1226344"/>
                  <a:gd name="connsiteY83" fmla="*/ 478632 h 1152525"/>
                  <a:gd name="connsiteX84" fmla="*/ 773906 w 1226344"/>
                  <a:gd name="connsiteY84" fmla="*/ 471488 h 1152525"/>
                  <a:gd name="connsiteX85" fmla="*/ 728662 w 1226344"/>
                  <a:gd name="connsiteY85" fmla="*/ 428625 h 1152525"/>
                  <a:gd name="connsiteX86" fmla="*/ 700087 w 1226344"/>
                  <a:gd name="connsiteY86" fmla="*/ 421482 h 1152525"/>
                  <a:gd name="connsiteX87" fmla="*/ 666750 w 1226344"/>
                  <a:gd name="connsiteY87" fmla="*/ 383382 h 1152525"/>
                  <a:gd name="connsiteX88" fmla="*/ 626269 w 1226344"/>
                  <a:gd name="connsiteY88" fmla="*/ 369094 h 1152525"/>
                  <a:gd name="connsiteX89" fmla="*/ 585787 w 1226344"/>
                  <a:gd name="connsiteY89" fmla="*/ 335757 h 1152525"/>
                  <a:gd name="connsiteX90" fmla="*/ 564356 w 1226344"/>
                  <a:gd name="connsiteY90" fmla="*/ 311944 h 1152525"/>
                  <a:gd name="connsiteX91" fmla="*/ 550069 w 1226344"/>
                  <a:gd name="connsiteY91" fmla="*/ 330994 h 1152525"/>
                  <a:gd name="connsiteX92" fmla="*/ 478631 w 1226344"/>
                  <a:gd name="connsiteY92" fmla="*/ 328613 h 1152525"/>
                  <a:gd name="connsiteX93" fmla="*/ 330994 w 1226344"/>
                  <a:gd name="connsiteY93" fmla="*/ 230982 h 1152525"/>
                  <a:gd name="connsiteX94" fmla="*/ 259556 w 1226344"/>
                  <a:gd name="connsiteY94" fmla="*/ 254794 h 1152525"/>
                  <a:gd name="connsiteX95" fmla="*/ 221456 w 1226344"/>
                  <a:gd name="connsiteY95" fmla="*/ 245269 h 1152525"/>
                  <a:gd name="connsiteX96" fmla="*/ 238125 w 1226344"/>
                  <a:gd name="connsiteY96" fmla="*/ 150019 h 1152525"/>
                  <a:gd name="connsiteX97" fmla="*/ 228600 w 1226344"/>
                  <a:gd name="connsiteY97" fmla="*/ 95250 h 1152525"/>
                  <a:gd name="connsiteX98" fmla="*/ 197644 w 1226344"/>
                  <a:gd name="connsiteY98" fmla="*/ 78582 h 1152525"/>
                  <a:gd name="connsiteX99" fmla="*/ 145256 w 1226344"/>
                  <a:gd name="connsiteY99" fmla="*/ 0 h 1152525"/>
                  <a:gd name="connsiteX100" fmla="*/ 88106 w 1226344"/>
                  <a:gd name="connsiteY100" fmla="*/ 30957 h 1152525"/>
                  <a:gd name="connsiteX101" fmla="*/ 83344 w 1226344"/>
                  <a:gd name="connsiteY101" fmla="*/ 54769 h 1152525"/>
                  <a:gd name="connsiteX102" fmla="*/ 90487 w 1226344"/>
                  <a:gd name="connsiteY102" fmla="*/ 100013 h 1152525"/>
                  <a:gd name="connsiteX103" fmla="*/ 71437 w 1226344"/>
                  <a:gd name="connsiteY103" fmla="*/ 135732 h 1152525"/>
                  <a:gd name="connsiteX104" fmla="*/ 66675 w 1226344"/>
                  <a:gd name="connsiteY104" fmla="*/ 145257 h 1152525"/>
                  <a:gd name="connsiteX105" fmla="*/ 97631 w 1226344"/>
                  <a:gd name="connsiteY105" fmla="*/ 185738 h 1152525"/>
                  <a:gd name="connsiteX106" fmla="*/ 83344 w 1226344"/>
                  <a:gd name="connsiteY106" fmla="*/ 223838 h 1152525"/>
                  <a:gd name="connsiteX107" fmla="*/ 59531 w 1226344"/>
                  <a:gd name="connsiteY107" fmla="*/ 240507 h 1152525"/>
                  <a:gd name="connsiteX108" fmla="*/ 69056 w 1226344"/>
                  <a:gd name="connsiteY108" fmla="*/ 309563 h 1152525"/>
                  <a:gd name="connsiteX109" fmla="*/ 92869 w 1226344"/>
                  <a:gd name="connsiteY109" fmla="*/ 321469 h 1152525"/>
                  <a:gd name="connsiteX110" fmla="*/ 85725 w 1226344"/>
                  <a:gd name="connsiteY110" fmla="*/ 369094 h 1152525"/>
                  <a:gd name="connsiteX111" fmla="*/ 42862 w 1226344"/>
                  <a:gd name="connsiteY111" fmla="*/ 421482 h 1152525"/>
                  <a:gd name="connsiteX112" fmla="*/ 0 w 1226344"/>
                  <a:gd name="connsiteY112" fmla="*/ 452438 h 1152525"/>
                  <a:gd name="connsiteX0" fmla="*/ 0 w 1226344"/>
                  <a:gd name="connsiteY0" fmla="*/ 452438 h 1152525"/>
                  <a:gd name="connsiteX1" fmla="*/ 28575 w 1226344"/>
                  <a:gd name="connsiteY1" fmla="*/ 526257 h 1152525"/>
                  <a:gd name="connsiteX2" fmla="*/ 73819 w 1226344"/>
                  <a:gd name="connsiteY2" fmla="*/ 564357 h 1152525"/>
                  <a:gd name="connsiteX3" fmla="*/ 109537 w 1226344"/>
                  <a:gd name="connsiteY3" fmla="*/ 657225 h 1152525"/>
                  <a:gd name="connsiteX4" fmla="*/ 128587 w 1226344"/>
                  <a:gd name="connsiteY4" fmla="*/ 685800 h 1152525"/>
                  <a:gd name="connsiteX5" fmla="*/ 142875 w 1226344"/>
                  <a:gd name="connsiteY5" fmla="*/ 666750 h 1152525"/>
                  <a:gd name="connsiteX6" fmla="*/ 142875 w 1226344"/>
                  <a:gd name="connsiteY6" fmla="*/ 633413 h 1152525"/>
                  <a:gd name="connsiteX7" fmla="*/ 180975 w 1226344"/>
                  <a:gd name="connsiteY7" fmla="*/ 666750 h 1152525"/>
                  <a:gd name="connsiteX8" fmla="*/ 240506 w 1226344"/>
                  <a:gd name="connsiteY8" fmla="*/ 673894 h 1152525"/>
                  <a:gd name="connsiteX9" fmla="*/ 271462 w 1226344"/>
                  <a:gd name="connsiteY9" fmla="*/ 702469 h 1152525"/>
                  <a:gd name="connsiteX10" fmla="*/ 326231 w 1226344"/>
                  <a:gd name="connsiteY10" fmla="*/ 721519 h 1152525"/>
                  <a:gd name="connsiteX11" fmla="*/ 338137 w 1226344"/>
                  <a:gd name="connsiteY11" fmla="*/ 762000 h 1152525"/>
                  <a:gd name="connsiteX12" fmla="*/ 321469 w 1226344"/>
                  <a:gd name="connsiteY12" fmla="*/ 781050 h 1152525"/>
                  <a:gd name="connsiteX13" fmla="*/ 311944 w 1226344"/>
                  <a:gd name="connsiteY13" fmla="*/ 807244 h 1152525"/>
                  <a:gd name="connsiteX14" fmla="*/ 266700 w 1226344"/>
                  <a:gd name="connsiteY14" fmla="*/ 826294 h 1152525"/>
                  <a:gd name="connsiteX15" fmla="*/ 219075 w 1226344"/>
                  <a:gd name="connsiteY15" fmla="*/ 900113 h 1152525"/>
                  <a:gd name="connsiteX16" fmla="*/ 204787 w 1226344"/>
                  <a:gd name="connsiteY16" fmla="*/ 909638 h 1152525"/>
                  <a:gd name="connsiteX17" fmla="*/ 192881 w 1226344"/>
                  <a:gd name="connsiteY17" fmla="*/ 973932 h 1152525"/>
                  <a:gd name="connsiteX18" fmla="*/ 152400 w 1226344"/>
                  <a:gd name="connsiteY18" fmla="*/ 1042988 h 1152525"/>
                  <a:gd name="connsiteX19" fmla="*/ 157162 w 1226344"/>
                  <a:gd name="connsiteY19" fmla="*/ 1071563 h 1152525"/>
                  <a:gd name="connsiteX20" fmla="*/ 204787 w 1226344"/>
                  <a:gd name="connsiteY20" fmla="*/ 1083469 h 1152525"/>
                  <a:gd name="connsiteX21" fmla="*/ 233362 w 1226344"/>
                  <a:gd name="connsiteY21" fmla="*/ 1133475 h 1152525"/>
                  <a:gd name="connsiteX22" fmla="*/ 247650 w 1226344"/>
                  <a:gd name="connsiteY22" fmla="*/ 1133475 h 1152525"/>
                  <a:gd name="connsiteX23" fmla="*/ 266700 w 1226344"/>
                  <a:gd name="connsiteY23" fmla="*/ 1102519 h 1152525"/>
                  <a:gd name="connsiteX24" fmla="*/ 257175 w 1226344"/>
                  <a:gd name="connsiteY24" fmla="*/ 1081088 h 1152525"/>
                  <a:gd name="connsiteX25" fmla="*/ 230981 w 1226344"/>
                  <a:gd name="connsiteY25" fmla="*/ 1076325 h 1152525"/>
                  <a:gd name="connsiteX26" fmla="*/ 230981 w 1226344"/>
                  <a:gd name="connsiteY26" fmla="*/ 1052513 h 1152525"/>
                  <a:gd name="connsiteX27" fmla="*/ 228600 w 1226344"/>
                  <a:gd name="connsiteY27" fmla="*/ 1009650 h 1152525"/>
                  <a:gd name="connsiteX28" fmla="*/ 216694 w 1226344"/>
                  <a:gd name="connsiteY28" fmla="*/ 976313 h 1152525"/>
                  <a:gd name="connsiteX29" fmla="*/ 223837 w 1226344"/>
                  <a:gd name="connsiteY29" fmla="*/ 940594 h 1152525"/>
                  <a:gd name="connsiteX30" fmla="*/ 266700 w 1226344"/>
                  <a:gd name="connsiteY30" fmla="*/ 900113 h 1152525"/>
                  <a:gd name="connsiteX31" fmla="*/ 278606 w 1226344"/>
                  <a:gd name="connsiteY31" fmla="*/ 897732 h 1152525"/>
                  <a:gd name="connsiteX32" fmla="*/ 290512 w 1226344"/>
                  <a:gd name="connsiteY32" fmla="*/ 938213 h 1152525"/>
                  <a:gd name="connsiteX33" fmla="*/ 302419 w 1226344"/>
                  <a:gd name="connsiteY33" fmla="*/ 938213 h 1152525"/>
                  <a:gd name="connsiteX34" fmla="*/ 321469 w 1226344"/>
                  <a:gd name="connsiteY34" fmla="*/ 962025 h 1152525"/>
                  <a:gd name="connsiteX35" fmla="*/ 338137 w 1226344"/>
                  <a:gd name="connsiteY35" fmla="*/ 957263 h 1152525"/>
                  <a:gd name="connsiteX36" fmla="*/ 359569 w 1226344"/>
                  <a:gd name="connsiteY36" fmla="*/ 942975 h 1152525"/>
                  <a:gd name="connsiteX37" fmla="*/ 483394 w 1226344"/>
                  <a:gd name="connsiteY37" fmla="*/ 954882 h 1152525"/>
                  <a:gd name="connsiteX38" fmla="*/ 516731 w 1226344"/>
                  <a:gd name="connsiteY38" fmla="*/ 947738 h 1152525"/>
                  <a:gd name="connsiteX39" fmla="*/ 545306 w 1226344"/>
                  <a:gd name="connsiteY39" fmla="*/ 964407 h 1152525"/>
                  <a:gd name="connsiteX40" fmla="*/ 561975 w 1226344"/>
                  <a:gd name="connsiteY40" fmla="*/ 978694 h 1152525"/>
                  <a:gd name="connsiteX41" fmla="*/ 604837 w 1226344"/>
                  <a:gd name="connsiteY41" fmla="*/ 981075 h 1152525"/>
                  <a:gd name="connsiteX42" fmla="*/ 640556 w 1226344"/>
                  <a:gd name="connsiteY42" fmla="*/ 1021557 h 1152525"/>
                  <a:gd name="connsiteX43" fmla="*/ 659606 w 1226344"/>
                  <a:gd name="connsiteY43" fmla="*/ 1019175 h 1152525"/>
                  <a:gd name="connsiteX44" fmla="*/ 702469 w 1226344"/>
                  <a:gd name="connsiteY44" fmla="*/ 976313 h 1152525"/>
                  <a:gd name="connsiteX45" fmla="*/ 735806 w 1226344"/>
                  <a:gd name="connsiteY45" fmla="*/ 1000125 h 1152525"/>
                  <a:gd name="connsiteX46" fmla="*/ 752475 w 1226344"/>
                  <a:gd name="connsiteY46" fmla="*/ 1023938 h 1152525"/>
                  <a:gd name="connsiteX47" fmla="*/ 785812 w 1226344"/>
                  <a:gd name="connsiteY47" fmla="*/ 1021557 h 1152525"/>
                  <a:gd name="connsiteX48" fmla="*/ 819150 w 1226344"/>
                  <a:gd name="connsiteY48" fmla="*/ 1042988 h 1152525"/>
                  <a:gd name="connsiteX49" fmla="*/ 823912 w 1226344"/>
                  <a:gd name="connsiteY49" fmla="*/ 1064419 h 1152525"/>
                  <a:gd name="connsiteX50" fmla="*/ 842962 w 1226344"/>
                  <a:gd name="connsiteY50" fmla="*/ 1066800 h 1152525"/>
                  <a:gd name="connsiteX51" fmla="*/ 904875 w 1226344"/>
                  <a:gd name="connsiteY51" fmla="*/ 1073944 h 1152525"/>
                  <a:gd name="connsiteX52" fmla="*/ 933450 w 1226344"/>
                  <a:gd name="connsiteY52" fmla="*/ 1112044 h 1152525"/>
                  <a:gd name="connsiteX53" fmla="*/ 938212 w 1226344"/>
                  <a:gd name="connsiteY53" fmla="*/ 1140619 h 1152525"/>
                  <a:gd name="connsiteX54" fmla="*/ 940594 w 1226344"/>
                  <a:gd name="connsiteY54" fmla="*/ 1152525 h 1152525"/>
                  <a:gd name="connsiteX55" fmla="*/ 990600 w 1226344"/>
                  <a:gd name="connsiteY55" fmla="*/ 1150144 h 1152525"/>
                  <a:gd name="connsiteX56" fmla="*/ 1042987 w 1226344"/>
                  <a:gd name="connsiteY56" fmla="*/ 1150144 h 1152525"/>
                  <a:gd name="connsiteX57" fmla="*/ 1071562 w 1226344"/>
                  <a:gd name="connsiteY57" fmla="*/ 1069182 h 1152525"/>
                  <a:gd name="connsiteX58" fmla="*/ 1062037 w 1226344"/>
                  <a:gd name="connsiteY58" fmla="*/ 1045369 h 1152525"/>
                  <a:gd name="connsiteX59" fmla="*/ 1059656 w 1226344"/>
                  <a:gd name="connsiteY59" fmla="*/ 1012032 h 1152525"/>
                  <a:gd name="connsiteX60" fmla="*/ 1066800 w 1226344"/>
                  <a:gd name="connsiteY60" fmla="*/ 992982 h 1152525"/>
                  <a:gd name="connsiteX61" fmla="*/ 1083469 w 1226344"/>
                  <a:gd name="connsiteY61" fmla="*/ 973932 h 1152525"/>
                  <a:gd name="connsiteX62" fmla="*/ 1107281 w 1226344"/>
                  <a:gd name="connsiteY62" fmla="*/ 964407 h 1152525"/>
                  <a:gd name="connsiteX63" fmla="*/ 1133475 w 1226344"/>
                  <a:gd name="connsiteY63" fmla="*/ 921544 h 1152525"/>
                  <a:gd name="connsiteX64" fmla="*/ 1150144 w 1226344"/>
                  <a:gd name="connsiteY64" fmla="*/ 921544 h 1152525"/>
                  <a:gd name="connsiteX65" fmla="*/ 1197769 w 1226344"/>
                  <a:gd name="connsiteY65" fmla="*/ 940594 h 1152525"/>
                  <a:gd name="connsiteX66" fmla="*/ 1226344 w 1226344"/>
                  <a:gd name="connsiteY66" fmla="*/ 904875 h 1152525"/>
                  <a:gd name="connsiteX67" fmla="*/ 1195387 w 1226344"/>
                  <a:gd name="connsiteY67" fmla="*/ 852488 h 1152525"/>
                  <a:gd name="connsiteX68" fmla="*/ 1159669 w 1226344"/>
                  <a:gd name="connsiteY68" fmla="*/ 804863 h 1152525"/>
                  <a:gd name="connsiteX69" fmla="*/ 1162050 w 1226344"/>
                  <a:gd name="connsiteY69" fmla="*/ 762000 h 1152525"/>
                  <a:gd name="connsiteX70" fmla="*/ 1216819 w 1226344"/>
                  <a:gd name="connsiteY70" fmla="*/ 702469 h 1152525"/>
                  <a:gd name="connsiteX71" fmla="*/ 1219200 w 1226344"/>
                  <a:gd name="connsiteY71" fmla="*/ 676275 h 1152525"/>
                  <a:gd name="connsiteX72" fmla="*/ 1181100 w 1226344"/>
                  <a:gd name="connsiteY72" fmla="*/ 661988 h 1152525"/>
                  <a:gd name="connsiteX73" fmla="*/ 1150144 w 1226344"/>
                  <a:gd name="connsiteY73" fmla="*/ 635794 h 1152525"/>
                  <a:gd name="connsiteX74" fmla="*/ 1133475 w 1226344"/>
                  <a:gd name="connsiteY74" fmla="*/ 602457 h 1152525"/>
                  <a:gd name="connsiteX75" fmla="*/ 1083469 w 1226344"/>
                  <a:gd name="connsiteY75" fmla="*/ 604838 h 1152525"/>
                  <a:gd name="connsiteX76" fmla="*/ 1033462 w 1226344"/>
                  <a:gd name="connsiteY76" fmla="*/ 604838 h 1152525"/>
                  <a:gd name="connsiteX77" fmla="*/ 1014412 w 1226344"/>
                  <a:gd name="connsiteY77" fmla="*/ 583407 h 1152525"/>
                  <a:gd name="connsiteX78" fmla="*/ 950119 w 1226344"/>
                  <a:gd name="connsiteY78" fmla="*/ 578644 h 1152525"/>
                  <a:gd name="connsiteX79" fmla="*/ 933450 w 1226344"/>
                  <a:gd name="connsiteY79" fmla="*/ 561975 h 1152525"/>
                  <a:gd name="connsiteX80" fmla="*/ 933450 w 1226344"/>
                  <a:gd name="connsiteY80" fmla="*/ 547688 h 1152525"/>
                  <a:gd name="connsiteX81" fmla="*/ 859631 w 1226344"/>
                  <a:gd name="connsiteY81" fmla="*/ 511969 h 1152525"/>
                  <a:gd name="connsiteX82" fmla="*/ 850106 w 1226344"/>
                  <a:gd name="connsiteY82" fmla="*/ 492919 h 1152525"/>
                  <a:gd name="connsiteX83" fmla="*/ 828675 w 1226344"/>
                  <a:gd name="connsiteY83" fmla="*/ 476250 h 1152525"/>
                  <a:gd name="connsiteX84" fmla="*/ 795337 w 1226344"/>
                  <a:gd name="connsiteY84" fmla="*/ 478632 h 1152525"/>
                  <a:gd name="connsiteX85" fmla="*/ 773906 w 1226344"/>
                  <a:gd name="connsiteY85" fmla="*/ 471488 h 1152525"/>
                  <a:gd name="connsiteX86" fmla="*/ 728662 w 1226344"/>
                  <a:gd name="connsiteY86" fmla="*/ 428625 h 1152525"/>
                  <a:gd name="connsiteX87" fmla="*/ 700087 w 1226344"/>
                  <a:gd name="connsiteY87" fmla="*/ 421482 h 1152525"/>
                  <a:gd name="connsiteX88" fmla="*/ 666750 w 1226344"/>
                  <a:gd name="connsiteY88" fmla="*/ 383382 h 1152525"/>
                  <a:gd name="connsiteX89" fmla="*/ 626269 w 1226344"/>
                  <a:gd name="connsiteY89" fmla="*/ 369094 h 1152525"/>
                  <a:gd name="connsiteX90" fmla="*/ 585787 w 1226344"/>
                  <a:gd name="connsiteY90" fmla="*/ 335757 h 1152525"/>
                  <a:gd name="connsiteX91" fmla="*/ 564356 w 1226344"/>
                  <a:gd name="connsiteY91" fmla="*/ 311944 h 1152525"/>
                  <a:gd name="connsiteX92" fmla="*/ 550069 w 1226344"/>
                  <a:gd name="connsiteY92" fmla="*/ 330994 h 1152525"/>
                  <a:gd name="connsiteX93" fmla="*/ 478631 w 1226344"/>
                  <a:gd name="connsiteY93" fmla="*/ 328613 h 1152525"/>
                  <a:gd name="connsiteX94" fmla="*/ 330994 w 1226344"/>
                  <a:gd name="connsiteY94" fmla="*/ 230982 h 1152525"/>
                  <a:gd name="connsiteX95" fmla="*/ 259556 w 1226344"/>
                  <a:gd name="connsiteY95" fmla="*/ 254794 h 1152525"/>
                  <a:gd name="connsiteX96" fmla="*/ 221456 w 1226344"/>
                  <a:gd name="connsiteY96" fmla="*/ 245269 h 1152525"/>
                  <a:gd name="connsiteX97" fmla="*/ 238125 w 1226344"/>
                  <a:gd name="connsiteY97" fmla="*/ 150019 h 1152525"/>
                  <a:gd name="connsiteX98" fmla="*/ 228600 w 1226344"/>
                  <a:gd name="connsiteY98" fmla="*/ 95250 h 1152525"/>
                  <a:gd name="connsiteX99" fmla="*/ 197644 w 1226344"/>
                  <a:gd name="connsiteY99" fmla="*/ 78582 h 1152525"/>
                  <a:gd name="connsiteX100" fmla="*/ 145256 w 1226344"/>
                  <a:gd name="connsiteY100" fmla="*/ 0 h 1152525"/>
                  <a:gd name="connsiteX101" fmla="*/ 88106 w 1226344"/>
                  <a:gd name="connsiteY101" fmla="*/ 30957 h 1152525"/>
                  <a:gd name="connsiteX102" fmla="*/ 83344 w 1226344"/>
                  <a:gd name="connsiteY102" fmla="*/ 54769 h 1152525"/>
                  <a:gd name="connsiteX103" fmla="*/ 90487 w 1226344"/>
                  <a:gd name="connsiteY103" fmla="*/ 100013 h 1152525"/>
                  <a:gd name="connsiteX104" fmla="*/ 71437 w 1226344"/>
                  <a:gd name="connsiteY104" fmla="*/ 135732 h 1152525"/>
                  <a:gd name="connsiteX105" fmla="*/ 66675 w 1226344"/>
                  <a:gd name="connsiteY105" fmla="*/ 145257 h 1152525"/>
                  <a:gd name="connsiteX106" fmla="*/ 97631 w 1226344"/>
                  <a:gd name="connsiteY106" fmla="*/ 185738 h 1152525"/>
                  <a:gd name="connsiteX107" fmla="*/ 83344 w 1226344"/>
                  <a:gd name="connsiteY107" fmla="*/ 223838 h 1152525"/>
                  <a:gd name="connsiteX108" fmla="*/ 59531 w 1226344"/>
                  <a:gd name="connsiteY108" fmla="*/ 240507 h 1152525"/>
                  <a:gd name="connsiteX109" fmla="*/ 69056 w 1226344"/>
                  <a:gd name="connsiteY109" fmla="*/ 309563 h 1152525"/>
                  <a:gd name="connsiteX110" fmla="*/ 92869 w 1226344"/>
                  <a:gd name="connsiteY110" fmla="*/ 321469 h 1152525"/>
                  <a:gd name="connsiteX111" fmla="*/ 85725 w 1226344"/>
                  <a:gd name="connsiteY111" fmla="*/ 369094 h 1152525"/>
                  <a:gd name="connsiteX112" fmla="*/ 42862 w 1226344"/>
                  <a:gd name="connsiteY112" fmla="*/ 421482 h 1152525"/>
                  <a:gd name="connsiteX113" fmla="*/ 0 w 1226344"/>
                  <a:gd name="connsiteY113" fmla="*/ 452438 h 1152525"/>
                  <a:gd name="connsiteX0" fmla="*/ 0 w 1226344"/>
                  <a:gd name="connsiteY0" fmla="*/ 452438 h 1200150"/>
                  <a:gd name="connsiteX1" fmla="*/ 28575 w 1226344"/>
                  <a:gd name="connsiteY1" fmla="*/ 526257 h 1200150"/>
                  <a:gd name="connsiteX2" fmla="*/ 73819 w 1226344"/>
                  <a:gd name="connsiteY2" fmla="*/ 564357 h 1200150"/>
                  <a:gd name="connsiteX3" fmla="*/ 109537 w 1226344"/>
                  <a:gd name="connsiteY3" fmla="*/ 657225 h 1200150"/>
                  <a:gd name="connsiteX4" fmla="*/ 128587 w 1226344"/>
                  <a:gd name="connsiteY4" fmla="*/ 685800 h 1200150"/>
                  <a:gd name="connsiteX5" fmla="*/ 142875 w 1226344"/>
                  <a:gd name="connsiteY5" fmla="*/ 666750 h 1200150"/>
                  <a:gd name="connsiteX6" fmla="*/ 142875 w 1226344"/>
                  <a:gd name="connsiteY6" fmla="*/ 633413 h 1200150"/>
                  <a:gd name="connsiteX7" fmla="*/ 180975 w 1226344"/>
                  <a:gd name="connsiteY7" fmla="*/ 666750 h 1200150"/>
                  <a:gd name="connsiteX8" fmla="*/ 240506 w 1226344"/>
                  <a:gd name="connsiteY8" fmla="*/ 673894 h 1200150"/>
                  <a:gd name="connsiteX9" fmla="*/ 271462 w 1226344"/>
                  <a:gd name="connsiteY9" fmla="*/ 702469 h 1200150"/>
                  <a:gd name="connsiteX10" fmla="*/ 326231 w 1226344"/>
                  <a:gd name="connsiteY10" fmla="*/ 721519 h 1200150"/>
                  <a:gd name="connsiteX11" fmla="*/ 338137 w 1226344"/>
                  <a:gd name="connsiteY11" fmla="*/ 762000 h 1200150"/>
                  <a:gd name="connsiteX12" fmla="*/ 321469 w 1226344"/>
                  <a:gd name="connsiteY12" fmla="*/ 781050 h 1200150"/>
                  <a:gd name="connsiteX13" fmla="*/ 311944 w 1226344"/>
                  <a:gd name="connsiteY13" fmla="*/ 807244 h 1200150"/>
                  <a:gd name="connsiteX14" fmla="*/ 266700 w 1226344"/>
                  <a:gd name="connsiteY14" fmla="*/ 826294 h 1200150"/>
                  <a:gd name="connsiteX15" fmla="*/ 219075 w 1226344"/>
                  <a:gd name="connsiteY15" fmla="*/ 900113 h 1200150"/>
                  <a:gd name="connsiteX16" fmla="*/ 204787 w 1226344"/>
                  <a:gd name="connsiteY16" fmla="*/ 909638 h 1200150"/>
                  <a:gd name="connsiteX17" fmla="*/ 192881 w 1226344"/>
                  <a:gd name="connsiteY17" fmla="*/ 973932 h 1200150"/>
                  <a:gd name="connsiteX18" fmla="*/ 152400 w 1226344"/>
                  <a:gd name="connsiteY18" fmla="*/ 1042988 h 1200150"/>
                  <a:gd name="connsiteX19" fmla="*/ 157162 w 1226344"/>
                  <a:gd name="connsiteY19" fmla="*/ 1071563 h 1200150"/>
                  <a:gd name="connsiteX20" fmla="*/ 204787 w 1226344"/>
                  <a:gd name="connsiteY20" fmla="*/ 1083469 h 1200150"/>
                  <a:gd name="connsiteX21" fmla="*/ 233362 w 1226344"/>
                  <a:gd name="connsiteY21" fmla="*/ 1133475 h 1200150"/>
                  <a:gd name="connsiteX22" fmla="*/ 247650 w 1226344"/>
                  <a:gd name="connsiteY22" fmla="*/ 1133475 h 1200150"/>
                  <a:gd name="connsiteX23" fmla="*/ 266700 w 1226344"/>
                  <a:gd name="connsiteY23" fmla="*/ 1102519 h 1200150"/>
                  <a:gd name="connsiteX24" fmla="*/ 257175 w 1226344"/>
                  <a:gd name="connsiteY24" fmla="*/ 1081088 h 1200150"/>
                  <a:gd name="connsiteX25" fmla="*/ 230981 w 1226344"/>
                  <a:gd name="connsiteY25" fmla="*/ 1076325 h 1200150"/>
                  <a:gd name="connsiteX26" fmla="*/ 230981 w 1226344"/>
                  <a:gd name="connsiteY26" fmla="*/ 1052513 h 1200150"/>
                  <a:gd name="connsiteX27" fmla="*/ 228600 w 1226344"/>
                  <a:gd name="connsiteY27" fmla="*/ 1009650 h 1200150"/>
                  <a:gd name="connsiteX28" fmla="*/ 216694 w 1226344"/>
                  <a:gd name="connsiteY28" fmla="*/ 976313 h 1200150"/>
                  <a:gd name="connsiteX29" fmla="*/ 223837 w 1226344"/>
                  <a:gd name="connsiteY29" fmla="*/ 940594 h 1200150"/>
                  <a:gd name="connsiteX30" fmla="*/ 266700 w 1226344"/>
                  <a:gd name="connsiteY30" fmla="*/ 900113 h 1200150"/>
                  <a:gd name="connsiteX31" fmla="*/ 278606 w 1226344"/>
                  <a:gd name="connsiteY31" fmla="*/ 897732 h 1200150"/>
                  <a:gd name="connsiteX32" fmla="*/ 290512 w 1226344"/>
                  <a:gd name="connsiteY32" fmla="*/ 938213 h 1200150"/>
                  <a:gd name="connsiteX33" fmla="*/ 302419 w 1226344"/>
                  <a:gd name="connsiteY33" fmla="*/ 938213 h 1200150"/>
                  <a:gd name="connsiteX34" fmla="*/ 321469 w 1226344"/>
                  <a:gd name="connsiteY34" fmla="*/ 962025 h 1200150"/>
                  <a:gd name="connsiteX35" fmla="*/ 338137 w 1226344"/>
                  <a:gd name="connsiteY35" fmla="*/ 957263 h 1200150"/>
                  <a:gd name="connsiteX36" fmla="*/ 359569 w 1226344"/>
                  <a:gd name="connsiteY36" fmla="*/ 942975 h 1200150"/>
                  <a:gd name="connsiteX37" fmla="*/ 483394 w 1226344"/>
                  <a:gd name="connsiteY37" fmla="*/ 954882 h 1200150"/>
                  <a:gd name="connsiteX38" fmla="*/ 516731 w 1226344"/>
                  <a:gd name="connsiteY38" fmla="*/ 947738 h 1200150"/>
                  <a:gd name="connsiteX39" fmla="*/ 545306 w 1226344"/>
                  <a:gd name="connsiteY39" fmla="*/ 964407 h 1200150"/>
                  <a:gd name="connsiteX40" fmla="*/ 561975 w 1226344"/>
                  <a:gd name="connsiteY40" fmla="*/ 978694 h 1200150"/>
                  <a:gd name="connsiteX41" fmla="*/ 604837 w 1226344"/>
                  <a:gd name="connsiteY41" fmla="*/ 981075 h 1200150"/>
                  <a:gd name="connsiteX42" fmla="*/ 640556 w 1226344"/>
                  <a:gd name="connsiteY42" fmla="*/ 1021557 h 1200150"/>
                  <a:gd name="connsiteX43" fmla="*/ 659606 w 1226344"/>
                  <a:gd name="connsiteY43" fmla="*/ 1019175 h 1200150"/>
                  <a:gd name="connsiteX44" fmla="*/ 702469 w 1226344"/>
                  <a:gd name="connsiteY44" fmla="*/ 976313 h 1200150"/>
                  <a:gd name="connsiteX45" fmla="*/ 735806 w 1226344"/>
                  <a:gd name="connsiteY45" fmla="*/ 1000125 h 1200150"/>
                  <a:gd name="connsiteX46" fmla="*/ 752475 w 1226344"/>
                  <a:gd name="connsiteY46" fmla="*/ 1023938 h 1200150"/>
                  <a:gd name="connsiteX47" fmla="*/ 785812 w 1226344"/>
                  <a:gd name="connsiteY47" fmla="*/ 1021557 h 1200150"/>
                  <a:gd name="connsiteX48" fmla="*/ 819150 w 1226344"/>
                  <a:gd name="connsiteY48" fmla="*/ 1042988 h 1200150"/>
                  <a:gd name="connsiteX49" fmla="*/ 823912 w 1226344"/>
                  <a:gd name="connsiteY49" fmla="*/ 1064419 h 1200150"/>
                  <a:gd name="connsiteX50" fmla="*/ 842962 w 1226344"/>
                  <a:gd name="connsiteY50" fmla="*/ 1066800 h 1200150"/>
                  <a:gd name="connsiteX51" fmla="*/ 904875 w 1226344"/>
                  <a:gd name="connsiteY51" fmla="*/ 1073944 h 1200150"/>
                  <a:gd name="connsiteX52" fmla="*/ 933450 w 1226344"/>
                  <a:gd name="connsiteY52" fmla="*/ 1112044 h 1200150"/>
                  <a:gd name="connsiteX53" fmla="*/ 938212 w 1226344"/>
                  <a:gd name="connsiteY53" fmla="*/ 1140619 h 1200150"/>
                  <a:gd name="connsiteX54" fmla="*/ 940594 w 1226344"/>
                  <a:gd name="connsiteY54" fmla="*/ 1152525 h 1200150"/>
                  <a:gd name="connsiteX55" fmla="*/ 954882 w 1226344"/>
                  <a:gd name="connsiteY55" fmla="*/ 1200150 h 1200150"/>
                  <a:gd name="connsiteX56" fmla="*/ 1042987 w 1226344"/>
                  <a:gd name="connsiteY56" fmla="*/ 1150144 h 1200150"/>
                  <a:gd name="connsiteX57" fmla="*/ 1071562 w 1226344"/>
                  <a:gd name="connsiteY57" fmla="*/ 1069182 h 1200150"/>
                  <a:gd name="connsiteX58" fmla="*/ 1062037 w 1226344"/>
                  <a:gd name="connsiteY58" fmla="*/ 1045369 h 1200150"/>
                  <a:gd name="connsiteX59" fmla="*/ 1059656 w 1226344"/>
                  <a:gd name="connsiteY59" fmla="*/ 1012032 h 1200150"/>
                  <a:gd name="connsiteX60" fmla="*/ 1066800 w 1226344"/>
                  <a:gd name="connsiteY60" fmla="*/ 992982 h 1200150"/>
                  <a:gd name="connsiteX61" fmla="*/ 1083469 w 1226344"/>
                  <a:gd name="connsiteY61" fmla="*/ 973932 h 1200150"/>
                  <a:gd name="connsiteX62" fmla="*/ 1107281 w 1226344"/>
                  <a:gd name="connsiteY62" fmla="*/ 964407 h 1200150"/>
                  <a:gd name="connsiteX63" fmla="*/ 1133475 w 1226344"/>
                  <a:gd name="connsiteY63" fmla="*/ 921544 h 1200150"/>
                  <a:gd name="connsiteX64" fmla="*/ 1150144 w 1226344"/>
                  <a:gd name="connsiteY64" fmla="*/ 921544 h 1200150"/>
                  <a:gd name="connsiteX65" fmla="*/ 1197769 w 1226344"/>
                  <a:gd name="connsiteY65" fmla="*/ 940594 h 1200150"/>
                  <a:gd name="connsiteX66" fmla="*/ 1226344 w 1226344"/>
                  <a:gd name="connsiteY66" fmla="*/ 904875 h 1200150"/>
                  <a:gd name="connsiteX67" fmla="*/ 1195387 w 1226344"/>
                  <a:gd name="connsiteY67" fmla="*/ 852488 h 1200150"/>
                  <a:gd name="connsiteX68" fmla="*/ 1159669 w 1226344"/>
                  <a:gd name="connsiteY68" fmla="*/ 804863 h 1200150"/>
                  <a:gd name="connsiteX69" fmla="*/ 1162050 w 1226344"/>
                  <a:gd name="connsiteY69" fmla="*/ 762000 h 1200150"/>
                  <a:gd name="connsiteX70" fmla="*/ 1216819 w 1226344"/>
                  <a:gd name="connsiteY70" fmla="*/ 702469 h 1200150"/>
                  <a:gd name="connsiteX71" fmla="*/ 1219200 w 1226344"/>
                  <a:gd name="connsiteY71" fmla="*/ 676275 h 1200150"/>
                  <a:gd name="connsiteX72" fmla="*/ 1181100 w 1226344"/>
                  <a:gd name="connsiteY72" fmla="*/ 661988 h 1200150"/>
                  <a:gd name="connsiteX73" fmla="*/ 1150144 w 1226344"/>
                  <a:gd name="connsiteY73" fmla="*/ 635794 h 1200150"/>
                  <a:gd name="connsiteX74" fmla="*/ 1133475 w 1226344"/>
                  <a:gd name="connsiteY74" fmla="*/ 602457 h 1200150"/>
                  <a:gd name="connsiteX75" fmla="*/ 1083469 w 1226344"/>
                  <a:gd name="connsiteY75" fmla="*/ 604838 h 1200150"/>
                  <a:gd name="connsiteX76" fmla="*/ 1033462 w 1226344"/>
                  <a:gd name="connsiteY76" fmla="*/ 604838 h 1200150"/>
                  <a:gd name="connsiteX77" fmla="*/ 1014412 w 1226344"/>
                  <a:gd name="connsiteY77" fmla="*/ 583407 h 1200150"/>
                  <a:gd name="connsiteX78" fmla="*/ 950119 w 1226344"/>
                  <a:gd name="connsiteY78" fmla="*/ 578644 h 1200150"/>
                  <a:gd name="connsiteX79" fmla="*/ 933450 w 1226344"/>
                  <a:gd name="connsiteY79" fmla="*/ 561975 h 1200150"/>
                  <a:gd name="connsiteX80" fmla="*/ 933450 w 1226344"/>
                  <a:gd name="connsiteY80" fmla="*/ 547688 h 1200150"/>
                  <a:gd name="connsiteX81" fmla="*/ 859631 w 1226344"/>
                  <a:gd name="connsiteY81" fmla="*/ 511969 h 1200150"/>
                  <a:gd name="connsiteX82" fmla="*/ 850106 w 1226344"/>
                  <a:gd name="connsiteY82" fmla="*/ 492919 h 1200150"/>
                  <a:gd name="connsiteX83" fmla="*/ 828675 w 1226344"/>
                  <a:gd name="connsiteY83" fmla="*/ 476250 h 1200150"/>
                  <a:gd name="connsiteX84" fmla="*/ 795337 w 1226344"/>
                  <a:gd name="connsiteY84" fmla="*/ 478632 h 1200150"/>
                  <a:gd name="connsiteX85" fmla="*/ 773906 w 1226344"/>
                  <a:gd name="connsiteY85" fmla="*/ 471488 h 1200150"/>
                  <a:gd name="connsiteX86" fmla="*/ 728662 w 1226344"/>
                  <a:gd name="connsiteY86" fmla="*/ 428625 h 1200150"/>
                  <a:gd name="connsiteX87" fmla="*/ 700087 w 1226344"/>
                  <a:gd name="connsiteY87" fmla="*/ 421482 h 1200150"/>
                  <a:gd name="connsiteX88" fmla="*/ 666750 w 1226344"/>
                  <a:gd name="connsiteY88" fmla="*/ 383382 h 1200150"/>
                  <a:gd name="connsiteX89" fmla="*/ 626269 w 1226344"/>
                  <a:gd name="connsiteY89" fmla="*/ 369094 h 1200150"/>
                  <a:gd name="connsiteX90" fmla="*/ 585787 w 1226344"/>
                  <a:gd name="connsiteY90" fmla="*/ 335757 h 1200150"/>
                  <a:gd name="connsiteX91" fmla="*/ 564356 w 1226344"/>
                  <a:gd name="connsiteY91" fmla="*/ 311944 h 1200150"/>
                  <a:gd name="connsiteX92" fmla="*/ 550069 w 1226344"/>
                  <a:gd name="connsiteY92" fmla="*/ 330994 h 1200150"/>
                  <a:gd name="connsiteX93" fmla="*/ 478631 w 1226344"/>
                  <a:gd name="connsiteY93" fmla="*/ 328613 h 1200150"/>
                  <a:gd name="connsiteX94" fmla="*/ 330994 w 1226344"/>
                  <a:gd name="connsiteY94" fmla="*/ 230982 h 1200150"/>
                  <a:gd name="connsiteX95" fmla="*/ 259556 w 1226344"/>
                  <a:gd name="connsiteY95" fmla="*/ 254794 h 1200150"/>
                  <a:gd name="connsiteX96" fmla="*/ 221456 w 1226344"/>
                  <a:gd name="connsiteY96" fmla="*/ 245269 h 1200150"/>
                  <a:gd name="connsiteX97" fmla="*/ 238125 w 1226344"/>
                  <a:gd name="connsiteY97" fmla="*/ 150019 h 1200150"/>
                  <a:gd name="connsiteX98" fmla="*/ 228600 w 1226344"/>
                  <a:gd name="connsiteY98" fmla="*/ 95250 h 1200150"/>
                  <a:gd name="connsiteX99" fmla="*/ 197644 w 1226344"/>
                  <a:gd name="connsiteY99" fmla="*/ 78582 h 1200150"/>
                  <a:gd name="connsiteX100" fmla="*/ 145256 w 1226344"/>
                  <a:gd name="connsiteY100" fmla="*/ 0 h 1200150"/>
                  <a:gd name="connsiteX101" fmla="*/ 88106 w 1226344"/>
                  <a:gd name="connsiteY101" fmla="*/ 30957 h 1200150"/>
                  <a:gd name="connsiteX102" fmla="*/ 83344 w 1226344"/>
                  <a:gd name="connsiteY102" fmla="*/ 54769 h 1200150"/>
                  <a:gd name="connsiteX103" fmla="*/ 90487 w 1226344"/>
                  <a:gd name="connsiteY103" fmla="*/ 100013 h 1200150"/>
                  <a:gd name="connsiteX104" fmla="*/ 71437 w 1226344"/>
                  <a:gd name="connsiteY104" fmla="*/ 135732 h 1200150"/>
                  <a:gd name="connsiteX105" fmla="*/ 66675 w 1226344"/>
                  <a:gd name="connsiteY105" fmla="*/ 145257 h 1200150"/>
                  <a:gd name="connsiteX106" fmla="*/ 97631 w 1226344"/>
                  <a:gd name="connsiteY106" fmla="*/ 185738 h 1200150"/>
                  <a:gd name="connsiteX107" fmla="*/ 83344 w 1226344"/>
                  <a:gd name="connsiteY107" fmla="*/ 223838 h 1200150"/>
                  <a:gd name="connsiteX108" fmla="*/ 59531 w 1226344"/>
                  <a:gd name="connsiteY108" fmla="*/ 240507 h 1200150"/>
                  <a:gd name="connsiteX109" fmla="*/ 69056 w 1226344"/>
                  <a:gd name="connsiteY109" fmla="*/ 309563 h 1200150"/>
                  <a:gd name="connsiteX110" fmla="*/ 92869 w 1226344"/>
                  <a:gd name="connsiteY110" fmla="*/ 321469 h 1200150"/>
                  <a:gd name="connsiteX111" fmla="*/ 85725 w 1226344"/>
                  <a:gd name="connsiteY111" fmla="*/ 369094 h 1200150"/>
                  <a:gd name="connsiteX112" fmla="*/ 42862 w 1226344"/>
                  <a:gd name="connsiteY112" fmla="*/ 421482 h 1200150"/>
                  <a:gd name="connsiteX113" fmla="*/ 0 w 1226344"/>
                  <a:gd name="connsiteY113" fmla="*/ 452438 h 1200150"/>
                  <a:gd name="connsiteX0" fmla="*/ 0 w 1226344"/>
                  <a:gd name="connsiteY0" fmla="*/ 452438 h 1200150"/>
                  <a:gd name="connsiteX1" fmla="*/ 28575 w 1226344"/>
                  <a:gd name="connsiteY1" fmla="*/ 526257 h 1200150"/>
                  <a:gd name="connsiteX2" fmla="*/ 73819 w 1226344"/>
                  <a:gd name="connsiteY2" fmla="*/ 564357 h 1200150"/>
                  <a:gd name="connsiteX3" fmla="*/ 109537 w 1226344"/>
                  <a:gd name="connsiteY3" fmla="*/ 657225 h 1200150"/>
                  <a:gd name="connsiteX4" fmla="*/ 128587 w 1226344"/>
                  <a:gd name="connsiteY4" fmla="*/ 685800 h 1200150"/>
                  <a:gd name="connsiteX5" fmla="*/ 142875 w 1226344"/>
                  <a:gd name="connsiteY5" fmla="*/ 666750 h 1200150"/>
                  <a:gd name="connsiteX6" fmla="*/ 142875 w 1226344"/>
                  <a:gd name="connsiteY6" fmla="*/ 633413 h 1200150"/>
                  <a:gd name="connsiteX7" fmla="*/ 180975 w 1226344"/>
                  <a:gd name="connsiteY7" fmla="*/ 666750 h 1200150"/>
                  <a:gd name="connsiteX8" fmla="*/ 240506 w 1226344"/>
                  <a:gd name="connsiteY8" fmla="*/ 673894 h 1200150"/>
                  <a:gd name="connsiteX9" fmla="*/ 271462 w 1226344"/>
                  <a:gd name="connsiteY9" fmla="*/ 702469 h 1200150"/>
                  <a:gd name="connsiteX10" fmla="*/ 326231 w 1226344"/>
                  <a:gd name="connsiteY10" fmla="*/ 721519 h 1200150"/>
                  <a:gd name="connsiteX11" fmla="*/ 338137 w 1226344"/>
                  <a:gd name="connsiteY11" fmla="*/ 762000 h 1200150"/>
                  <a:gd name="connsiteX12" fmla="*/ 321469 w 1226344"/>
                  <a:gd name="connsiteY12" fmla="*/ 781050 h 1200150"/>
                  <a:gd name="connsiteX13" fmla="*/ 311944 w 1226344"/>
                  <a:gd name="connsiteY13" fmla="*/ 807244 h 1200150"/>
                  <a:gd name="connsiteX14" fmla="*/ 266700 w 1226344"/>
                  <a:gd name="connsiteY14" fmla="*/ 826294 h 1200150"/>
                  <a:gd name="connsiteX15" fmla="*/ 219075 w 1226344"/>
                  <a:gd name="connsiteY15" fmla="*/ 900113 h 1200150"/>
                  <a:gd name="connsiteX16" fmla="*/ 204787 w 1226344"/>
                  <a:gd name="connsiteY16" fmla="*/ 909638 h 1200150"/>
                  <a:gd name="connsiteX17" fmla="*/ 192881 w 1226344"/>
                  <a:gd name="connsiteY17" fmla="*/ 973932 h 1200150"/>
                  <a:gd name="connsiteX18" fmla="*/ 152400 w 1226344"/>
                  <a:gd name="connsiteY18" fmla="*/ 1042988 h 1200150"/>
                  <a:gd name="connsiteX19" fmla="*/ 157162 w 1226344"/>
                  <a:gd name="connsiteY19" fmla="*/ 1071563 h 1200150"/>
                  <a:gd name="connsiteX20" fmla="*/ 204787 w 1226344"/>
                  <a:gd name="connsiteY20" fmla="*/ 1083469 h 1200150"/>
                  <a:gd name="connsiteX21" fmla="*/ 233362 w 1226344"/>
                  <a:gd name="connsiteY21" fmla="*/ 1133475 h 1200150"/>
                  <a:gd name="connsiteX22" fmla="*/ 247650 w 1226344"/>
                  <a:gd name="connsiteY22" fmla="*/ 1133475 h 1200150"/>
                  <a:gd name="connsiteX23" fmla="*/ 266700 w 1226344"/>
                  <a:gd name="connsiteY23" fmla="*/ 1102519 h 1200150"/>
                  <a:gd name="connsiteX24" fmla="*/ 257175 w 1226344"/>
                  <a:gd name="connsiteY24" fmla="*/ 1081088 h 1200150"/>
                  <a:gd name="connsiteX25" fmla="*/ 230981 w 1226344"/>
                  <a:gd name="connsiteY25" fmla="*/ 1076325 h 1200150"/>
                  <a:gd name="connsiteX26" fmla="*/ 230981 w 1226344"/>
                  <a:gd name="connsiteY26" fmla="*/ 1052513 h 1200150"/>
                  <a:gd name="connsiteX27" fmla="*/ 228600 w 1226344"/>
                  <a:gd name="connsiteY27" fmla="*/ 1009650 h 1200150"/>
                  <a:gd name="connsiteX28" fmla="*/ 216694 w 1226344"/>
                  <a:gd name="connsiteY28" fmla="*/ 976313 h 1200150"/>
                  <a:gd name="connsiteX29" fmla="*/ 223837 w 1226344"/>
                  <a:gd name="connsiteY29" fmla="*/ 940594 h 1200150"/>
                  <a:gd name="connsiteX30" fmla="*/ 266700 w 1226344"/>
                  <a:gd name="connsiteY30" fmla="*/ 900113 h 1200150"/>
                  <a:gd name="connsiteX31" fmla="*/ 278606 w 1226344"/>
                  <a:gd name="connsiteY31" fmla="*/ 897732 h 1200150"/>
                  <a:gd name="connsiteX32" fmla="*/ 290512 w 1226344"/>
                  <a:gd name="connsiteY32" fmla="*/ 938213 h 1200150"/>
                  <a:gd name="connsiteX33" fmla="*/ 302419 w 1226344"/>
                  <a:gd name="connsiteY33" fmla="*/ 938213 h 1200150"/>
                  <a:gd name="connsiteX34" fmla="*/ 321469 w 1226344"/>
                  <a:gd name="connsiteY34" fmla="*/ 962025 h 1200150"/>
                  <a:gd name="connsiteX35" fmla="*/ 338137 w 1226344"/>
                  <a:gd name="connsiteY35" fmla="*/ 957263 h 1200150"/>
                  <a:gd name="connsiteX36" fmla="*/ 359569 w 1226344"/>
                  <a:gd name="connsiteY36" fmla="*/ 942975 h 1200150"/>
                  <a:gd name="connsiteX37" fmla="*/ 483394 w 1226344"/>
                  <a:gd name="connsiteY37" fmla="*/ 954882 h 1200150"/>
                  <a:gd name="connsiteX38" fmla="*/ 516731 w 1226344"/>
                  <a:gd name="connsiteY38" fmla="*/ 947738 h 1200150"/>
                  <a:gd name="connsiteX39" fmla="*/ 545306 w 1226344"/>
                  <a:gd name="connsiteY39" fmla="*/ 964407 h 1200150"/>
                  <a:gd name="connsiteX40" fmla="*/ 561975 w 1226344"/>
                  <a:gd name="connsiteY40" fmla="*/ 978694 h 1200150"/>
                  <a:gd name="connsiteX41" fmla="*/ 604837 w 1226344"/>
                  <a:gd name="connsiteY41" fmla="*/ 981075 h 1200150"/>
                  <a:gd name="connsiteX42" fmla="*/ 640556 w 1226344"/>
                  <a:gd name="connsiteY42" fmla="*/ 1021557 h 1200150"/>
                  <a:gd name="connsiteX43" fmla="*/ 659606 w 1226344"/>
                  <a:gd name="connsiteY43" fmla="*/ 1019175 h 1200150"/>
                  <a:gd name="connsiteX44" fmla="*/ 702469 w 1226344"/>
                  <a:gd name="connsiteY44" fmla="*/ 976313 h 1200150"/>
                  <a:gd name="connsiteX45" fmla="*/ 735806 w 1226344"/>
                  <a:gd name="connsiteY45" fmla="*/ 1000125 h 1200150"/>
                  <a:gd name="connsiteX46" fmla="*/ 752475 w 1226344"/>
                  <a:gd name="connsiteY46" fmla="*/ 1023938 h 1200150"/>
                  <a:gd name="connsiteX47" fmla="*/ 785812 w 1226344"/>
                  <a:gd name="connsiteY47" fmla="*/ 1021557 h 1200150"/>
                  <a:gd name="connsiteX48" fmla="*/ 819150 w 1226344"/>
                  <a:gd name="connsiteY48" fmla="*/ 1042988 h 1200150"/>
                  <a:gd name="connsiteX49" fmla="*/ 823912 w 1226344"/>
                  <a:gd name="connsiteY49" fmla="*/ 1064419 h 1200150"/>
                  <a:gd name="connsiteX50" fmla="*/ 842962 w 1226344"/>
                  <a:gd name="connsiteY50" fmla="*/ 1066800 h 1200150"/>
                  <a:gd name="connsiteX51" fmla="*/ 904875 w 1226344"/>
                  <a:gd name="connsiteY51" fmla="*/ 1073944 h 1200150"/>
                  <a:gd name="connsiteX52" fmla="*/ 933450 w 1226344"/>
                  <a:gd name="connsiteY52" fmla="*/ 1112044 h 1200150"/>
                  <a:gd name="connsiteX53" fmla="*/ 938212 w 1226344"/>
                  <a:gd name="connsiteY53" fmla="*/ 1140619 h 1200150"/>
                  <a:gd name="connsiteX54" fmla="*/ 940594 w 1226344"/>
                  <a:gd name="connsiteY54" fmla="*/ 1152525 h 1200150"/>
                  <a:gd name="connsiteX55" fmla="*/ 954882 w 1226344"/>
                  <a:gd name="connsiteY55" fmla="*/ 1200150 h 1200150"/>
                  <a:gd name="connsiteX56" fmla="*/ 1002506 w 1226344"/>
                  <a:gd name="connsiteY56" fmla="*/ 1173956 h 1200150"/>
                  <a:gd name="connsiteX57" fmla="*/ 1042987 w 1226344"/>
                  <a:gd name="connsiteY57" fmla="*/ 1150144 h 1200150"/>
                  <a:gd name="connsiteX58" fmla="*/ 1071562 w 1226344"/>
                  <a:gd name="connsiteY58" fmla="*/ 1069182 h 1200150"/>
                  <a:gd name="connsiteX59" fmla="*/ 1062037 w 1226344"/>
                  <a:gd name="connsiteY59" fmla="*/ 1045369 h 1200150"/>
                  <a:gd name="connsiteX60" fmla="*/ 1059656 w 1226344"/>
                  <a:gd name="connsiteY60" fmla="*/ 1012032 h 1200150"/>
                  <a:gd name="connsiteX61" fmla="*/ 1066800 w 1226344"/>
                  <a:gd name="connsiteY61" fmla="*/ 992982 h 1200150"/>
                  <a:gd name="connsiteX62" fmla="*/ 1083469 w 1226344"/>
                  <a:gd name="connsiteY62" fmla="*/ 973932 h 1200150"/>
                  <a:gd name="connsiteX63" fmla="*/ 1107281 w 1226344"/>
                  <a:gd name="connsiteY63" fmla="*/ 964407 h 1200150"/>
                  <a:gd name="connsiteX64" fmla="*/ 1133475 w 1226344"/>
                  <a:gd name="connsiteY64" fmla="*/ 921544 h 1200150"/>
                  <a:gd name="connsiteX65" fmla="*/ 1150144 w 1226344"/>
                  <a:gd name="connsiteY65" fmla="*/ 921544 h 1200150"/>
                  <a:gd name="connsiteX66" fmla="*/ 1197769 w 1226344"/>
                  <a:gd name="connsiteY66" fmla="*/ 940594 h 1200150"/>
                  <a:gd name="connsiteX67" fmla="*/ 1226344 w 1226344"/>
                  <a:gd name="connsiteY67" fmla="*/ 904875 h 1200150"/>
                  <a:gd name="connsiteX68" fmla="*/ 1195387 w 1226344"/>
                  <a:gd name="connsiteY68" fmla="*/ 852488 h 1200150"/>
                  <a:gd name="connsiteX69" fmla="*/ 1159669 w 1226344"/>
                  <a:gd name="connsiteY69" fmla="*/ 804863 h 1200150"/>
                  <a:gd name="connsiteX70" fmla="*/ 1162050 w 1226344"/>
                  <a:gd name="connsiteY70" fmla="*/ 762000 h 1200150"/>
                  <a:gd name="connsiteX71" fmla="*/ 1216819 w 1226344"/>
                  <a:gd name="connsiteY71" fmla="*/ 702469 h 1200150"/>
                  <a:gd name="connsiteX72" fmla="*/ 1219200 w 1226344"/>
                  <a:gd name="connsiteY72" fmla="*/ 676275 h 1200150"/>
                  <a:gd name="connsiteX73" fmla="*/ 1181100 w 1226344"/>
                  <a:gd name="connsiteY73" fmla="*/ 661988 h 1200150"/>
                  <a:gd name="connsiteX74" fmla="*/ 1150144 w 1226344"/>
                  <a:gd name="connsiteY74" fmla="*/ 635794 h 1200150"/>
                  <a:gd name="connsiteX75" fmla="*/ 1133475 w 1226344"/>
                  <a:gd name="connsiteY75" fmla="*/ 602457 h 1200150"/>
                  <a:gd name="connsiteX76" fmla="*/ 1083469 w 1226344"/>
                  <a:gd name="connsiteY76" fmla="*/ 604838 h 1200150"/>
                  <a:gd name="connsiteX77" fmla="*/ 1033462 w 1226344"/>
                  <a:gd name="connsiteY77" fmla="*/ 604838 h 1200150"/>
                  <a:gd name="connsiteX78" fmla="*/ 1014412 w 1226344"/>
                  <a:gd name="connsiteY78" fmla="*/ 583407 h 1200150"/>
                  <a:gd name="connsiteX79" fmla="*/ 950119 w 1226344"/>
                  <a:gd name="connsiteY79" fmla="*/ 578644 h 1200150"/>
                  <a:gd name="connsiteX80" fmla="*/ 933450 w 1226344"/>
                  <a:gd name="connsiteY80" fmla="*/ 561975 h 1200150"/>
                  <a:gd name="connsiteX81" fmla="*/ 933450 w 1226344"/>
                  <a:gd name="connsiteY81" fmla="*/ 547688 h 1200150"/>
                  <a:gd name="connsiteX82" fmla="*/ 859631 w 1226344"/>
                  <a:gd name="connsiteY82" fmla="*/ 511969 h 1200150"/>
                  <a:gd name="connsiteX83" fmla="*/ 850106 w 1226344"/>
                  <a:gd name="connsiteY83" fmla="*/ 492919 h 1200150"/>
                  <a:gd name="connsiteX84" fmla="*/ 828675 w 1226344"/>
                  <a:gd name="connsiteY84" fmla="*/ 476250 h 1200150"/>
                  <a:gd name="connsiteX85" fmla="*/ 795337 w 1226344"/>
                  <a:gd name="connsiteY85" fmla="*/ 478632 h 1200150"/>
                  <a:gd name="connsiteX86" fmla="*/ 773906 w 1226344"/>
                  <a:gd name="connsiteY86" fmla="*/ 471488 h 1200150"/>
                  <a:gd name="connsiteX87" fmla="*/ 728662 w 1226344"/>
                  <a:gd name="connsiteY87" fmla="*/ 428625 h 1200150"/>
                  <a:gd name="connsiteX88" fmla="*/ 700087 w 1226344"/>
                  <a:gd name="connsiteY88" fmla="*/ 421482 h 1200150"/>
                  <a:gd name="connsiteX89" fmla="*/ 666750 w 1226344"/>
                  <a:gd name="connsiteY89" fmla="*/ 383382 h 1200150"/>
                  <a:gd name="connsiteX90" fmla="*/ 626269 w 1226344"/>
                  <a:gd name="connsiteY90" fmla="*/ 369094 h 1200150"/>
                  <a:gd name="connsiteX91" fmla="*/ 585787 w 1226344"/>
                  <a:gd name="connsiteY91" fmla="*/ 335757 h 1200150"/>
                  <a:gd name="connsiteX92" fmla="*/ 564356 w 1226344"/>
                  <a:gd name="connsiteY92" fmla="*/ 311944 h 1200150"/>
                  <a:gd name="connsiteX93" fmla="*/ 550069 w 1226344"/>
                  <a:gd name="connsiteY93" fmla="*/ 330994 h 1200150"/>
                  <a:gd name="connsiteX94" fmla="*/ 478631 w 1226344"/>
                  <a:gd name="connsiteY94" fmla="*/ 328613 h 1200150"/>
                  <a:gd name="connsiteX95" fmla="*/ 330994 w 1226344"/>
                  <a:gd name="connsiteY95" fmla="*/ 230982 h 1200150"/>
                  <a:gd name="connsiteX96" fmla="*/ 259556 w 1226344"/>
                  <a:gd name="connsiteY96" fmla="*/ 254794 h 1200150"/>
                  <a:gd name="connsiteX97" fmla="*/ 221456 w 1226344"/>
                  <a:gd name="connsiteY97" fmla="*/ 245269 h 1200150"/>
                  <a:gd name="connsiteX98" fmla="*/ 238125 w 1226344"/>
                  <a:gd name="connsiteY98" fmla="*/ 150019 h 1200150"/>
                  <a:gd name="connsiteX99" fmla="*/ 228600 w 1226344"/>
                  <a:gd name="connsiteY99" fmla="*/ 95250 h 1200150"/>
                  <a:gd name="connsiteX100" fmla="*/ 197644 w 1226344"/>
                  <a:gd name="connsiteY100" fmla="*/ 78582 h 1200150"/>
                  <a:gd name="connsiteX101" fmla="*/ 145256 w 1226344"/>
                  <a:gd name="connsiteY101" fmla="*/ 0 h 1200150"/>
                  <a:gd name="connsiteX102" fmla="*/ 88106 w 1226344"/>
                  <a:gd name="connsiteY102" fmla="*/ 30957 h 1200150"/>
                  <a:gd name="connsiteX103" fmla="*/ 83344 w 1226344"/>
                  <a:gd name="connsiteY103" fmla="*/ 54769 h 1200150"/>
                  <a:gd name="connsiteX104" fmla="*/ 90487 w 1226344"/>
                  <a:gd name="connsiteY104" fmla="*/ 100013 h 1200150"/>
                  <a:gd name="connsiteX105" fmla="*/ 71437 w 1226344"/>
                  <a:gd name="connsiteY105" fmla="*/ 135732 h 1200150"/>
                  <a:gd name="connsiteX106" fmla="*/ 66675 w 1226344"/>
                  <a:gd name="connsiteY106" fmla="*/ 145257 h 1200150"/>
                  <a:gd name="connsiteX107" fmla="*/ 97631 w 1226344"/>
                  <a:gd name="connsiteY107" fmla="*/ 185738 h 1200150"/>
                  <a:gd name="connsiteX108" fmla="*/ 83344 w 1226344"/>
                  <a:gd name="connsiteY108" fmla="*/ 223838 h 1200150"/>
                  <a:gd name="connsiteX109" fmla="*/ 59531 w 1226344"/>
                  <a:gd name="connsiteY109" fmla="*/ 240507 h 1200150"/>
                  <a:gd name="connsiteX110" fmla="*/ 69056 w 1226344"/>
                  <a:gd name="connsiteY110" fmla="*/ 309563 h 1200150"/>
                  <a:gd name="connsiteX111" fmla="*/ 92869 w 1226344"/>
                  <a:gd name="connsiteY111" fmla="*/ 321469 h 1200150"/>
                  <a:gd name="connsiteX112" fmla="*/ 85725 w 1226344"/>
                  <a:gd name="connsiteY112" fmla="*/ 369094 h 1200150"/>
                  <a:gd name="connsiteX113" fmla="*/ 42862 w 1226344"/>
                  <a:gd name="connsiteY113" fmla="*/ 421482 h 1200150"/>
                  <a:gd name="connsiteX114" fmla="*/ 0 w 1226344"/>
                  <a:gd name="connsiteY114" fmla="*/ 452438 h 1200150"/>
                  <a:gd name="connsiteX0" fmla="*/ 0 w 1226344"/>
                  <a:gd name="connsiteY0" fmla="*/ 452438 h 1202531"/>
                  <a:gd name="connsiteX1" fmla="*/ 28575 w 1226344"/>
                  <a:gd name="connsiteY1" fmla="*/ 526257 h 1202531"/>
                  <a:gd name="connsiteX2" fmla="*/ 73819 w 1226344"/>
                  <a:gd name="connsiteY2" fmla="*/ 564357 h 1202531"/>
                  <a:gd name="connsiteX3" fmla="*/ 109537 w 1226344"/>
                  <a:gd name="connsiteY3" fmla="*/ 657225 h 1202531"/>
                  <a:gd name="connsiteX4" fmla="*/ 128587 w 1226344"/>
                  <a:gd name="connsiteY4" fmla="*/ 685800 h 1202531"/>
                  <a:gd name="connsiteX5" fmla="*/ 142875 w 1226344"/>
                  <a:gd name="connsiteY5" fmla="*/ 666750 h 1202531"/>
                  <a:gd name="connsiteX6" fmla="*/ 142875 w 1226344"/>
                  <a:gd name="connsiteY6" fmla="*/ 633413 h 1202531"/>
                  <a:gd name="connsiteX7" fmla="*/ 180975 w 1226344"/>
                  <a:gd name="connsiteY7" fmla="*/ 666750 h 1202531"/>
                  <a:gd name="connsiteX8" fmla="*/ 240506 w 1226344"/>
                  <a:gd name="connsiteY8" fmla="*/ 673894 h 1202531"/>
                  <a:gd name="connsiteX9" fmla="*/ 271462 w 1226344"/>
                  <a:gd name="connsiteY9" fmla="*/ 702469 h 1202531"/>
                  <a:gd name="connsiteX10" fmla="*/ 326231 w 1226344"/>
                  <a:gd name="connsiteY10" fmla="*/ 721519 h 1202531"/>
                  <a:gd name="connsiteX11" fmla="*/ 338137 w 1226344"/>
                  <a:gd name="connsiteY11" fmla="*/ 762000 h 1202531"/>
                  <a:gd name="connsiteX12" fmla="*/ 321469 w 1226344"/>
                  <a:gd name="connsiteY12" fmla="*/ 781050 h 1202531"/>
                  <a:gd name="connsiteX13" fmla="*/ 311944 w 1226344"/>
                  <a:gd name="connsiteY13" fmla="*/ 807244 h 1202531"/>
                  <a:gd name="connsiteX14" fmla="*/ 266700 w 1226344"/>
                  <a:gd name="connsiteY14" fmla="*/ 826294 h 1202531"/>
                  <a:gd name="connsiteX15" fmla="*/ 219075 w 1226344"/>
                  <a:gd name="connsiteY15" fmla="*/ 900113 h 1202531"/>
                  <a:gd name="connsiteX16" fmla="*/ 204787 w 1226344"/>
                  <a:gd name="connsiteY16" fmla="*/ 909638 h 1202531"/>
                  <a:gd name="connsiteX17" fmla="*/ 192881 w 1226344"/>
                  <a:gd name="connsiteY17" fmla="*/ 973932 h 1202531"/>
                  <a:gd name="connsiteX18" fmla="*/ 152400 w 1226344"/>
                  <a:gd name="connsiteY18" fmla="*/ 1042988 h 1202531"/>
                  <a:gd name="connsiteX19" fmla="*/ 157162 w 1226344"/>
                  <a:gd name="connsiteY19" fmla="*/ 1071563 h 1202531"/>
                  <a:gd name="connsiteX20" fmla="*/ 204787 w 1226344"/>
                  <a:gd name="connsiteY20" fmla="*/ 1083469 h 1202531"/>
                  <a:gd name="connsiteX21" fmla="*/ 233362 w 1226344"/>
                  <a:gd name="connsiteY21" fmla="*/ 1133475 h 1202531"/>
                  <a:gd name="connsiteX22" fmla="*/ 247650 w 1226344"/>
                  <a:gd name="connsiteY22" fmla="*/ 1133475 h 1202531"/>
                  <a:gd name="connsiteX23" fmla="*/ 266700 w 1226344"/>
                  <a:gd name="connsiteY23" fmla="*/ 1102519 h 1202531"/>
                  <a:gd name="connsiteX24" fmla="*/ 257175 w 1226344"/>
                  <a:gd name="connsiteY24" fmla="*/ 1081088 h 1202531"/>
                  <a:gd name="connsiteX25" fmla="*/ 230981 w 1226344"/>
                  <a:gd name="connsiteY25" fmla="*/ 1076325 h 1202531"/>
                  <a:gd name="connsiteX26" fmla="*/ 230981 w 1226344"/>
                  <a:gd name="connsiteY26" fmla="*/ 1052513 h 1202531"/>
                  <a:gd name="connsiteX27" fmla="*/ 228600 w 1226344"/>
                  <a:gd name="connsiteY27" fmla="*/ 1009650 h 1202531"/>
                  <a:gd name="connsiteX28" fmla="*/ 216694 w 1226344"/>
                  <a:gd name="connsiteY28" fmla="*/ 976313 h 1202531"/>
                  <a:gd name="connsiteX29" fmla="*/ 223837 w 1226344"/>
                  <a:gd name="connsiteY29" fmla="*/ 940594 h 1202531"/>
                  <a:gd name="connsiteX30" fmla="*/ 266700 w 1226344"/>
                  <a:gd name="connsiteY30" fmla="*/ 900113 h 1202531"/>
                  <a:gd name="connsiteX31" fmla="*/ 278606 w 1226344"/>
                  <a:gd name="connsiteY31" fmla="*/ 897732 h 1202531"/>
                  <a:gd name="connsiteX32" fmla="*/ 290512 w 1226344"/>
                  <a:gd name="connsiteY32" fmla="*/ 938213 h 1202531"/>
                  <a:gd name="connsiteX33" fmla="*/ 302419 w 1226344"/>
                  <a:gd name="connsiteY33" fmla="*/ 938213 h 1202531"/>
                  <a:gd name="connsiteX34" fmla="*/ 321469 w 1226344"/>
                  <a:gd name="connsiteY34" fmla="*/ 962025 h 1202531"/>
                  <a:gd name="connsiteX35" fmla="*/ 338137 w 1226344"/>
                  <a:gd name="connsiteY35" fmla="*/ 957263 h 1202531"/>
                  <a:gd name="connsiteX36" fmla="*/ 359569 w 1226344"/>
                  <a:gd name="connsiteY36" fmla="*/ 942975 h 1202531"/>
                  <a:gd name="connsiteX37" fmla="*/ 483394 w 1226344"/>
                  <a:gd name="connsiteY37" fmla="*/ 954882 h 1202531"/>
                  <a:gd name="connsiteX38" fmla="*/ 516731 w 1226344"/>
                  <a:gd name="connsiteY38" fmla="*/ 947738 h 1202531"/>
                  <a:gd name="connsiteX39" fmla="*/ 545306 w 1226344"/>
                  <a:gd name="connsiteY39" fmla="*/ 964407 h 1202531"/>
                  <a:gd name="connsiteX40" fmla="*/ 561975 w 1226344"/>
                  <a:gd name="connsiteY40" fmla="*/ 978694 h 1202531"/>
                  <a:gd name="connsiteX41" fmla="*/ 604837 w 1226344"/>
                  <a:gd name="connsiteY41" fmla="*/ 981075 h 1202531"/>
                  <a:gd name="connsiteX42" fmla="*/ 640556 w 1226344"/>
                  <a:gd name="connsiteY42" fmla="*/ 1021557 h 1202531"/>
                  <a:gd name="connsiteX43" fmla="*/ 659606 w 1226344"/>
                  <a:gd name="connsiteY43" fmla="*/ 1019175 h 1202531"/>
                  <a:gd name="connsiteX44" fmla="*/ 702469 w 1226344"/>
                  <a:gd name="connsiteY44" fmla="*/ 976313 h 1202531"/>
                  <a:gd name="connsiteX45" fmla="*/ 735806 w 1226344"/>
                  <a:gd name="connsiteY45" fmla="*/ 1000125 h 1202531"/>
                  <a:gd name="connsiteX46" fmla="*/ 752475 w 1226344"/>
                  <a:gd name="connsiteY46" fmla="*/ 1023938 h 1202531"/>
                  <a:gd name="connsiteX47" fmla="*/ 785812 w 1226344"/>
                  <a:gd name="connsiteY47" fmla="*/ 1021557 h 1202531"/>
                  <a:gd name="connsiteX48" fmla="*/ 819150 w 1226344"/>
                  <a:gd name="connsiteY48" fmla="*/ 1042988 h 1202531"/>
                  <a:gd name="connsiteX49" fmla="*/ 823912 w 1226344"/>
                  <a:gd name="connsiteY49" fmla="*/ 1064419 h 1202531"/>
                  <a:gd name="connsiteX50" fmla="*/ 842962 w 1226344"/>
                  <a:gd name="connsiteY50" fmla="*/ 1066800 h 1202531"/>
                  <a:gd name="connsiteX51" fmla="*/ 904875 w 1226344"/>
                  <a:gd name="connsiteY51" fmla="*/ 1073944 h 1202531"/>
                  <a:gd name="connsiteX52" fmla="*/ 933450 w 1226344"/>
                  <a:gd name="connsiteY52" fmla="*/ 1112044 h 1202531"/>
                  <a:gd name="connsiteX53" fmla="*/ 938212 w 1226344"/>
                  <a:gd name="connsiteY53" fmla="*/ 1140619 h 1202531"/>
                  <a:gd name="connsiteX54" fmla="*/ 940594 w 1226344"/>
                  <a:gd name="connsiteY54" fmla="*/ 1152525 h 1202531"/>
                  <a:gd name="connsiteX55" fmla="*/ 954882 w 1226344"/>
                  <a:gd name="connsiteY55" fmla="*/ 1200150 h 1202531"/>
                  <a:gd name="connsiteX56" fmla="*/ 990599 w 1226344"/>
                  <a:gd name="connsiteY56" fmla="*/ 1202531 h 1202531"/>
                  <a:gd name="connsiteX57" fmla="*/ 1042987 w 1226344"/>
                  <a:gd name="connsiteY57" fmla="*/ 1150144 h 1202531"/>
                  <a:gd name="connsiteX58" fmla="*/ 1071562 w 1226344"/>
                  <a:gd name="connsiteY58" fmla="*/ 1069182 h 1202531"/>
                  <a:gd name="connsiteX59" fmla="*/ 1062037 w 1226344"/>
                  <a:gd name="connsiteY59" fmla="*/ 1045369 h 1202531"/>
                  <a:gd name="connsiteX60" fmla="*/ 1059656 w 1226344"/>
                  <a:gd name="connsiteY60" fmla="*/ 1012032 h 1202531"/>
                  <a:gd name="connsiteX61" fmla="*/ 1066800 w 1226344"/>
                  <a:gd name="connsiteY61" fmla="*/ 992982 h 1202531"/>
                  <a:gd name="connsiteX62" fmla="*/ 1083469 w 1226344"/>
                  <a:gd name="connsiteY62" fmla="*/ 973932 h 1202531"/>
                  <a:gd name="connsiteX63" fmla="*/ 1107281 w 1226344"/>
                  <a:gd name="connsiteY63" fmla="*/ 964407 h 1202531"/>
                  <a:gd name="connsiteX64" fmla="*/ 1133475 w 1226344"/>
                  <a:gd name="connsiteY64" fmla="*/ 921544 h 1202531"/>
                  <a:gd name="connsiteX65" fmla="*/ 1150144 w 1226344"/>
                  <a:gd name="connsiteY65" fmla="*/ 921544 h 1202531"/>
                  <a:gd name="connsiteX66" fmla="*/ 1197769 w 1226344"/>
                  <a:gd name="connsiteY66" fmla="*/ 940594 h 1202531"/>
                  <a:gd name="connsiteX67" fmla="*/ 1226344 w 1226344"/>
                  <a:gd name="connsiteY67" fmla="*/ 904875 h 1202531"/>
                  <a:gd name="connsiteX68" fmla="*/ 1195387 w 1226344"/>
                  <a:gd name="connsiteY68" fmla="*/ 852488 h 1202531"/>
                  <a:gd name="connsiteX69" fmla="*/ 1159669 w 1226344"/>
                  <a:gd name="connsiteY69" fmla="*/ 804863 h 1202531"/>
                  <a:gd name="connsiteX70" fmla="*/ 1162050 w 1226344"/>
                  <a:gd name="connsiteY70" fmla="*/ 762000 h 1202531"/>
                  <a:gd name="connsiteX71" fmla="*/ 1216819 w 1226344"/>
                  <a:gd name="connsiteY71" fmla="*/ 702469 h 1202531"/>
                  <a:gd name="connsiteX72" fmla="*/ 1219200 w 1226344"/>
                  <a:gd name="connsiteY72" fmla="*/ 676275 h 1202531"/>
                  <a:gd name="connsiteX73" fmla="*/ 1181100 w 1226344"/>
                  <a:gd name="connsiteY73" fmla="*/ 661988 h 1202531"/>
                  <a:gd name="connsiteX74" fmla="*/ 1150144 w 1226344"/>
                  <a:gd name="connsiteY74" fmla="*/ 635794 h 1202531"/>
                  <a:gd name="connsiteX75" fmla="*/ 1133475 w 1226344"/>
                  <a:gd name="connsiteY75" fmla="*/ 602457 h 1202531"/>
                  <a:gd name="connsiteX76" fmla="*/ 1083469 w 1226344"/>
                  <a:gd name="connsiteY76" fmla="*/ 604838 h 1202531"/>
                  <a:gd name="connsiteX77" fmla="*/ 1033462 w 1226344"/>
                  <a:gd name="connsiteY77" fmla="*/ 604838 h 1202531"/>
                  <a:gd name="connsiteX78" fmla="*/ 1014412 w 1226344"/>
                  <a:gd name="connsiteY78" fmla="*/ 583407 h 1202531"/>
                  <a:gd name="connsiteX79" fmla="*/ 950119 w 1226344"/>
                  <a:gd name="connsiteY79" fmla="*/ 578644 h 1202531"/>
                  <a:gd name="connsiteX80" fmla="*/ 933450 w 1226344"/>
                  <a:gd name="connsiteY80" fmla="*/ 561975 h 1202531"/>
                  <a:gd name="connsiteX81" fmla="*/ 933450 w 1226344"/>
                  <a:gd name="connsiteY81" fmla="*/ 547688 h 1202531"/>
                  <a:gd name="connsiteX82" fmla="*/ 859631 w 1226344"/>
                  <a:gd name="connsiteY82" fmla="*/ 511969 h 1202531"/>
                  <a:gd name="connsiteX83" fmla="*/ 850106 w 1226344"/>
                  <a:gd name="connsiteY83" fmla="*/ 492919 h 1202531"/>
                  <a:gd name="connsiteX84" fmla="*/ 828675 w 1226344"/>
                  <a:gd name="connsiteY84" fmla="*/ 476250 h 1202531"/>
                  <a:gd name="connsiteX85" fmla="*/ 795337 w 1226344"/>
                  <a:gd name="connsiteY85" fmla="*/ 478632 h 1202531"/>
                  <a:gd name="connsiteX86" fmla="*/ 773906 w 1226344"/>
                  <a:gd name="connsiteY86" fmla="*/ 471488 h 1202531"/>
                  <a:gd name="connsiteX87" fmla="*/ 728662 w 1226344"/>
                  <a:gd name="connsiteY87" fmla="*/ 428625 h 1202531"/>
                  <a:gd name="connsiteX88" fmla="*/ 700087 w 1226344"/>
                  <a:gd name="connsiteY88" fmla="*/ 421482 h 1202531"/>
                  <a:gd name="connsiteX89" fmla="*/ 666750 w 1226344"/>
                  <a:gd name="connsiteY89" fmla="*/ 383382 h 1202531"/>
                  <a:gd name="connsiteX90" fmla="*/ 626269 w 1226344"/>
                  <a:gd name="connsiteY90" fmla="*/ 369094 h 1202531"/>
                  <a:gd name="connsiteX91" fmla="*/ 585787 w 1226344"/>
                  <a:gd name="connsiteY91" fmla="*/ 335757 h 1202531"/>
                  <a:gd name="connsiteX92" fmla="*/ 564356 w 1226344"/>
                  <a:gd name="connsiteY92" fmla="*/ 311944 h 1202531"/>
                  <a:gd name="connsiteX93" fmla="*/ 550069 w 1226344"/>
                  <a:gd name="connsiteY93" fmla="*/ 330994 h 1202531"/>
                  <a:gd name="connsiteX94" fmla="*/ 478631 w 1226344"/>
                  <a:gd name="connsiteY94" fmla="*/ 328613 h 1202531"/>
                  <a:gd name="connsiteX95" fmla="*/ 330994 w 1226344"/>
                  <a:gd name="connsiteY95" fmla="*/ 230982 h 1202531"/>
                  <a:gd name="connsiteX96" fmla="*/ 259556 w 1226344"/>
                  <a:gd name="connsiteY96" fmla="*/ 254794 h 1202531"/>
                  <a:gd name="connsiteX97" fmla="*/ 221456 w 1226344"/>
                  <a:gd name="connsiteY97" fmla="*/ 245269 h 1202531"/>
                  <a:gd name="connsiteX98" fmla="*/ 238125 w 1226344"/>
                  <a:gd name="connsiteY98" fmla="*/ 150019 h 1202531"/>
                  <a:gd name="connsiteX99" fmla="*/ 228600 w 1226344"/>
                  <a:gd name="connsiteY99" fmla="*/ 95250 h 1202531"/>
                  <a:gd name="connsiteX100" fmla="*/ 197644 w 1226344"/>
                  <a:gd name="connsiteY100" fmla="*/ 78582 h 1202531"/>
                  <a:gd name="connsiteX101" fmla="*/ 145256 w 1226344"/>
                  <a:gd name="connsiteY101" fmla="*/ 0 h 1202531"/>
                  <a:gd name="connsiteX102" fmla="*/ 88106 w 1226344"/>
                  <a:gd name="connsiteY102" fmla="*/ 30957 h 1202531"/>
                  <a:gd name="connsiteX103" fmla="*/ 83344 w 1226344"/>
                  <a:gd name="connsiteY103" fmla="*/ 54769 h 1202531"/>
                  <a:gd name="connsiteX104" fmla="*/ 90487 w 1226344"/>
                  <a:gd name="connsiteY104" fmla="*/ 100013 h 1202531"/>
                  <a:gd name="connsiteX105" fmla="*/ 71437 w 1226344"/>
                  <a:gd name="connsiteY105" fmla="*/ 135732 h 1202531"/>
                  <a:gd name="connsiteX106" fmla="*/ 66675 w 1226344"/>
                  <a:gd name="connsiteY106" fmla="*/ 145257 h 1202531"/>
                  <a:gd name="connsiteX107" fmla="*/ 97631 w 1226344"/>
                  <a:gd name="connsiteY107" fmla="*/ 185738 h 1202531"/>
                  <a:gd name="connsiteX108" fmla="*/ 83344 w 1226344"/>
                  <a:gd name="connsiteY108" fmla="*/ 223838 h 1202531"/>
                  <a:gd name="connsiteX109" fmla="*/ 59531 w 1226344"/>
                  <a:gd name="connsiteY109" fmla="*/ 240507 h 1202531"/>
                  <a:gd name="connsiteX110" fmla="*/ 69056 w 1226344"/>
                  <a:gd name="connsiteY110" fmla="*/ 309563 h 1202531"/>
                  <a:gd name="connsiteX111" fmla="*/ 92869 w 1226344"/>
                  <a:gd name="connsiteY111" fmla="*/ 321469 h 1202531"/>
                  <a:gd name="connsiteX112" fmla="*/ 85725 w 1226344"/>
                  <a:gd name="connsiteY112" fmla="*/ 369094 h 1202531"/>
                  <a:gd name="connsiteX113" fmla="*/ 42862 w 1226344"/>
                  <a:gd name="connsiteY113" fmla="*/ 421482 h 1202531"/>
                  <a:gd name="connsiteX114" fmla="*/ 0 w 1226344"/>
                  <a:gd name="connsiteY114" fmla="*/ 452438 h 1202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1226344" h="1202531">
                    <a:moveTo>
                      <a:pt x="0" y="452438"/>
                    </a:moveTo>
                    <a:lnTo>
                      <a:pt x="28575" y="526257"/>
                    </a:lnTo>
                    <a:lnTo>
                      <a:pt x="73819" y="564357"/>
                    </a:lnTo>
                    <a:lnTo>
                      <a:pt x="109537" y="657225"/>
                    </a:lnTo>
                    <a:lnTo>
                      <a:pt x="128587" y="685800"/>
                    </a:lnTo>
                    <a:lnTo>
                      <a:pt x="142875" y="666750"/>
                    </a:lnTo>
                    <a:lnTo>
                      <a:pt x="142875" y="633413"/>
                    </a:lnTo>
                    <a:lnTo>
                      <a:pt x="180975" y="666750"/>
                    </a:lnTo>
                    <a:lnTo>
                      <a:pt x="240506" y="673894"/>
                    </a:lnTo>
                    <a:lnTo>
                      <a:pt x="271462" y="702469"/>
                    </a:lnTo>
                    <a:lnTo>
                      <a:pt x="326231" y="721519"/>
                    </a:lnTo>
                    <a:lnTo>
                      <a:pt x="338137" y="762000"/>
                    </a:lnTo>
                    <a:lnTo>
                      <a:pt x="321469" y="781050"/>
                    </a:lnTo>
                    <a:lnTo>
                      <a:pt x="311944" y="807244"/>
                    </a:lnTo>
                    <a:lnTo>
                      <a:pt x="266700" y="826294"/>
                    </a:lnTo>
                    <a:lnTo>
                      <a:pt x="219075" y="900113"/>
                    </a:lnTo>
                    <a:lnTo>
                      <a:pt x="204787" y="909638"/>
                    </a:lnTo>
                    <a:lnTo>
                      <a:pt x="192881" y="973932"/>
                    </a:lnTo>
                    <a:lnTo>
                      <a:pt x="152400" y="1042988"/>
                    </a:lnTo>
                    <a:lnTo>
                      <a:pt x="157162" y="1071563"/>
                    </a:lnTo>
                    <a:lnTo>
                      <a:pt x="204787" y="1083469"/>
                    </a:lnTo>
                    <a:lnTo>
                      <a:pt x="233362" y="1133475"/>
                    </a:lnTo>
                    <a:lnTo>
                      <a:pt x="247650" y="1133475"/>
                    </a:lnTo>
                    <a:lnTo>
                      <a:pt x="266700" y="1102519"/>
                    </a:lnTo>
                    <a:lnTo>
                      <a:pt x="257175" y="1081088"/>
                    </a:lnTo>
                    <a:lnTo>
                      <a:pt x="230981" y="1076325"/>
                    </a:lnTo>
                    <a:lnTo>
                      <a:pt x="230981" y="1052513"/>
                    </a:lnTo>
                    <a:lnTo>
                      <a:pt x="228600" y="1009650"/>
                    </a:lnTo>
                    <a:lnTo>
                      <a:pt x="216694" y="976313"/>
                    </a:lnTo>
                    <a:lnTo>
                      <a:pt x="223837" y="940594"/>
                    </a:lnTo>
                    <a:lnTo>
                      <a:pt x="266700" y="900113"/>
                    </a:lnTo>
                    <a:lnTo>
                      <a:pt x="278606" y="897732"/>
                    </a:lnTo>
                    <a:lnTo>
                      <a:pt x="290512" y="938213"/>
                    </a:lnTo>
                    <a:lnTo>
                      <a:pt x="302419" y="938213"/>
                    </a:lnTo>
                    <a:lnTo>
                      <a:pt x="321469" y="962025"/>
                    </a:lnTo>
                    <a:lnTo>
                      <a:pt x="338137" y="957263"/>
                    </a:lnTo>
                    <a:lnTo>
                      <a:pt x="359569" y="942975"/>
                    </a:lnTo>
                    <a:lnTo>
                      <a:pt x="483394" y="954882"/>
                    </a:lnTo>
                    <a:lnTo>
                      <a:pt x="516731" y="947738"/>
                    </a:lnTo>
                    <a:lnTo>
                      <a:pt x="545306" y="964407"/>
                    </a:lnTo>
                    <a:lnTo>
                      <a:pt x="561975" y="978694"/>
                    </a:lnTo>
                    <a:lnTo>
                      <a:pt x="604837" y="981075"/>
                    </a:lnTo>
                    <a:lnTo>
                      <a:pt x="640556" y="1021557"/>
                    </a:lnTo>
                    <a:lnTo>
                      <a:pt x="659606" y="1019175"/>
                    </a:lnTo>
                    <a:lnTo>
                      <a:pt x="702469" y="976313"/>
                    </a:lnTo>
                    <a:lnTo>
                      <a:pt x="735806" y="1000125"/>
                    </a:lnTo>
                    <a:lnTo>
                      <a:pt x="752475" y="1023938"/>
                    </a:lnTo>
                    <a:lnTo>
                      <a:pt x="785812" y="1021557"/>
                    </a:lnTo>
                    <a:lnTo>
                      <a:pt x="819150" y="1042988"/>
                    </a:lnTo>
                    <a:lnTo>
                      <a:pt x="823912" y="1064419"/>
                    </a:lnTo>
                    <a:lnTo>
                      <a:pt x="842962" y="1066800"/>
                    </a:lnTo>
                    <a:lnTo>
                      <a:pt x="904875" y="1073944"/>
                    </a:lnTo>
                    <a:lnTo>
                      <a:pt x="933450" y="1112044"/>
                    </a:lnTo>
                    <a:lnTo>
                      <a:pt x="938212" y="1140619"/>
                    </a:lnTo>
                    <a:lnTo>
                      <a:pt x="940594" y="1152525"/>
                    </a:lnTo>
                    <a:lnTo>
                      <a:pt x="954882" y="1200150"/>
                    </a:lnTo>
                    <a:lnTo>
                      <a:pt x="990599" y="1202531"/>
                    </a:lnTo>
                    <a:lnTo>
                      <a:pt x="1042987" y="1150144"/>
                    </a:lnTo>
                    <a:lnTo>
                      <a:pt x="1071562" y="1069182"/>
                    </a:lnTo>
                    <a:lnTo>
                      <a:pt x="1062037" y="1045369"/>
                    </a:lnTo>
                    <a:lnTo>
                      <a:pt x="1059656" y="1012032"/>
                    </a:lnTo>
                    <a:lnTo>
                      <a:pt x="1066800" y="992982"/>
                    </a:lnTo>
                    <a:lnTo>
                      <a:pt x="1083469" y="973932"/>
                    </a:lnTo>
                    <a:lnTo>
                      <a:pt x="1107281" y="964407"/>
                    </a:lnTo>
                    <a:lnTo>
                      <a:pt x="1133475" y="921544"/>
                    </a:lnTo>
                    <a:lnTo>
                      <a:pt x="1150144" y="921544"/>
                    </a:lnTo>
                    <a:lnTo>
                      <a:pt x="1197769" y="940594"/>
                    </a:lnTo>
                    <a:lnTo>
                      <a:pt x="1226344" y="904875"/>
                    </a:lnTo>
                    <a:lnTo>
                      <a:pt x="1195387" y="852488"/>
                    </a:lnTo>
                    <a:lnTo>
                      <a:pt x="1159669" y="804863"/>
                    </a:lnTo>
                    <a:lnTo>
                      <a:pt x="1162050" y="762000"/>
                    </a:lnTo>
                    <a:lnTo>
                      <a:pt x="1216819" y="702469"/>
                    </a:lnTo>
                    <a:lnTo>
                      <a:pt x="1219200" y="676275"/>
                    </a:lnTo>
                    <a:lnTo>
                      <a:pt x="1181100" y="661988"/>
                    </a:lnTo>
                    <a:lnTo>
                      <a:pt x="1150144" y="635794"/>
                    </a:lnTo>
                    <a:lnTo>
                      <a:pt x="1133475" y="602457"/>
                    </a:lnTo>
                    <a:lnTo>
                      <a:pt x="1083469" y="604838"/>
                    </a:lnTo>
                    <a:lnTo>
                      <a:pt x="1033462" y="604838"/>
                    </a:lnTo>
                    <a:lnTo>
                      <a:pt x="1014412" y="583407"/>
                    </a:lnTo>
                    <a:lnTo>
                      <a:pt x="950119" y="578644"/>
                    </a:lnTo>
                    <a:lnTo>
                      <a:pt x="933450" y="561975"/>
                    </a:lnTo>
                    <a:lnTo>
                      <a:pt x="933450" y="547688"/>
                    </a:lnTo>
                    <a:lnTo>
                      <a:pt x="859631" y="511969"/>
                    </a:lnTo>
                    <a:lnTo>
                      <a:pt x="850106" y="492919"/>
                    </a:lnTo>
                    <a:lnTo>
                      <a:pt x="828675" y="476250"/>
                    </a:lnTo>
                    <a:lnTo>
                      <a:pt x="795337" y="478632"/>
                    </a:lnTo>
                    <a:lnTo>
                      <a:pt x="773906" y="471488"/>
                    </a:lnTo>
                    <a:lnTo>
                      <a:pt x="728662" y="428625"/>
                    </a:lnTo>
                    <a:lnTo>
                      <a:pt x="700087" y="421482"/>
                    </a:lnTo>
                    <a:lnTo>
                      <a:pt x="666750" y="383382"/>
                    </a:lnTo>
                    <a:lnTo>
                      <a:pt x="626269" y="369094"/>
                    </a:lnTo>
                    <a:lnTo>
                      <a:pt x="585787" y="335757"/>
                    </a:lnTo>
                    <a:lnTo>
                      <a:pt x="564356" y="311944"/>
                    </a:lnTo>
                    <a:lnTo>
                      <a:pt x="550069" y="330994"/>
                    </a:lnTo>
                    <a:lnTo>
                      <a:pt x="478631" y="328613"/>
                    </a:lnTo>
                    <a:lnTo>
                      <a:pt x="330994" y="230982"/>
                    </a:lnTo>
                    <a:lnTo>
                      <a:pt x="259556" y="254794"/>
                    </a:lnTo>
                    <a:lnTo>
                      <a:pt x="221456" y="245269"/>
                    </a:lnTo>
                    <a:lnTo>
                      <a:pt x="238125" y="150019"/>
                    </a:lnTo>
                    <a:lnTo>
                      <a:pt x="228600" y="95250"/>
                    </a:lnTo>
                    <a:lnTo>
                      <a:pt x="197644" y="78582"/>
                    </a:lnTo>
                    <a:lnTo>
                      <a:pt x="145256" y="0"/>
                    </a:lnTo>
                    <a:lnTo>
                      <a:pt x="88106" y="30957"/>
                    </a:lnTo>
                    <a:lnTo>
                      <a:pt x="83344" y="54769"/>
                    </a:lnTo>
                    <a:lnTo>
                      <a:pt x="90487" y="100013"/>
                    </a:lnTo>
                    <a:lnTo>
                      <a:pt x="71437" y="135732"/>
                    </a:lnTo>
                    <a:lnTo>
                      <a:pt x="66675" y="145257"/>
                    </a:lnTo>
                    <a:lnTo>
                      <a:pt x="97631" y="185738"/>
                    </a:lnTo>
                    <a:lnTo>
                      <a:pt x="83344" y="223838"/>
                    </a:lnTo>
                    <a:lnTo>
                      <a:pt x="59531" y="240507"/>
                    </a:lnTo>
                    <a:lnTo>
                      <a:pt x="69056" y="309563"/>
                    </a:lnTo>
                    <a:lnTo>
                      <a:pt x="92869" y="321469"/>
                    </a:lnTo>
                    <a:lnTo>
                      <a:pt x="85725" y="369094"/>
                    </a:lnTo>
                    <a:lnTo>
                      <a:pt x="42862" y="421482"/>
                    </a:lnTo>
                    <a:lnTo>
                      <a:pt x="0" y="452438"/>
                    </a:lnTo>
                    <a:close/>
                  </a:path>
                </a:pathLst>
              </a:custGeom>
              <a:solidFill>
                <a:srgbClr val="FFC00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 324">
                <a:extLst>
                  <a:ext uri="{FF2B5EF4-FFF2-40B4-BE49-F238E27FC236}">
                    <a16:creationId xmlns:a16="http://schemas.microsoft.com/office/drawing/2014/main" id="{6A19EA10-9201-7BA6-9B36-21A6BF7B8152}"/>
                  </a:ext>
                </a:extLst>
              </p:cNvPr>
              <p:cNvSpPr/>
              <p:nvPr/>
            </p:nvSpPr>
            <p:spPr>
              <a:xfrm rot="21396613">
                <a:off x="4449525" y="2326502"/>
                <a:ext cx="839137" cy="631463"/>
              </a:xfrm>
              <a:custGeom>
                <a:avLst/>
                <a:gdLst>
                  <a:gd name="connsiteX0" fmla="*/ 0 w 766763"/>
                  <a:gd name="connsiteY0" fmla="*/ 559594 h 592932"/>
                  <a:gd name="connsiteX1" fmla="*/ 97631 w 766763"/>
                  <a:gd name="connsiteY1" fmla="*/ 564357 h 592932"/>
                  <a:gd name="connsiteX2" fmla="*/ 111919 w 766763"/>
                  <a:gd name="connsiteY2" fmla="*/ 573882 h 592932"/>
                  <a:gd name="connsiteX3" fmla="*/ 123825 w 766763"/>
                  <a:gd name="connsiteY3" fmla="*/ 571500 h 592932"/>
                  <a:gd name="connsiteX4" fmla="*/ 154781 w 766763"/>
                  <a:gd name="connsiteY4" fmla="*/ 592932 h 592932"/>
                  <a:gd name="connsiteX5" fmla="*/ 192881 w 766763"/>
                  <a:gd name="connsiteY5" fmla="*/ 566738 h 592932"/>
                  <a:gd name="connsiteX6" fmla="*/ 192881 w 766763"/>
                  <a:gd name="connsiteY6" fmla="*/ 566738 h 592932"/>
                  <a:gd name="connsiteX7" fmla="*/ 269081 w 766763"/>
                  <a:gd name="connsiteY7" fmla="*/ 588169 h 592932"/>
                  <a:gd name="connsiteX8" fmla="*/ 290513 w 766763"/>
                  <a:gd name="connsiteY8" fmla="*/ 550069 h 592932"/>
                  <a:gd name="connsiteX9" fmla="*/ 350044 w 766763"/>
                  <a:gd name="connsiteY9" fmla="*/ 550069 h 592932"/>
                  <a:gd name="connsiteX10" fmla="*/ 385763 w 766763"/>
                  <a:gd name="connsiteY10" fmla="*/ 523875 h 592932"/>
                  <a:gd name="connsiteX11" fmla="*/ 414338 w 766763"/>
                  <a:gd name="connsiteY11" fmla="*/ 521494 h 592932"/>
                  <a:gd name="connsiteX12" fmla="*/ 464344 w 766763"/>
                  <a:gd name="connsiteY12" fmla="*/ 540544 h 592932"/>
                  <a:gd name="connsiteX13" fmla="*/ 497681 w 766763"/>
                  <a:gd name="connsiteY13" fmla="*/ 561975 h 592932"/>
                  <a:gd name="connsiteX14" fmla="*/ 550069 w 766763"/>
                  <a:gd name="connsiteY14" fmla="*/ 528638 h 592932"/>
                  <a:gd name="connsiteX15" fmla="*/ 590550 w 766763"/>
                  <a:gd name="connsiteY15" fmla="*/ 533400 h 592932"/>
                  <a:gd name="connsiteX16" fmla="*/ 604838 w 766763"/>
                  <a:gd name="connsiteY16" fmla="*/ 464344 h 592932"/>
                  <a:gd name="connsiteX17" fmla="*/ 602456 w 766763"/>
                  <a:gd name="connsiteY17" fmla="*/ 445294 h 592932"/>
                  <a:gd name="connsiteX18" fmla="*/ 688181 w 766763"/>
                  <a:gd name="connsiteY18" fmla="*/ 395288 h 592932"/>
                  <a:gd name="connsiteX19" fmla="*/ 702469 w 766763"/>
                  <a:gd name="connsiteY19" fmla="*/ 381000 h 592932"/>
                  <a:gd name="connsiteX20" fmla="*/ 762000 w 766763"/>
                  <a:gd name="connsiteY20" fmla="*/ 361950 h 592932"/>
                  <a:gd name="connsiteX21" fmla="*/ 762000 w 766763"/>
                  <a:gd name="connsiteY21" fmla="*/ 316707 h 592932"/>
                  <a:gd name="connsiteX22" fmla="*/ 733425 w 766763"/>
                  <a:gd name="connsiteY22" fmla="*/ 307182 h 592932"/>
                  <a:gd name="connsiteX23" fmla="*/ 719138 w 766763"/>
                  <a:gd name="connsiteY23" fmla="*/ 283369 h 592932"/>
                  <a:gd name="connsiteX24" fmla="*/ 726281 w 766763"/>
                  <a:gd name="connsiteY24" fmla="*/ 254794 h 592932"/>
                  <a:gd name="connsiteX25" fmla="*/ 762000 w 766763"/>
                  <a:gd name="connsiteY25" fmla="*/ 245269 h 592932"/>
                  <a:gd name="connsiteX26" fmla="*/ 766763 w 766763"/>
                  <a:gd name="connsiteY26" fmla="*/ 223838 h 592932"/>
                  <a:gd name="connsiteX27" fmla="*/ 754856 w 766763"/>
                  <a:gd name="connsiteY27" fmla="*/ 214313 h 592932"/>
                  <a:gd name="connsiteX28" fmla="*/ 754856 w 766763"/>
                  <a:gd name="connsiteY28" fmla="*/ 183357 h 592932"/>
                  <a:gd name="connsiteX29" fmla="*/ 650081 w 766763"/>
                  <a:gd name="connsiteY29" fmla="*/ 214313 h 592932"/>
                  <a:gd name="connsiteX30" fmla="*/ 631031 w 766763"/>
                  <a:gd name="connsiteY30" fmla="*/ 214313 h 592932"/>
                  <a:gd name="connsiteX31" fmla="*/ 592931 w 766763"/>
                  <a:gd name="connsiteY31" fmla="*/ 180975 h 592932"/>
                  <a:gd name="connsiteX32" fmla="*/ 561975 w 766763"/>
                  <a:gd name="connsiteY32" fmla="*/ 188119 h 592932"/>
                  <a:gd name="connsiteX33" fmla="*/ 540544 w 766763"/>
                  <a:gd name="connsiteY33" fmla="*/ 202407 h 592932"/>
                  <a:gd name="connsiteX34" fmla="*/ 509588 w 766763"/>
                  <a:gd name="connsiteY34" fmla="*/ 195263 h 592932"/>
                  <a:gd name="connsiteX35" fmla="*/ 473869 w 766763"/>
                  <a:gd name="connsiteY35" fmla="*/ 190500 h 592932"/>
                  <a:gd name="connsiteX36" fmla="*/ 414338 w 766763"/>
                  <a:gd name="connsiteY36" fmla="*/ 185738 h 592932"/>
                  <a:gd name="connsiteX37" fmla="*/ 392906 w 766763"/>
                  <a:gd name="connsiteY37" fmla="*/ 154782 h 592932"/>
                  <a:gd name="connsiteX38" fmla="*/ 371475 w 766763"/>
                  <a:gd name="connsiteY38" fmla="*/ 126207 h 592932"/>
                  <a:gd name="connsiteX39" fmla="*/ 342900 w 766763"/>
                  <a:gd name="connsiteY39" fmla="*/ 126207 h 592932"/>
                  <a:gd name="connsiteX40" fmla="*/ 311944 w 766763"/>
                  <a:gd name="connsiteY40" fmla="*/ 142875 h 592932"/>
                  <a:gd name="connsiteX41" fmla="*/ 283369 w 766763"/>
                  <a:gd name="connsiteY41" fmla="*/ 135732 h 592932"/>
                  <a:gd name="connsiteX42" fmla="*/ 259556 w 766763"/>
                  <a:gd name="connsiteY42" fmla="*/ 97632 h 592932"/>
                  <a:gd name="connsiteX43" fmla="*/ 233363 w 766763"/>
                  <a:gd name="connsiteY43" fmla="*/ 76200 h 592932"/>
                  <a:gd name="connsiteX44" fmla="*/ 221456 w 766763"/>
                  <a:gd name="connsiteY44" fmla="*/ 73819 h 592932"/>
                  <a:gd name="connsiteX45" fmla="*/ 180975 w 766763"/>
                  <a:gd name="connsiteY45" fmla="*/ 21432 h 592932"/>
                  <a:gd name="connsiteX46" fmla="*/ 159544 w 766763"/>
                  <a:gd name="connsiteY46" fmla="*/ 0 h 592932"/>
                  <a:gd name="connsiteX47" fmla="*/ 107156 w 766763"/>
                  <a:gd name="connsiteY47" fmla="*/ 2382 h 592932"/>
                  <a:gd name="connsiteX48" fmla="*/ 83344 w 766763"/>
                  <a:gd name="connsiteY48" fmla="*/ 42863 h 592932"/>
                  <a:gd name="connsiteX49" fmla="*/ 85725 w 766763"/>
                  <a:gd name="connsiteY49" fmla="*/ 69057 h 592932"/>
                  <a:gd name="connsiteX50" fmla="*/ 104775 w 766763"/>
                  <a:gd name="connsiteY50" fmla="*/ 90488 h 592932"/>
                  <a:gd name="connsiteX51" fmla="*/ 116681 w 766763"/>
                  <a:gd name="connsiteY51" fmla="*/ 102394 h 592932"/>
                  <a:gd name="connsiteX52" fmla="*/ 145256 w 766763"/>
                  <a:gd name="connsiteY52" fmla="*/ 109538 h 592932"/>
                  <a:gd name="connsiteX53" fmla="*/ 161925 w 766763"/>
                  <a:gd name="connsiteY53" fmla="*/ 121444 h 592932"/>
                  <a:gd name="connsiteX54" fmla="*/ 159544 w 766763"/>
                  <a:gd name="connsiteY54" fmla="*/ 138113 h 592932"/>
                  <a:gd name="connsiteX55" fmla="*/ 104775 w 766763"/>
                  <a:gd name="connsiteY55" fmla="*/ 200025 h 592932"/>
                  <a:gd name="connsiteX56" fmla="*/ 107156 w 766763"/>
                  <a:gd name="connsiteY56" fmla="*/ 245269 h 592932"/>
                  <a:gd name="connsiteX57" fmla="*/ 140494 w 766763"/>
                  <a:gd name="connsiteY57" fmla="*/ 300038 h 592932"/>
                  <a:gd name="connsiteX58" fmla="*/ 166688 w 766763"/>
                  <a:gd name="connsiteY58" fmla="*/ 338138 h 592932"/>
                  <a:gd name="connsiteX59" fmla="*/ 133350 w 766763"/>
                  <a:gd name="connsiteY59" fmla="*/ 381000 h 592932"/>
                  <a:gd name="connsiteX60" fmla="*/ 80963 w 766763"/>
                  <a:gd name="connsiteY60" fmla="*/ 359569 h 592932"/>
                  <a:gd name="connsiteX61" fmla="*/ 50006 w 766763"/>
                  <a:gd name="connsiteY61" fmla="*/ 404813 h 592932"/>
                  <a:gd name="connsiteX62" fmla="*/ 19050 w 766763"/>
                  <a:gd name="connsiteY62" fmla="*/ 421482 h 592932"/>
                  <a:gd name="connsiteX63" fmla="*/ 4763 w 766763"/>
                  <a:gd name="connsiteY63" fmla="*/ 457200 h 592932"/>
                  <a:gd name="connsiteX64" fmla="*/ 0 w 766763"/>
                  <a:gd name="connsiteY64" fmla="*/ 559594 h 592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766763" h="592932">
                    <a:moveTo>
                      <a:pt x="0" y="559594"/>
                    </a:moveTo>
                    <a:lnTo>
                      <a:pt x="97631" y="564357"/>
                    </a:lnTo>
                    <a:lnTo>
                      <a:pt x="111919" y="573882"/>
                    </a:lnTo>
                    <a:lnTo>
                      <a:pt x="123825" y="571500"/>
                    </a:lnTo>
                    <a:lnTo>
                      <a:pt x="154781" y="592932"/>
                    </a:lnTo>
                    <a:lnTo>
                      <a:pt x="192881" y="566738"/>
                    </a:lnTo>
                    <a:lnTo>
                      <a:pt x="192881" y="566738"/>
                    </a:lnTo>
                    <a:lnTo>
                      <a:pt x="269081" y="588169"/>
                    </a:lnTo>
                    <a:lnTo>
                      <a:pt x="290513" y="550069"/>
                    </a:lnTo>
                    <a:lnTo>
                      <a:pt x="350044" y="550069"/>
                    </a:lnTo>
                    <a:lnTo>
                      <a:pt x="385763" y="523875"/>
                    </a:lnTo>
                    <a:lnTo>
                      <a:pt x="414338" y="521494"/>
                    </a:lnTo>
                    <a:lnTo>
                      <a:pt x="464344" y="540544"/>
                    </a:lnTo>
                    <a:lnTo>
                      <a:pt x="497681" y="561975"/>
                    </a:lnTo>
                    <a:lnTo>
                      <a:pt x="550069" y="528638"/>
                    </a:lnTo>
                    <a:lnTo>
                      <a:pt x="590550" y="533400"/>
                    </a:lnTo>
                    <a:lnTo>
                      <a:pt x="604838" y="464344"/>
                    </a:lnTo>
                    <a:lnTo>
                      <a:pt x="602456" y="445294"/>
                    </a:lnTo>
                    <a:lnTo>
                      <a:pt x="688181" y="395288"/>
                    </a:lnTo>
                    <a:lnTo>
                      <a:pt x="702469" y="381000"/>
                    </a:lnTo>
                    <a:lnTo>
                      <a:pt x="762000" y="361950"/>
                    </a:lnTo>
                    <a:lnTo>
                      <a:pt x="762000" y="316707"/>
                    </a:lnTo>
                    <a:lnTo>
                      <a:pt x="733425" y="307182"/>
                    </a:lnTo>
                    <a:lnTo>
                      <a:pt x="719138" y="283369"/>
                    </a:lnTo>
                    <a:lnTo>
                      <a:pt x="726281" y="254794"/>
                    </a:lnTo>
                    <a:lnTo>
                      <a:pt x="762000" y="245269"/>
                    </a:lnTo>
                    <a:lnTo>
                      <a:pt x="766763" y="223838"/>
                    </a:lnTo>
                    <a:lnTo>
                      <a:pt x="754856" y="214313"/>
                    </a:lnTo>
                    <a:lnTo>
                      <a:pt x="754856" y="183357"/>
                    </a:lnTo>
                    <a:lnTo>
                      <a:pt x="650081" y="214313"/>
                    </a:lnTo>
                    <a:lnTo>
                      <a:pt x="631031" y="214313"/>
                    </a:lnTo>
                    <a:lnTo>
                      <a:pt x="592931" y="180975"/>
                    </a:lnTo>
                    <a:lnTo>
                      <a:pt x="561975" y="188119"/>
                    </a:lnTo>
                    <a:lnTo>
                      <a:pt x="540544" y="202407"/>
                    </a:lnTo>
                    <a:lnTo>
                      <a:pt x="509588" y="195263"/>
                    </a:lnTo>
                    <a:lnTo>
                      <a:pt x="473869" y="190500"/>
                    </a:lnTo>
                    <a:lnTo>
                      <a:pt x="414338" y="185738"/>
                    </a:lnTo>
                    <a:lnTo>
                      <a:pt x="392906" y="154782"/>
                    </a:lnTo>
                    <a:lnTo>
                      <a:pt x="371475" y="126207"/>
                    </a:lnTo>
                    <a:lnTo>
                      <a:pt x="342900" y="126207"/>
                    </a:lnTo>
                    <a:lnTo>
                      <a:pt x="311944" y="142875"/>
                    </a:lnTo>
                    <a:lnTo>
                      <a:pt x="283369" y="135732"/>
                    </a:lnTo>
                    <a:lnTo>
                      <a:pt x="259556" y="97632"/>
                    </a:lnTo>
                    <a:lnTo>
                      <a:pt x="233363" y="76200"/>
                    </a:lnTo>
                    <a:lnTo>
                      <a:pt x="221456" y="73819"/>
                    </a:lnTo>
                    <a:lnTo>
                      <a:pt x="180975" y="21432"/>
                    </a:lnTo>
                    <a:lnTo>
                      <a:pt x="159544" y="0"/>
                    </a:lnTo>
                    <a:lnTo>
                      <a:pt x="107156" y="2382"/>
                    </a:lnTo>
                    <a:lnTo>
                      <a:pt x="83344" y="42863"/>
                    </a:lnTo>
                    <a:lnTo>
                      <a:pt x="85725" y="69057"/>
                    </a:lnTo>
                    <a:lnTo>
                      <a:pt x="104775" y="90488"/>
                    </a:lnTo>
                    <a:lnTo>
                      <a:pt x="116681" y="102394"/>
                    </a:lnTo>
                    <a:lnTo>
                      <a:pt x="145256" y="109538"/>
                    </a:lnTo>
                    <a:lnTo>
                      <a:pt x="161925" y="121444"/>
                    </a:lnTo>
                    <a:lnTo>
                      <a:pt x="159544" y="138113"/>
                    </a:lnTo>
                    <a:lnTo>
                      <a:pt x="104775" y="200025"/>
                    </a:lnTo>
                    <a:lnTo>
                      <a:pt x="107156" y="245269"/>
                    </a:lnTo>
                    <a:lnTo>
                      <a:pt x="140494" y="300038"/>
                    </a:lnTo>
                    <a:lnTo>
                      <a:pt x="166688" y="338138"/>
                    </a:lnTo>
                    <a:lnTo>
                      <a:pt x="133350" y="381000"/>
                    </a:lnTo>
                    <a:lnTo>
                      <a:pt x="80963" y="359569"/>
                    </a:lnTo>
                    <a:lnTo>
                      <a:pt x="50006" y="404813"/>
                    </a:lnTo>
                    <a:lnTo>
                      <a:pt x="19050" y="421482"/>
                    </a:lnTo>
                    <a:lnTo>
                      <a:pt x="4763" y="457200"/>
                    </a:lnTo>
                    <a:lnTo>
                      <a:pt x="0" y="559594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5868" name="Group 147">
              <a:extLst>
                <a:ext uri="{FF2B5EF4-FFF2-40B4-BE49-F238E27FC236}">
                  <a16:creationId xmlns:a16="http://schemas.microsoft.com/office/drawing/2014/main" id="{F1208717-29F8-8787-EAFE-A27B67F43B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33443" y="1968959"/>
              <a:ext cx="2654670" cy="2140619"/>
              <a:chOff x="2788231" y="1906991"/>
              <a:chExt cx="3238544" cy="2516185"/>
            </a:xfrm>
          </p:grpSpPr>
          <p:sp>
            <p:nvSpPr>
              <p:cNvPr id="166" name="Freeform 365">
                <a:extLst>
                  <a:ext uri="{FF2B5EF4-FFF2-40B4-BE49-F238E27FC236}">
                    <a16:creationId xmlns:a16="http://schemas.microsoft.com/office/drawing/2014/main" id="{D439BF35-78E2-8020-508B-A2CBB2A2B49E}"/>
                  </a:ext>
                </a:extLst>
              </p:cNvPr>
              <p:cNvSpPr/>
              <p:nvPr/>
            </p:nvSpPr>
            <p:spPr>
              <a:xfrm rot="21396613">
                <a:off x="2787573" y="3146665"/>
                <a:ext cx="845958" cy="1276593"/>
              </a:xfrm>
              <a:custGeom>
                <a:avLst/>
                <a:gdLst>
                  <a:gd name="connsiteX0" fmla="*/ 202407 w 771525"/>
                  <a:gd name="connsiteY0" fmla="*/ 1131094 h 1135856"/>
                  <a:gd name="connsiteX1" fmla="*/ 221457 w 771525"/>
                  <a:gd name="connsiteY1" fmla="*/ 1064419 h 1135856"/>
                  <a:gd name="connsiteX2" fmla="*/ 238125 w 771525"/>
                  <a:gd name="connsiteY2" fmla="*/ 1042987 h 1135856"/>
                  <a:gd name="connsiteX3" fmla="*/ 247650 w 771525"/>
                  <a:gd name="connsiteY3" fmla="*/ 1012031 h 1135856"/>
                  <a:gd name="connsiteX4" fmla="*/ 283369 w 771525"/>
                  <a:gd name="connsiteY4" fmla="*/ 985837 h 1135856"/>
                  <a:gd name="connsiteX5" fmla="*/ 319088 w 771525"/>
                  <a:gd name="connsiteY5" fmla="*/ 962025 h 1135856"/>
                  <a:gd name="connsiteX6" fmla="*/ 350044 w 771525"/>
                  <a:gd name="connsiteY6" fmla="*/ 928687 h 1135856"/>
                  <a:gd name="connsiteX7" fmla="*/ 354807 w 771525"/>
                  <a:gd name="connsiteY7" fmla="*/ 900112 h 1135856"/>
                  <a:gd name="connsiteX8" fmla="*/ 321469 w 771525"/>
                  <a:gd name="connsiteY8" fmla="*/ 854869 h 1135856"/>
                  <a:gd name="connsiteX9" fmla="*/ 323850 w 771525"/>
                  <a:gd name="connsiteY9" fmla="*/ 785812 h 1135856"/>
                  <a:gd name="connsiteX10" fmla="*/ 280988 w 771525"/>
                  <a:gd name="connsiteY10" fmla="*/ 735806 h 1135856"/>
                  <a:gd name="connsiteX11" fmla="*/ 288132 w 771525"/>
                  <a:gd name="connsiteY11" fmla="*/ 697706 h 1135856"/>
                  <a:gd name="connsiteX12" fmla="*/ 316707 w 771525"/>
                  <a:gd name="connsiteY12" fmla="*/ 681037 h 1135856"/>
                  <a:gd name="connsiteX13" fmla="*/ 330994 w 771525"/>
                  <a:gd name="connsiteY13" fmla="*/ 707231 h 1135856"/>
                  <a:gd name="connsiteX14" fmla="*/ 354807 w 771525"/>
                  <a:gd name="connsiteY14" fmla="*/ 726281 h 1135856"/>
                  <a:gd name="connsiteX15" fmla="*/ 369094 w 771525"/>
                  <a:gd name="connsiteY15" fmla="*/ 745331 h 1135856"/>
                  <a:gd name="connsiteX16" fmla="*/ 378619 w 771525"/>
                  <a:gd name="connsiteY16" fmla="*/ 781050 h 1135856"/>
                  <a:gd name="connsiteX17" fmla="*/ 395288 w 771525"/>
                  <a:gd name="connsiteY17" fmla="*/ 797719 h 1135856"/>
                  <a:gd name="connsiteX18" fmla="*/ 409575 w 771525"/>
                  <a:gd name="connsiteY18" fmla="*/ 792956 h 1135856"/>
                  <a:gd name="connsiteX19" fmla="*/ 426244 w 771525"/>
                  <a:gd name="connsiteY19" fmla="*/ 785812 h 1135856"/>
                  <a:gd name="connsiteX20" fmla="*/ 423863 w 771525"/>
                  <a:gd name="connsiteY20" fmla="*/ 676275 h 1135856"/>
                  <a:gd name="connsiteX21" fmla="*/ 409575 w 771525"/>
                  <a:gd name="connsiteY21" fmla="*/ 640556 h 1135856"/>
                  <a:gd name="connsiteX22" fmla="*/ 411957 w 771525"/>
                  <a:gd name="connsiteY22" fmla="*/ 614362 h 1135856"/>
                  <a:gd name="connsiteX23" fmla="*/ 426244 w 771525"/>
                  <a:gd name="connsiteY23" fmla="*/ 566737 h 1135856"/>
                  <a:gd name="connsiteX24" fmla="*/ 473869 w 771525"/>
                  <a:gd name="connsiteY24" fmla="*/ 566737 h 1135856"/>
                  <a:gd name="connsiteX25" fmla="*/ 488157 w 771525"/>
                  <a:gd name="connsiteY25" fmla="*/ 552450 h 1135856"/>
                  <a:gd name="connsiteX26" fmla="*/ 509588 w 771525"/>
                  <a:gd name="connsiteY26" fmla="*/ 502444 h 1135856"/>
                  <a:gd name="connsiteX27" fmla="*/ 604838 w 771525"/>
                  <a:gd name="connsiteY27" fmla="*/ 457200 h 1135856"/>
                  <a:gd name="connsiteX28" fmla="*/ 628650 w 771525"/>
                  <a:gd name="connsiteY28" fmla="*/ 447675 h 1135856"/>
                  <a:gd name="connsiteX29" fmla="*/ 638175 w 771525"/>
                  <a:gd name="connsiteY29" fmla="*/ 402431 h 1135856"/>
                  <a:gd name="connsiteX30" fmla="*/ 638175 w 771525"/>
                  <a:gd name="connsiteY30" fmla="*/ 361950 h 1135856"/>
                  <a:gd name="connsiteX31" fmla="*/ 640557 w 771525"/>
                  <a:gd name="connsiteY31" fmla="*/ 340519 h 1135856"/>
                  <a:gd name="connsiteX32" fmla="*/ 652463 w 771525"/>
                  <a:gd name="connsiteY32" fmla="*/ 333375 h 1135856"/>
                  <a:gd name="connsiteX33" fmla="*/ 742950 w 771525"/>
                  <a:gd name="connsiteY33" fmla="*/ 297656 h 1135856"/>
                  <a:gd name="connsiteX34" fmla="*/ 766763 w 771525"/>
                  <a:gd name="connsiteY34" fmla="*/ 280987 h 1135856"/>
                  <a:gd name="connsiteX35" fmla="*/ 754857 w 771525"/>
                  <a:gd name="connsiteY35" fmla="*/ 252412 h 1135856"/>
                  <a:gd name="connsiteX36" fmla="*/ 742950 w 771525"/>
                  <a:gd name="connsiteY36" fmla="*/ 221456 h 1135856"/>
                  <a:gd name="connsiteX37" fmla="*/ 771525 w 771525"/>
                  <a:gd name="connsiteY37" fmla="*/ 192881 h 1135856"/>
                  <a:gd name="connsiteX38" fmla="*/ 752475 w 771525"/>
                  <a:gd name="connsiteY38" fmla="*/ 161925 h 1135856"/>
                  <a:gd name="connsiteX39" fmla="*/ 752475 w 771525"/>
                  <a:gd name="connsiteY39" fmla="*/ 119062 h 1135856"/>
                  <a:gd name="connsiteX40" fmla="*/ 719138 w 771525"/>
                  <a:gd name="connsiteY40" fmla="*/ 85725 h 1135856"/>
                  <a:gd name="connsiteX41" fmla="*/ 671513 w 771525"/>
                  <a:gd name="connsiteY41" fmla="*/ 52387 h 1135856"/>
                  <a:gd name="connsiteX42" fmla="*/ 645319 w 771525"/>
                  <a:gd name="connsiteY42" fmla="*/ 35719 h 1135856"/>
                  <a:gd name="connsiteX43" fmla="*/ 642938 w 771525"/>
                  <a:gd name="connsiteY43" fmla="*/ 4762 h 1135856"/>
                  <a:gd name="connsiteX44" fmla="*/ 609600 w 771525"/>
                  <a:gd name="connsiteY44" fmla="*/ 0 h 1135856"/>
                  <a:gd name="connsiteX45" fmla="*/ 583407 w 771525"/>
                  <a:gd name="connsiteY45" fmla="*/ 23812 h 1135856"/>
                  <a:gd name="connsiteX46" fmla="*/ 564357 w 771525"/>
                  <a:gd name="connsiteY46" fmla="*/ 19050 h 1135856"/>
                  <a:gd name="connsiteX47" fmla="*/ 554832 w 771525"/>
                  <a:gd name="connsiteY47" fmla="*/ 42862 h 1135856"/>
                  <a:gd name="connsiteX48" fmla="*/ 509588 w 771525"/>
                  <a:gd name="connsiteY48" fmla="*/ 76200 h 1135856"/>
                  <a:gd name="connsiteX49" fmla="*/ 407194 w 771525"/>
                  <a:gd name="connsiteY49" fmla="*/ 114300 h 1135856"/>
                  <a:gd name="connsiteX50" fmla="*/ 381000 w 771525"/>
                  <a:gd name="connsiteY50" fmla="*/ 152400 h 1135856"/>
                  <a:gd name="connsiteX51" fmla="*/ 340519 w 771525"/>
                  <a:gd name="connsiteY51" fmla="*/ 140494 h 1135856"/>
                  <a:gd name="connsiteX52" fmla="*/ 245269 w 771525"/>
                  <a:gd name="connsiteY52" fmla="*/ 145256 h 1135856"/>
                  <a:gd name="connsiteX53" fmla="*/ 250032 w 771525"/>
                  <a:gd name="connsiteY53" fmla="*/ 154781 h 1135856"/>
                  <a:gd name="connsiteX54" fmla="*/ 309563 w 771525"/>
                  <a:gd name="connsiteY54" fmla="*/ 204787 h 1135856"/>
                  <a:gd name="connsiteX55" fmla="*/ 211932 w 771525"/>
                  <a:gd name="connsiteY55" fmla="*/ 328612 h 1135856"/>
                  <a:gd name="connsiteX56" fmla="*/ 173832 w 771525"/>
                  <a:gd name="connsiteY56" fmla="*/ 319087 h 1135856"/>
                  <a:gd name="connsiteX57" fmla="*/ 80963 w 771525"/>
                  <a:gd name="connsiteY57" fmla="*/ 452437 h 1135856"/>
                  <a:gd name="connsiteX58" fmla="*/ 97632 w 771525"/>
                  <a:gd name="connsiteY58" fmla="*/ 464344 h 1135856"/>
                  <a:gd name="connsiteX59" fmla="*/ 114300 w 771525"/>
                  <a:gd name="connsiteY59" fmla="*/ 504825 h 1135856"/>
                  <a:gd name="connsiteX60" fmla="*/ 92869 w 771525"/>
                  <a:gd name="connsiteY60" fmla="*/ 566737 h 1135856"/>
                  <a:gd name="connsiteX61" fmla="*/ 102394 w 771525"/>
                  <a:gd name="connsiteY61" fmla="*/ 640556 h 1135856"/>
                  <a:gd name="connsiteX62" fmla="*/ 73819 w 771525"/>
                  <a:gd name="connsiteY62" fmla="*/ 678656 h 1135856"/>
                  <a:gd name="connsiteX63" fmla="*/ 73819 w 771525"/>
                  <a:gd name="connsiteY63" fmla="*/ 704850 h 1135856"/>
                  <a:gd name="connsiteX64" fmla="*/ 61913 w 771525"/>
                  <a:gd name="connsiteY64" fmla="*/ 733425 h 1135856"/>
                  <a:gd name="connsiteX65" fmla="*/ 88107 w 771525"/>
                  <a:gd name="connsiteY65" fmla="*/ 762000 h 1135856"/>
                  <a:gd name="connsiteX66" fmla="*/ 135732 w 771525"/>
                  <a:gd name="connsiteY66" fmla="*/ 850106 h 1135856"/>
                  <a:gd name="connsiteX67" fmla="*/ 69057 w 771525"/>
                  <a:gd name="connsiteY67" fmla="*/ 876300 h 1135856"/>
                  <a:gd name="connsiteX68" fmla="*/ 45244 w 771525"/>
                  <a:gd name="connsiteY68" fmla="*/ 928687 h 1135856"/>
                  <a:gd name="connsiteX69" fmla="*/ 33338 w 771525"/>
                  <a:gd name="connsiteY69" fmla="*/ 983456 h 1135856"/>
                  <a:gd name="connsiteX70" fmla="*/ 2382 w 771525"/>
                  <a:gd name="connsiteY70" fmla="*/ 973931 h 1135856"/>
                  <a:gd name="connsiteX71" fmla="*/ 0 w 771525"/>
                  <a:gd name="connsiteY71" fmla="*/ 1021556 h 1135856"/>
                  <a:gd name="connsiteX72" fmla="*/ 16669 w 771525"/>
                  <a:gd name="connsiteY72" fmla="*/ 1031081 h 1135856"/>
                  <a:gd name="connsiteX73" fmla="*/ 57150 w 771525"/>
                  <a:gd name="connsiteY73" fmla="*/ 1040606 h 1135856"/>
                  <a:gd name="connsiteX74" fmla="*/ 85725 w 771525"/>
                  <a:gd name="connsiteY74" fmla="*/ 1054894 h 1135856"/>
                  <a:gd name="connsiteX75" fmla="*/ 102394 w 771525"/>
                  <a:gd name="connsiteY75" fmla="*/ 1109662 h 1135856"/>
                  <a:gd name="connsiteX76" fmla="*/ 130969 w 771525"/>
                  <a:gd name="connsiteY76" fmla="*/ 1135856 h 1135856"/>
                  <a:gd name="connsiteX77" fmla="*/ 202407 w 771525"/>
                  <a:gd name="connsiteY77" fmla="*/ 1131094 h 1135856"/>
                  <a:gd name="connsiteX0" fmla="*/ 202407 w 771525"/>
                  <a:gd name="connsiteY0" fmla="*/ 1131094 h 1135856"/>
                  <a:gd name="connsiteX1" fmla="*/ 221457 w 771525"/>
                  <a:gd name="connsiteY1" fmla="*/ 1064419 h 1135856"/>
                  <a:gd name="connsiteX2" fmla="*/ 238125 w 771525"/>
                  <a:gd name="connsiteY2" fmla="*/ 1042987 h 1135856"/>
                  <a:gd name="connsiteX3" fmla="*/ 247650 w 771525"/>
                  <a:gd name="connsiteY3" fmla="*/ 1012031 h 1135856"/>
                  <a:gd name="connsiteX4" fmla="*/ 283369 w 771525"/>
                  <a:gd name="connsiteY4" fmla="*/ 985837 h 1135856"/>
                  <a:gd name="connsiteX5" fmla="*/ 319088 w 771525"/>
                  <a:gd name="connsiteY5" fmla="*/ 962025 h 1135856"/>
                  <a:gd name="connsiteX6" fmla="*/ 350044 w 771525"/>
                  <a:gd name="connsiteY6" fmla="*/ 928687 h 1135856"/>
                  <a:gd name="connsiteX7" fmla="*/ 354807 w 771525"/>
                  <a:gd name="connsiteY7" fmla="*/ 900112 h 1135856"/>
                  <a:gd name="connsiteX8" fmla="*/ 321469 w 771525"/>
                  <a:gd name="connsiteY8" fmla="*/ 854869 h 1135856"/>
                  <a:gd name="connsiteX9" fmla="*/ 323850 w 771525"/>
                  <a:gd name="connsiteY9" fmla="*/ 785812 h 1135856"/>
                  <a:gd name="connsiteX10" fmla="*/ 280988 w 771525"/>
                  <a:gd name="connsiteY10" fmla="*/ 735806 h 1135856"/>
                  <a:gd name="connsiteX11" fmla="*/ 288132 w 771525"/>
                  <a:gd name="connsiteY11" fmla="*/ 697706 h 1135856"/>
                  <a:gd name="connsiteX12" fmla="*/ 316707 w 771525"/>
                  <a:gd name="connsiteY12" fmla="*/ 681037 h 1135856"/>
                  <a:gd name="connsiteX13" fmla="*/ 330994 w 771525"/>
                  <a:gd name="connsiteY13" fmla="*/ 707231 h 1135856"/>
                  <a:gd name="connsiteX14" fmla="*/ 354807 w 771525"/>
                  <a:gd name="connsiteY14" fmla="*/ 726281 h 1135856"/>
                  <a:gd name="connsiteX15" fmla="*/ 369094 w 771525"/>
                  <a:gd name="connsiteY15" fmla="*/ 745331 h 1135856"/>
                  <a:gd name="connsiteX16" fmla="*/ 378619 w 771525"/>
                  <a:gd name="connsiteY16" fmla="*/ 781050 h 1135856"/>
                  <a:gd name="connsiteX17" fmla="*/ 395288 w 771525"/>
                  <a:gd name="connsiteY17" fmla="*/ 797719 h 1135856"/>
                  <a:gd name="connsiteX18" fmla="*/ 409575 w 771525"/>
                  <a:gd name="connsiteY18" fmla="*/ 792956 h 1135856"/>
                  <a:gd name="connsiteX19" fmla="*/ 426244 w 771525"/>
                  <a:gd name="connsiteY19" fmla="*/ 785812 h 1135856"/>
                  <a:gd name="connsiteX20" fmla="*/ 423863 w 771525"/>
                  <a:gd name="connsiteY20" fmla="*/ 676275 h 1135856"/>
                  <a:gd name="connsiteX21" fmla="*/ 409575 w 771525"/>
                  <a:gd name="connsiteY21" fmla="*/ 640556 h 1135856"/>
                  <a:gd name="connsiteX22" fmla="*/ 411957 w 771525"/>
                  <a:gd name="connsiteY22" fmla="*/ 614362 h 1135856"/>
                  <a:gd name="connsiteX23" fmla="*/ 426244 w 771525"/>
                  <a:gd name="connsiteY23" fmla="*/ 566737 h 1135856"/>
                  <a:gd name="connsiteX24" fmla="*/ 473869 w 771525"/>
                  <a:gd name="connsiteY24" fmla="*/ 566737 h 1135856"/>
                  <a:gd name="connsiteX25" fmla="*/ 488157 w 771525"/>
                  <a:gd name="connsiteY25" fmla="*/ 552450 h 1135856"/>
                  <a:gd name="connsiteX26" fmla="*/ 509588 w 771525"/>
                  <a:gd name="connsiteY26" fmla="*/ 502444 h 1135856"/>
                  <a:gd name="connsiteX27" fmla="*/ 604838 w 771525"/>
                  <a:gd name="connsiteY27" fmla="*/ 457200 h 1135856"/>
                  <a:gd name="connsiteX28" fmla="*/ 628650 w 771525"/>
                  <a:gd name="connsiteY28" fmla="*/ 447675 h 1135856"/>
                  <a:gd name="connsiteX29" fmla="*/ 638175 w 771525"/>
                  <a:gd name="connsiteY29" fmla="*/ 402431 h 1135856"/>
                  <a:gd name="connsiteX30" fmla="*/ 638175 w 771525"/>
                  <a:gd name="connsiteY30" fmla="*/ 361950 h 1135856"/>
                  <a:gd name="connsiteX31" fmla="*/ 640557 w 771525"/>
                  <a:gd name="connsiteY31" fmla="*/ 340519 h 1135856"/>
                  <a:gd name="connsiteX32" fmla="*/ 652463 w 771525"/>
                  <a:gd name="connsiteY32" fmla="*/ 333375 h 1135856"/>
                  <a:gd name="connsiteX33" fmla="*/ 742950 w 771525"/>
                  <a:gd name="connsiteY33" fmla="*/ 297656 h 1135856"/>
                  <a:gd name="connsiteX34" fmla="*/ 766763 w 771525"/>
                  <a:gd name="connsiteY34" fmla="*/ 280987 h 1135856"/>
                  <a:gd name="connsiteX35" fmla="*/ 754857 w 771525"/>
                  <a:gd name="connsiteY35" fmla="*/ 252412 h 1135856"/>
                  <a:gd name="connsiteX36" fmla="*/ 742950 w 771525"/>
                  <a:gd name="connsiteY36" fmla="*/ 221456 h 1135856"/>
                  <a:gd name="connsiteX37" fmla="*/ 771525 w 771525"/>
                  <a:gd name="connsiteY37" fmla="*/ 192881 h 1135856"/>
                  <a:gd name="connsiteX38" fmla="*/ 752475 w 771525"/>
                  <a:gd name="connsiteY38" fmla="*/ 161925 h 1135856"/>
                  <a:gd name="connsiteX39" fmla="*/ 752475 w 771525"/>
                  <a:gd name="connsiteY39" fmla="*/ 119062 h 1135856"/>
                  <a:gd name="connsiteX40" fmla="*/ 719138 w 771525"/>
                  <a:gd name="connsiteY40" fmla="*/ 85725 h 1135856"/>
                  <a:gd name="connsiteX41" fmla="*/ 671513 w 771525"/>
                  <a:gd name="connsiteY41" fmla="*/ 52387 h 1135856"/>
                  <a:gd name="connsiteX42" fmla="*/ 645319 w 771525"/>
                  <a:gd name="connsiteY42" fmla="*/ 35719 h 1135856"/>
                  <a:gd name="connsiteX43" fmla="*/ 642938 w 771525"/>
                  <a:gd name="connsiteY43" fmla="*/ 4762 h 1135856"/>
                  <a:gd name="connsiteX44" fmla="*/ 609600 w 771525"/>
                  <a:gd name="connsiteY44" fmla="*/ 0 h 1135856"/>
                  <a:gd name="connsiteX45" fmla="*/ 583407 w 771525"/>
                  <a:gd name="connsiteY45" fmla="*/ 23812 h 1135856"/>
                  <a:gd name="connsiteX46" fmla="*/ 564357 w 771525"/>
                  <a:gd name="connsiteY46" fmla="*/ 19050 h 1135856"/>
                  <a:gd name="connsiteX47" fmla="*/ 554832 w 771525"/>
                  <a:gd name="connsiteY47" fmla="*/ 42862 h 1135856"/>
                  <a:gd name="connsiteX48" fmla="*/ 509588 w 771525"/>
                  <a:gd name="connsiteY48" fmla="*/ 76200 h 1135856"/>
                  <a:gd name="connsiteX49" fmla="*/ 407194 w 771525"/>
                  <a:gd name="connsiteY49" fmla="*/ 114300 h 1135856"/>
                  <a:gd name="connsiteX50" fmla="*/ 381000 w 771525"/>
                  <a:gd name="connsiteY50" fmla="*/ 152400 h 1135856"/>
                  <a:gd name="connsiteX51" fmla="*/ 340519 w 771525"/>
                  <a:gd name="connsiteY51" fmla="*/ 140494 h 1135856"/>
                  <a:gd name="connsiteX52" fmla="*/ 245269 w 771525"/>
                  <a:gd name="connsiteY52" fmla="*/ 145256 h 1135856"/>
                  <a:gd name="connsiteX53" fmla="*/ 250032 w 771525"/>
                  <a:gd name="connsiteY53" fmla="*/ 154781 h 1135856"/>
                  <a:gd name="connsiteX54" fmla="*/ 309563 w 771525"/>
                  <a:gd name="connsiteY54" fmla="*/ 204787 h 1135856"/>
                  <a:gd name="connsiteX55" fmla="*/ 211932 w 771525"/>
                  <a:gd name="connsiteY55" fmla="*/ 328612 h 1135856"/>
                  <a:gd name="connsiteX56" fmla="*/ 173832 w 771525"/>
                  <a:gd name="connsiteY56" fmla="*/ 319087 h 1135856"/>
                  <a:gd name="connsiteX57" fmla="*/ 80963 w 771525"/>
                  <a:gd name="connsiteY57" fmla="*/ 452437 h 1135856"/>
                  <a:gd name="connsiteX58" fmla="*/ 97632 w 771525"/>
                  <a:gd name="connsiteY58" fmla="*/ 464344 h 1135856"/>
                  <a:gd name="connsiteX59" fmla="*/ 114300 w 771525"/>
                  <a:gd name="connsiteY59" fmla="*/ 504825 h 1135856"/>
                  <a:gd name="connsiteX60" fmla="*/ 92869 w 771525"/>
                  <a:gd name="connsiteY60" fmla="*/ 566737 h 1135856"/>
                  <a:gd name="connsiteX61" fmla="*/ 102394 w 771525"/>
                  <a:gd name="connsiteY61" fmla="*/ 640556 h 1135856"/>
                  <a:gd name="connsiteX62" fmla="*/ 73819 w 771525"/>
                  <a:gd name="connsiteY62" fmla="*/ 678656 h 1135856"/>
                  <a:gd name="connsiteX63" fmla="*/ 73819 w 771525"/>
                  <a:gd name="connsiteY63" fmla="*/ 704850 h 1135856"/>
                  <a:gd name="connsiteX64" fmla="*/ 61913 w 771525"/>
                  <a:gd name="connsiteY64" fmla="*/ 733425 h 1135856"/>
                  <a:gd name="connsiteX65" fmla="*/ 88107 w 771525"/>
                  <a:gd name="connsiteY65" fmla="*/ 762000 h 1135856"/>
                  <a:gd name="connsiteX66" fmla="*/ 135732 w 771525"/>
                  <a:gd name="connsiteY66" fmla="*/ 850106 h 1135856"/>
                  <a:gd name="connsiteX67" fmla="*/ 69057 w 771525"/>
                  <a:gd name="connsiteY67" fmla="*/ 876300 h 1135856"/>
                  <a:gd name="connsiteX68" fmla="*/ 45244 w 771525"/>
                  <a:gd name="connsiteY68" fmla="*/ 928687 h 1135856"/>
                  <a:gd name="connsiteX69" fmla="*/ 33338 w 771525"/>
                  <a:gd name="connsiteY69" fmla="*/ 983456 h 1135856"/>
                  <a:gd name="connsiteX70" fmla="*/ 2382 w 771525"/>
                  <a:gd name="connsiteY70" fmla="*/ 973931 h 1135856"/>
                  <a:gd name="connsiteX71" fmla="*/ 0 w 771525"/>
                  <a:gd name="connsiteY71" fmla="*/ 1021556 h 1135856"/>
                  <a:gd name="connsiteX72" fmla="*/ 16669 w 771525"/>
                  <a:gd name="connsiteY72" fmla="*/ 1031081 h 1135856"/>
                  <a:gd name="connsiteX73" fmla="*/ 57150 w 771525"/>
                  <a:gd name="connsiteY73" fmla="*/ 1040606 h 1135856"/>
                  <a:gd name="connsiteX74" fmla="*/ 85725 w 771525"/>
                  <a:gd name="connsiteY74" fmla="*/ 1054894 h 1135856"/>
                  <a:gd name="connsiteX75" fmla="*/ 102394 w 771525"/>
                  <a:gd name="connsiteY75" fmla="*/ 1109662 h 1135856"/>
                  <a:gd name="connsiteX76" fmla="*/ 130969 w 771525"/>
                  <a:gd name="connsiteY76" fmla="*/ 1135856 h 1135856"/>
                  <a:gd name="connsiteX77" fmla="*/ 157163 w 771525"/>
                  <a:gd name="connsiteY77" fmla="*/ 1135856 h 1135856"/>
                  <a:gd name="connsiteX78" fmla="*/ 202407 w 771525"/>
                  <a:gd name="connsiteY78" fmla="*/ 1131094 h 1135856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202407 w 771525"/>
                  <a:gd name="connsiteY78" fmla="*/ 1131094 h 1164431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185738 w 771525"/>
                  <a:gd name="connsiteY78" fmla="*/ 1140619 h 1164431"/>
                  <a:gd name="connsiteX79" fmla="*/ 202407 w 771525"/>
                  <a:gd name="connsiteY79" fmla="*/ 1131094 h 1164431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192882 w 771525"/>
                  <a:gd name="connsiteY78" fmla="*/ 1157288 h 1164431"/>
                  <a:gd name="connsiteX79" fmla="*/ 202407 w 771525"/>
                  <a:gd name="connsiteY79" fmla="*/ 1131094 h 1164431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671513 w 771525"/>
                  <a:gd name="connsiteY41" fmla="*/ 85725 h 1197769"/>
                  <a:gd name="connsiteX42" fmla="*/ 645319 w 771525"/>
                  <a:gd name="connsiteY42" fmla="*/ 69057 h 1197769"/>
                  <a:gd name="connsiteX43" fmla="*/ 642938 w 771525"/>
                  <a:gd name="connsiteY43" fmla="*/ 0 h 1197769"/>
                  <a:gd name="connsiteX44" fmla="*/ 609600 w 771525"/>
                  <a:gd name="connsiteY44" fmla="*/ 33338 h 1197769"/>
                  <a:gd name="connsiteX45" fmla="*/ 583407 w 771525"/>
                  <a:gd name="connsiteY45" fmla="*/ 57150 h 1197769"/>
                  <a:gd name="connsiteX46" fmla="*/ 564357 w 771525"/>
                  <a:gd name="connsiteY46" fmla="*/ 52388 h 1197769"/>
                  <a:gd name="connsiteX47" fmla="*/ 554832 w 771525"/>
                  <a:gd name="connsiteY47" fmla="*/ 76200 h 1197769"/>
                  <a:gd name="connsiteX48" fmla="*/ 509588 w 771525"/>
                  <a:gd name="connsiteY48" fmla="*/ 109538 h 1197769"/>
                  <a:gd name="connsiteX49" fmla="*/ 407194 w 771525"/>
                  <a:gd name="connsiteY49" fmla="*/ 147638 h 1197769"/>
                  <a:gd name="connsiteX50" fmla="*/ 381000 w 771525"/>
                  <a:gd name="connsiteY50" fmla="*/ 185738 h 1197769"/>
                  <a:gd name="connsiteX51" fmla="*/ 340519 w 771525"/>
                  <a:gd name="connsiteY51" fmla="*/ 173832 h 1197769"/>
                  <a:gd name="connsiteX52" fmla="*/ 245269 w 771525"/>
                  <a:gd name="connsiteY52" fmla="*/ 178594 h 1197769"/>
                  <a:gd name="connsiteX53" fmla="*/ 250032 w 771525"/>
                  <a:gd name="connsiteY53" fmla="*/ 188119 h 1197769"/>
                  <a:gd name="connsiteX54" fmla="*/ 309563 w 771525"/>
                  <a:gd name="connsiteY54" fmla="*/ 238125 h 1197769"/>
                  <a:gd name="connsiteX55" fmla="*/ 211932 w 771525"/>
                  <a:gd name="connsiteY55" fmla="*/ 361950 h 1197769"/>
                  <a:gd name="connsiteX56" fmla="*/ 173832 w 771525"/>
                  <a:gd name="connsiteY56" fmla="*/ 352425 h 1197769"/>
                  <a:gd name="connsiteX57" fmla="*/ 80963 w 771525"/>
                  <a:gd name="connsiteY57" fmla="*/ 485775 h 1197769"/>
                  <a:gd name="connsiteX58" fmla="*/ 97632 w 771525"/>
                  <a:gd name="connsiteY58" fmla="*/ 497682 h 1197769"/>
                  <a:gd name="connsiteX59" fmla="*/ 114300 w 771525"/>
                  <a:gd name="connsiteY59" fmla="*/ 538163 h 1197769"/>
                  <a:gd name="connsiteX60" fmla="*/ 92869 w 771525"/>
                  <a:gd name="connsiteY60" fmla="*/ 600075 h 1197769"/>
                  <a:gd name="connsiteX61" fmla="*/ 102394 w 771525"/>
                  <a:gd name="connsiteY61" fmla="*/ 673894 h 1197769"/>
                  <a:gd name="connsiteX62" fmla="*/ 73819 w 771525"/>
                  <a:gd name="connsiteY62" fmla="*/ 711994 h 1197769"/>
                  <a:gd name="connsiteX63" fmla="*/ 73819 w 771525"/>
                  <a:gd name="connsiteY63" fmla="*/ 738188 h 1197769"/>
                  <a:gd name="connsiteX64" fmla="*/ 61913 w 771525"/>
                  <a:gd name="connsiteY64" fmla="*/ 766763 h 1197769"/>
                  <a:gd name="connsiteX65" fmla="*/ 88107 w 771525"/>
                  <a:gd name="connsiteY65" fmla="*/ 795338 h 1197769"/>
                  <a:gd name="connsiteX66" fmla="*/ 135732 w 771525"/>
                  <a:gd name="connsiteY66" fmla="*/ 883444 h 1197769"/>
                  <a:gd name="connsiteX67" fmla="*/ 69057 w 771525"/>
                  <a:gd name="connsiteY67" fmla="*/ 909638 h 1197769"/>
                  <a:gd name="connsiteX68" fmla="*/ 45244 w 771525"/>
                  <a:gd name="connsiteY68" fmla="*/ 962025 h 1197769"/>
                  <a:gd name="connsiteX69" fmla="*/ 33338 w 771525"/>
                  <a:gd name="connsiteY69" fmla="*/ 1016794 h 1197769"/>
                  <a:gd name="connsiteX70" fmla="*/ 2382 w 771525"/>
                  <a:gd name="connsiteY70" fmla="*/ 1007269 h 1197769"/>
                  <a:gd name="connsiteX71" fmla="*/ 0 w 771525"/>
                  <a:gd name="connsiteY71" fmla="*/ 1054894 h 1197769"/>
                  <a:gd name="connsiteX72" fmla="*/ 16669 w 771525"/>
                  <a:gd name="connsiteY72" fmla="*/ 1064419 h 1197769"/>
                  <a:gd name="connsiteX73" fmla="*/ 57150 w 771525"/>
                  <a:gd name="connsiteY73" fmla="*/ 1073944 h 1197769"/>
                  <a:gd name="connsiteX74" fmla="*/ 85725 w 771525"/>
                  <a:gd name="connsiteY74" fmla="*/ 1088232 h 1197769"/>
                  <a:gd name="connsiteX75" fmla="*/ 102394 w 771525"/>
                  <a:gd name="connsiteY75" fmla="*/ 1143000 h 1197769"/>
                  <a:gd name="connsiteX76" fmla="*/ 130969 w 771525"/>
                  <a:gd name="connsiteY76" fmla="*/ 1169194 h 1197769"/>
                  <a:gd name="connsiteX77" fmla="*/ 157163 w 771525"/>
                  <a:gd name="connsiteY77" fmla="*/ 1197769 h 1197769"/>
                  <a:gd name="connsiteX78" fmla="*/ 192882 w 771525"/>
                  <a:gd name="connsiteY78" fmla="*/ 1190626 h 1197769"/>
                  <a:gd name="connsiteX79" fmla="*/ 202407 w 771525"/>
                  <a:gd name="connsiteY79" fmla="*/ 1164432 h 1197769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695325 w 771525"/>
                  <a:gd name="connsiteY41" fmla="*/ 97632 h 1197769"/>
                  <a:gd name="connsiteX42" fmla="*/ 671513 w 771525"/>
                  <a:gd name="connsiteY42" fmla="*/ 85725 h 1197769"/>
                  <a:gd name="connsiteX43" fmla="*/ 645319 w 771525"/>
                  <a:gd name="connsiteY43" fmla="*/ 69057 h 1197769"/>
                  <a:gd name="connsiteX44" fmla="*/ 642938 w 771525"/>
                  <a:gd name="connsiteY44" fmla="*/ 0 h 1197769"/>
                  <a:gd name="connsiteX45" fmla="*/ 609600 w 771525"/>
                  <a:gd name="connsiteY45" fmla="*/ 33338 h 1197769"/>
                  <a:gd name="connsiteX46" fmla="*/ 583407 w 771525"/>
                  <a:gd name="connsiteY46" fmla="*/ 57150 h 1197769"/>
                  <a:gd name="connsiteX47" fmla="*/ 564357 w 771525"/>
                  <a:gd name="connsiteY47" fmla="*/ 52388 h 1197769"/>
                  <a:gd name="connsiteX48" fmla="*/ 554832 w 771525"/>
                  <a:gd name="connsiteY48" fmla="*/ 76200 h 1197769"/>
                  <a:gd name="connsiteX49" fmla="*/ 509588 w 771525"/>
                  <a:gd name="connsiteY49" fmla="*/ 109538 h 1197769"/>
                  <a:gd name="connsiteX50" fmla="*/ 407194 w 771525"/>
                  <a:gd name="connsiteY50" fmla="*/ 147638 h 1197769"/>
                  <a:gd name="connsiteX51" fmla="*/ 381000 w 771525"/>
                  <a:gd name="connsiteY51" fmla="*/ 185738 h 1197769"/>
                  <a:gd name="connsiteX52" fmla="*/ 340519 w 771525"/>
                  <a:gd name="connsiteY52" fmla="*/ 173832 h 1197769"/>
                  <a:gd name="connsiteX53" fmla="*/ 245269 w 771525"/>
                  <a:gd name="connsiteY53" fmla="*/ 178594 h 1197769"/>
                  <a:gd name="connsiteX54" fmla="*/ 250032 w 771525"/>
                  <a:gd name="connsiteY54" fmla="*/ 188119 h 1197769"/>
                  <a:gd name="connsiteX55" fmla="*/ 309563 w 771525"/>
                  <a:gd name="connsiteY55" fmla="*/ 238125 h 1197769"/>
                  <a:gd name="connsiteX56" fmla="*/ 211932 w 771525"/>
                  <a:gd name="connsiteY56" fmla="*/ 361950 h 1197769"/>
                  <a:gd name="connsiteX57" fmla="*/ 173832 w 771525"/>
                  <a:gd name="connsiteY57" fmla="*/ 352425 h 1197769"/>
                  <a:gd name="connsiteX58" fmla="*/ 80963 w 771525"/>
                  <a:gd name="connsiteY58" fmla="*/ 485775 h 1197769"/>
                  <a:gd name="connsiteX59" fmla="*/ 97632 w 771525"/>
                  <a:gd name="connsiteY59" fmla="*/ 497682 h 1197769"/>
                  <a:gd name="connsiteX60" fmla="*/ 114300 w 771525"/>
                  <a:gd name="connsiteY60" fmla="*/ 538163 h 1197769"/>
                  <a:gd name="connsiteX61" fmla="*/ 92869 w 771525"/>
                  <a:gd name="connsiteY61" fmla="*/ 600075 h 1197769"/>
                  <a:gd name="connsiteX62" fmla="*/ 102394 w 771525"/>
                  <a:gd name="connsiteY62" fmla="*/ 673894 h 1197769"/>
                  <a:gd name="connsiteX63" fmla="*/ 73819 w 771525"/>
                  <a:gd name="connsiteY63" fmla="*/ 711994 h 1197769"/>
                  <a:gd name="connsiteX64" fmla="*/ 73819 w 771525"/>
                  <a:gd name="connsiteY64" fmla="*/ 738188 h 1197769"/>
                  <a:gd name="connsiteX65" fmla="*/ 61913 w 771525"/>
                  <a:gd name="connsiteY65" fmla="*/ 766763 h 1197769"/>
                  <a:gd name="connsiteX66" fmla="*/ 88107 w 771525"/>
                  <a:gd name="connsiteY66" fmla="*/ 795338 h 1197769"/>
                  <a:gd name="connsiteX67" fmla="*/ 135732 w 771525"/>
                  <a:gd name="connsiteY67" fmla="*/ 883444 h 1197769"/>
                  <a:gd name="connsiteX68" fmla="*/ 69057 w 771525"/>
                  <a:gd name="connsiteY68" fmla="*/ 909638 h 1197769"/>
                  <a:gd name="connsiteX69" fmla="*/ 45244 w 771525"/>
                  <a:gd name="connsiteY69" fmla="*/ 962025 h 1197769"/>
                  <a:gd name="connsiteX70" fmla="*/ 33338 w 771525"/>
                  <a:gd name="connsiteY70" fmla="*/ 1016794 h 1197769"/>
                  <a:gd name="connsiteX71" fmla="*/ 2382 w 771525"/>
                  <a:gd name="connsiteY71" fmla="*/ 1007269 h 1197769"/>
                  <a:gd name="connsiteX72" fmla="*/ 0 w 771525"/>
                  <a:gd name="connsiteY72" fmla="*/ 1054894 h 1197769"/>
                  <a:gd name="connsiteX73" fmla="*/ 16669 w 771525"/>
                  <a:gd name="connsiteY73" fmla="*/ 1064419 h 1197769"/>
                  <a:gd name="connsiteX74" fmla="*/ 57150 w 771525"/>
                  <a:gd name="connsiteY74" fmla="*/ 1073944 h 1197769"/>
                  <a:gd name="connsiteX75" fmla="*/ 85725 w 771525"/>
                  <a:gd name="connsiteY75" fmla="*/ 1088232 h 1197769"/>
                  <a:gd name="connsiteX76" fmla="*/ 102394 w 771525"/>
                  <a:gd name="connsiteY76" fmla="*/ 1143000 h 1197769"/>
                  <a:gd name="connsiteX77" fmla="*/ 130969 w 771525"/>
                  <a:gd name="connsiteY77" fmla="*/ 1169194 h 1197769"/>
                  <a:gd name="connsiteX78" fmla="*/ 157163 w 771525"/>
                  <a:gd name="connsiteY78" fmla="*/ 1197769 h 1197769"/>
                  <a:gd name="connsiteX79" fmla="*/ 192882 w 771525"/>
                  <a:gd name="connsiteY79" fmla="*/ 1190626 h 1197769"/>
                  <a:gd name="connsiteX80" fmla="*/ 202407 w 771525"/>
                  <a:gd name="connsiteY80" fmla="*/ 1164432 h 1197769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707231 w 771525"/>
                  <a:gd name="connsiteY41" fmla="*/ 92870 h 1197769"/>
                  <a:gd name="connsiteX42" fmla="*/ 671513 w 771525"/>
                  <a:gd name="connsiteY42" fmla="*/ 85725 h 1197769"/>
                  <a:gd name="connsiteX43" fmla="*/ 645319 w 771525"/>
                  <a:gd name="connsiteY43" fmla="*/ 69057 h 1197769"/>
                  <a:gd name="connsiteX44" fmla="*/ 642938 w 771525"/>
                  <a:gd name="connsiteY44" fmla="*/ 0 h 1197769"/>
                  <a:gd name="connsiteX45" fmla="*/ 609600 w 771525"/>
                  <a:gd name="connsiteY45" fmla="*/ 33338 h 1197769"/>
                  <a:gd name="connsiteX46" fmla="*/ 583407 w 771525"/>
                  <a:gd name="connsiteY46" fmla="*/ 57150 h 1197769"/>
                  <a:gd name="connsiteX47" fmla="*/ 564357 w 771525"/>
                  <a:gd name="connsiteY47" fmla="*/ 52388 h 1197769"/>
                  <a:gd name="connsiteX48" fmla="*/ 554832 w 771525"/>
                  <a:gd name="connsiteY48" fmla="*/ 76200 h 1197769"/>
                  <a:gd name="connsiteX49" fmla="*/ 509588 w 771525"/>
                  <a:gd name="connsiteY49" fmla="*/ 109538 h 1197769"/>
                  <a:gd name="connsiteX50" fmla="*/ 407194 w 771525"/>
                  <a:gd name="connsiteY50" fmla="*/ 147638 h 1197769"/>
                  <a:gd name="connsiteX51" fmla="*/ 381000 w 771525"/>
                  <a:gd name="connsiteY51" fmla="*/ 185738 h 1197769"/>
                  <a:gd name="connsiteX52" fmla="*/ 340519 w 771525"/>
                  <a:gd name="connsiteY52" fmla="*/ 173832 h 1197769"/>
                  <a:gd name="connsiteX53" fmla="*/ 245269 w 771525"/>
                  <a:gd name="connsiteY53" fmla="*/ 178594 h 1197769"/>
                  <a:gd name="connsiteX54" fmla="*/ 250032 w 771525"/>
                  <a:gd name="connsiteY54" fmla="*/ 188119 h 1197769"/>
                  <a:gd name="connsiteX55" fmla="*/ 309563 w 771525"/>
                  <a:gd name="connsiteY55" fmla="*/ 238125 h 1197769"/>
                  <a:gd name="connsiteX56" fmla="*/ 211932 w 771525"/>
                  <a:gd name="connsiteY56" fmla="*/ 361950 h 1197769"/>
                  <a:gd name="connsiteX57" fmla="*/ 173832 w 771525"/>
                  <a:gd name="connsiteY57" fmla="*/ 352425 h 1197769"/>
                  <a:gd name="connsiteX58" fmla="*/ 80963 w 771525"/>
                  <a:gd name="connsiteY58" fmla="*/ 485775 h 1197769"/>
                  <a:gd name="connsiteX59" fmla="*/ 97632 w 771525"/>
                  <a:gd name="connsiteY59" fmla="*/ 497682 h 1197769"/>
                  <a:gd name="connsiteX60" fmla="*/ 114300 w 771525"/>
                  <a:gd name="connsiteY60" fmla="*/ 538163 h 1197769"/>
                  <a:gd name="connsiteX61" fmla="*/ 92869 w 771525"/>
                  <a:gd name="connsiteY61" fmla="*/ 600075 h 1197769"/>
                  <a:gd name="connsiteX62" fmla="*/ 102394 w 771525"/>
                  <a:gd name="connsiteY62" fmla="*/ 673894 h 1197769"/>
                  <a:gd name="connsiteX63" fmla="*/ 73819 w 771525"/>
                  <a:gd name="connsiteY63" fmla="*/ 711994 h 1197769"/>
                  <a:gd name="connsiteX64" fmla="*/ 73819 w 771525"/>
                  <a:gd name="connsiteY64" fmla="*/ 738188 h 1197769"/>
                  <a:gd name="connsiteX65" fmla="*/ 61913 w 771525"/>
                  <a:gd name="connsiteY65" fmla="*/ 766763 h 1197769"/>
                  <a:gd name="connsiteX66" fmla="*/ 88107 w 771525"/>
                  <a:gd name="connsiteY66" fmla="*/ 795338 h 1197769"/>
                  <a:gd name="connsiteX67" fmla="*/ 135732 w 771525"/>
                  <a:gd name="connsiteY67" fmla="*/ 883444 h 1197769"/>
                  <a:gd name="connsiteX68" fmla="*/ 69057 w 771525"/>
                  <a:gd name="connsiteY68" fmla="*/ 909638 h 1197769"/>
                  <a:gd name="connsiteX69" fmla="*/ 45244 w 771525"/>
                  <a:gd name="connsiteY69" fmla="*/ 962025 h 1197769"/>
                  <a:gd name="connsiteX70" fmla="*/ 33338 w 771525"/>
                  <a:gd name="connsiteY70" fmla="*/ 1016794 h 1197769"/>
                  <a:gd name="connsiteX71" fmla="*/ 2382 w 771525"/>
                  <a:gd name="connsiteY71" fmla="*/ 1007269 h 1197769"/>
                  <a:gd name="connsiteX72" fmla="*/ 0 w 771525"/>
                  <a:gd name="connsiteY72" fmla="*/ 1054894 h 1197769"/>
                  <a:gd name="connsiteX73" fmla="*/ 16669 w 771525"/>
                  <a:gd name="connsiteY73" fmla="*/ 1064419 h 1197769"/>
                  <a:gd name="connsiteX74" fmla="*/ 57150 w 771525"/>
                  <a:gd name="connsiteY74" fmla="*/ 1073944 h 1197769"/>
                  <a:gd name="connsiteX75" fmla="*/ 85725 w 771525"/>
                  <a:gd name="connsiteY75" fmla="*/ 1088232 h 1197769"/>
                  <a:gd name="connsiteX76" fmla="*/ 102394 w 771525"/>
                  <a:gd name="connsiteY76" fmla="*/ 1143000 h 1197769"/>
                  <a:gd name="connsiteX77" fmla="*/ 130969 w 771525"/>
                  <a:gd name="connsiteY77" fmla="*/ 1169194 h 1197769"/>
                  <a:gd name="connsiteX78" fmla="*/ 157163 w 771525"/>
                  <a:gd name="connsiteY78" fmla="*/ 1197769 h 1197769"/>
                  <a:gd name="connsiteX79" fmla="*/ 192882 w 771525"/>
                  <a:gd name="connsiteY79" fmla="*/ 1190626 h 1197769"/>
                  <a:gd name="connsiteX80" fmla="*/ 202407 w 771525"/>
                  <a:gd name="connsiteY80" fmla="*/ 1164432 h 119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771525" h="1197769">
                    <a:moveTo>
                      <a:pt x="202407" y="1164432"/>
                    </a:moveTo>
                    <a:lnTo>
                      <a:pt x="221457" y="1097757"/>
                    </a:lnTo>
                    <a:lnTo>
                      <a:pt x="238125" y="1076325"/>
                    </a:lnTo>
                    <a:lnTo>
                      <a:pt x="247650" y="1045369"/>
                    </a:lnTo>
                    <a:lnTo>
                      <a:pt x="283369" y="1019175"/>
                    </a:lnTo>
                    <a:lnTo>
                      <a:pt x="319088" y="995363"/>
                    </a:lnTo>
                    <a:lnTo>
                      <a:pt x="350044" y="962025"/>
                    </a:lnTo>
                    <a:lnTo>
                      <a:pt x="354807" y="933450"/>
                    </a:lnTo>
                    <a:lnTo>
                      <a:pt x="321469" y="888207"/>
                    </a:lnTo>
                    <a:cubicBezTo>
                      <a:pt x="322263" y="865188"/>
                      <a:pt x="323056" y="842169"/>
                      <a:pt x="323850" y="819150"/>
                    </a:cubicBezTo>
                    <a:lnTo>
                      <a:pt x="280988" y="769144"/>
                    </a:lnTo>
                    <a:lnTo>
                      <a:pt x="288132" y="731044"/>
                    </a:lnTo>
                    <a:lnTo>
                      <a:pt x="316707" y="714375"/>
                    </a:lnTo>
                    <a:lnTo>
                      <a:pt x="330994" y="740569"/>
                    </a:lnTo>
                    <a:lnTo>
                      <a:pt x="354807" y="759619"/>
                    </a:lnTo>
                    <a:lnTo>
                      <a:pt x="369094" y="778669"/>
                    </a:lnTo>
                    <a:lnTo>
                      <a:pt x="378619" y="814388"/>
                    </a:lnTo>
                    <a:lnTo>
                      <a:pt x="395288" y="831057"/>
                    </a:lnTo>
                    <a:lnTo>
                      <a:pt x="409575" y="826294"/>
                    </a:lnTo>
                    <a:lnTo>
                      <a:pt x="426244" y="819150"/>
                    </a:lnTo>
                    <a:cubicBezTo>
                      <a:pt x="425450" y="782638"/>
                      <a:pt x="424657" y="746125"/>
                      <a:pt x="423863" y="709613"/>
                    </a:cubicBezTo>
                    <a:lnTo>
                      <a:pt x="409575" y="673894"/>
                    </a:lnTo>
                    <a:lnTo>
                      <a:pt x="411957" y="647700"/>
                    </a:lnTo>
                    <a:lnTo>
                      <a:pt x="426244" y="600075"/>
                    </a:lnTo>
                    <a:lnTo>
                      <a:pt x="473869" y="600075"/>
                    </a:lnTo>
                    <a:lnTo>
                      <a:pt x="488157" y="585788"/>
                    </a:lnTo>
                    <a:lnTo>
                      <a:pt x="509588" y="535782"/>
                    </a:lnTo>
                    <a:lnTo>
                      <a:pt x="604838" y="490538"/>
                    </a:lnTo>
                    <a:lnTo>
                      <a:pt x="628650" y="481013"/>
                    </a:lnTo>
                    <a:lnTo>
                      <a:pt x="638175" y="435769"/>
                    </a:lnTo>
                    <a:lnTo>
                      <a:pt x="638175" y="395288"/>
                    </a:lnTo>
                    <a:lnTo>
                      <a:pt x="640557" y="373857"/>
                    </a:lnTo>
                    <a:lnTo>
                      <a:pt x="652463" y="366713"/>
                    </a:lnTo>
                    <a:lnTo>
                      <a:pt x="742950" y="330994"/>
                    </a:lnTo>
                    <a:lnTo>
                      <a:pt x="766763" y="314325"/>
                    </a:lnTo>
                    <a:lnTo>
                      <a:pt x="754857" y="285750"/>
                    </a:lnTo>
                    <a:lnTo>
                      <a:pt x="742950" y="254794"/>
                    </a:lnTo>
                    <a:lnTo>
                      <a:pt x="771525" y="226219"/>
                    </a:lnTo>
                    <a:lnTo>
                      <a:pt x="752475" y="195263"/>
                    </a:lnTo>
                    <a:lnTo>
                      <a:pt x="752475" y="152400"/>
                    </a:lnTo>
                    <a:lnTo>
                      <a:pt x="719138" y="119063"/>
                    </a:lnTo>
                    <a:lnTo>
                      <a:pt x="707231" y="92870"/>
                    </a:lnTo>
                    <a:lnTo>
                      <a:pt x="671513" y="85725"/>
                    </a:lnTo>
                    <a:lnTo>
                      <a:pt x="645319" y="69057"/>
                    </a:lnTo>
                    <a:cubicBezTo>
                      <a:pt x="644525" y="46038"/>
                      <a:pt x="643732" y="23019"/>
                      <a:pt x="642938" y="0"/>
                    </a:cubicBezTo>
                    <a:lnTo>
                      <a:pt x="609600" y="33338"/>
                    </a:lnTo>
                    <a:lnTo>
                      <a:pt x="583407" y="57150"/>
                    </a:lnTo>
                    <a:lnTo>
                      <a:pt x="564357" y="52388"/>
                    </a:lnTo>
                    <a:lnTo>
                      <a:pt x="554832" y="76200"/>
                    </a:lnTo>
                    <a:lnTo>
                      <a:pt x="509588" y="109538"/>
                    </a:lnTo>
                    <a:lnTo>
                      <a:pt x="407194" y="147638"/>
                    </a:lnTo>
                    <a:lnTo>
                      <a:pt x="381000" y="185738"/>
                    </a:lnTo>
                    <a:lnTo>
                      <a:pt x="340519" y="173832"/>
                    </a:lnTo>
                    <a:lnTo>
                      <a:pt x="245269" y="178594"/>
                    </a:lnTo>
                    <a:lnTo>
                      <a:pt x="250032" y="188119"/>
                    </a:lnTo>
                    <a:lnTo>
                      <a:pt x="309563" y="238125"/>
                    </a:lnTo>
                    <a:lnTo>
                      <a:pt x="211932" y="361950"/>
                    </a:lnTo>
                    <a:lnTo>
                      <a:pt x="173832" y="352425"/>
                    </a:lnTo>
                    <a:lnTo>
                      <a:pt x="80963" y="485775"/>
                    </a:lnTo>
                    <a:lnTo>
                      <a:pt x="97632" y="497682"/>
                    </a:lnTo>
                    <a:lnTo>
                      <a:pt x="114300" y="538163"/>
                    </a:lnTo>
                    <a:lnTo>
                      <a:pt x="92869" y="600075"/>
                    </a:lnTo>
                    <a:lnTo>
                      <a:pt x="102394" y="673894"/>
                    </a:lnTo>
                    <a:lnTo>
                      <a:pt x="73819" y="711994"/>
                    </a:lnTo>
                    <a:lnTo>
                      <a:pt x="73819" y="738188"/>
                    </a:lnTo>
                    <a:lnTo>
                      <a:pt x="61913" y="766763"/>
                    </a:lnTo>
                    <a:lnTo>
                      <a:pt x="88107" y="795338"/>
                    </a:lnTo>
                    <a:lnTo>
                      <a:pt x="135732" y="883444"/>
                    </a:lnTo>
                    <a:lnTo>
                      <a:pt x="69057" y="909638"/>
                    </a:lnTo>
                    <a:lnTo>
                      <a:pt x="45244" y="962025"/>
                    </a:lnTo>
                    <a:lnTo>
                      <a:pt x="33338" y="1016794"/>
                    </a:lnTo>
                    <a:lnTo>
                      <a:pt x="2382" y="1007269"/>
                    </a:lnTo>
                    <a:lnTo>
                      <a:pt x="0" y="1054894"/>
                    </a:lnTo>
                    <a:lnTo>
                      <a:pt x="16669" y="1064419"/>
                    </a:lnTo>
                    <a:lnTo>
                      <a:pt x="57150" y="1073944"/>
                    </a:lnTo>
                    <a:lnTo>
                      <a:pt x="85725" y="1088232"/>
                    </a:lnTo>
                    <a:lnTo>
                      <a:pt x="102394" y="1143000"/>
                    </a:lnTo>
                    <a:lnTo>
                      <a:pt x="130969" y="1169194"/>
                    </a:lnTo>
                    <a:lnTo>
                      <a:pt x="157163" y="1197769"/>
                    </a:lnTo>
                    <a:lnTo>
                      <a:pt x="192882" y="1190626"/>
                    </a:lnTo>
                    <a:lnTo>
                      <a:pt x="202407" y="1164432"/>
                    </a:lnTo>
                    <a:close/>
                  </a:path>
                </a:pathLst>
              </a:custGeom>
              <a:solidFill>
                <a:srgbClr val="2E75B6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5884" name="Group 166">
                <a:extLst>
                  <a:ext uri="{FF2B5EF4-FFF2-40B4-BE49-F238E27FC236}">
                    <a16:creationId xmlns:a16="http://schemas.microsoft.com/office/drawing/2014/main" id="{9B1212C4-E96F-135B-C327-67B2DA21909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16889" y="1906991"/>
                <a:ext cx="3009886" cy="2462622"/>
                <a:chOff x="3016889" y="1906991"/>
                <a:chExt cx="3009886" cy="2462622"/>
              </a:xfrm>
            </p:grpSpPr>
            <p:sp>
              <p:nvSpPr>
                <p:cNvPr id="169" name="Freeform 358">
                  <a:extLst>
                    <a:ext uri="{FF2B5EF4-FFF2-40B4-BE49-F238E27FC236}">
                      <a16:creationId xmlns:a16="http://schemas.microsoft.com/office/drawing/2014/main" id="{29FEF1D2-0EA6-D78C-3F52-ADCF758C590E}"/>
                    </a:ext>
                  </a:extLst>
                </p:cNvPr>
                <p:cNvSpPr/>
                <p:nvPr/>
              </p:nvSpPr>
              <p:spPr>
                <a:xfrm rot="21396613">
                  <a:off x="4289832" y="2332051"/>
                  <a:ext cx="140538" cy="203654"/>
                </a:xfrm>
                <a:custGeom>
                  <a:avLst/>
                  <a:gdLst>
                    <a:gd name="connsiteX0" fmla="*/ 2382 w 128588"/>
                    <a:gd name="connsiteY0" fmla="*/ 11906 h 183356"/>
                    <a:gd name="connsiteX1" fmla="*/ 16669 w 128588"/>
                    <a:gd name="connsiteY1" fmla="*/ 71437 h 183356"/>
                    <a:gd name="connsiteX2" fmla="*/ 16669 w 128588"/>
                    <a:gd name="connsiteY2" fmla="*/ 95250 h 183356"/>
                    <a:gd name="connsiteX3" fmla="*/ 4763 w 128588"/>
                    <a:gd name="connsiteY3" fmla="*/ 114300 h 183356"/>
                    <a:gd name="connsiteX4" fmla="*/ 0 w 128588"/>
                    <a:gd name="connsiteY4" fmla="*/ 169068 h 183356"/>
                    <a:gd name="connsiteX5" fmla="*/ 26194 w 128588"/>
                    <a:gd name="connsiteY5" fmla="*/ 183356 h 183356"/>
                    <a:gd name="connsiteX6" fmla="*/ 61913 w 128588"/>
                    <a:gd name="connsiteY6" fmla="*/ 178593 h 183356"/>
                    <a:gd name="connsiteX7" fmla="*/ 61913 w 128588"/>
                    <a:gd name="connsiteY7" fmla="*/ 178593 h 183356"/>
                    <a:gd name="connsiteX8" fmla="*/ 95250 w 128588"/>
                    <a:gd name="connsiteY8" fmla="*/ 142875 h 183356"/>
                    <a:gd name="connsiteX9" fmla="*/ 128588 w 128588"/>
                    <a:gd name="connsiteY9" fmla="*/ 107156 h 183356"/>
                    <a:gd name="connsiteX10" fmla="*/ 119063 w 128588"/>
                    <a:gd name="connsiteY10" fmla="*/ 85725 h 183356"/>
                    <a:gd name="connsiteX11" fmla="*/ 114300 w 128588"/>
                    <a:gd name="connsiteY11" fmla="*/ 28575 h 183356"/>
                    <a:gd name="connsiteX12" fmla="*/ 88107 w 128588"/>
                    <a:gd name="connsiteY12" fmla="*/ 7143 h 183356"/>
                    <a:gd name="connsiteX13" fmla="*/ 54769 w 128588"/>
                    <a:gd name="connsiteY13" fmla="*/ 0 h 183356"/>
                    <a:gd name="connsiteX14" fmla="*/ 2382 w 128588"/>
                    <a:gd name="connsiteY14" fmla="*/ 11906 h 183356"/>
                    <a:gd name="connsiteX0" fmla="*/ 2382 w 128588"/>
                    <a:gd name="connsiteY0" fmla="*/ 11906 h 183356"/>
                    <a:gd name="connsiteX1" fmla="*/ 16669 w 128588"/>
                    <a:gd name="connsiteY1" fmla="*/ 71437 h 183356"/>
                    <a:gd name="connsiteX2" fmla="*/ 16669 w 128588"/>
                    <a:gd name="connsiteY2" fmla="*/ 95250 h 183356"/>
                    <a:gd name="connsiteX3" fmla="*/ 4763 w 128588"/>
                    <a:gd name="connsiteY3" fmla="*/ 114300 h 183356"/>
                    <a:gd name="connsiteX4" fmla="*/ 0 w 128588"/>
                    <a:gd name="connsiteY4" fmla="*/ 169068 h 183356"/>
                    <a:gd name="connsiteX5" fmla="*/ 26194 w 128588"/>
                    <a:gd name="connsiteY5" fmla="*/ 183356 h 183356"/>
                    <a:gd name="connsiteX6" fmla="*/ 61913 w 128588"/>
                    <a:gd name="connsiteY6" fmla="*/ 178593 h 183356"/>
                    <a:gd name="connsiteX7" fmla="*/ 61913 w 128588"/>
                    <a:gd name="connsiteY7" fmla="*/ 178593 h 183356"/>
                    <a:gd name="connsiteX8" fmla="*/ 90488 w 128588"/>
                    <a:gd name="connsiteY8" fmla="*/ 171450 h 183356"/>
                    <a:gd name="connsiteX9" fmla="*/ 128588 w 128588"/>
                    <a:gd name="connsiteY9" fmla="*/ 107156 h 183356"/>
                    <a:gd name="connsiteX10" fmla="*/ 119063 w 128588"/>
                    <a:gd name="connsiteY10" fmla="*/ 85725 h 183356"/>
                    <a:gd name="connsiteX11" fmla="*/ 114300 w 128588"/>
                    <a:gd name="connsiteY11" fmla="*/ 28575 h 183356"/>
                    <a:gd name="connsiteX12" fmla="*/ 88107 w 128588"/>
                    <a:gd name="connsiteY12" fmla="*/ 7143 h 183356"/>
                    <a:gd name="connsiteX13" fmla="*/ 54769 w 128588"/>
                    <a:gd name="connsiteY13" fmla="*/ 0 h 183356"/>
                    <a:gd name="connsiteX14" fmla="*/ 2382 w 128588"/>
                    <a:gd name="connsiteY14" fmla="*/ 11906 h 183356"/>
                    <a:gd name="connsiteX0" fmla="*/ 2382 w 128588"/>
                    <a:gd name="connsiteY0" fmla="*/ 11906 h 188118"/>
                    <a:gd name="connsiteX1" fmla="*/ 16669 w 128588"/>
                    <a:gd name="connsiteY1" fmla="*/ 71437 h 188118"/>
                    <a:gd name="connsiteX2" fmla="*/ 16669 w 128588"/>
                    <a:gd name="connsiteY2" fmla="*/ 95250 h 188118"/>
                    <a:gd name="connsiteX3" fmla="*/ 4763 w 128588"/>
                    <a:gd name="connsiteY3" fmla="*/ 114300 h 188118"/>
                    <a:gd name="connsiteX4" fmla="*/ 0 w 128588"/>
                    <a:gd name="connsiteY4" fmla="*/ 169068 h 188118"/>
                    <a:gd name="connsiteX5" fmla="*/ 26194 w 128588"/>
                    <a:gd name="connsiteY5" fmla="*/ 183356 h 188118"/>
                    <a:gd name="connsiteX6" fmla="*/ 61913 w 128588"/>
                    <a:gd name="connsiteY6" fmla="*/ 178593 h 188118"/>
                    <a:gd name="connsiteX7" fmla="*/ 66675 w 128588"/>
                    <a:gd name="connsiteY7" fmla="*/ 188118 h 188118"/>
                    <a:gd name="connsiteX8" fmla="*/ 90488 w 128588"/>
                    <a:gd name="connsiteY8" fmla="*/ 171450 h 188118"/>
                    <a:gd name="connsiteX9" fmla="*/ 128588 w 128588"/>
                    <a:gd name="connsiteY9" fmla="*/ 107156 h 188118"/>
                    <a:gd name="connsiteX10" fmla="*/ 119063 w 128588"/>
                    <a:gd name="connsiteY10" fmla="*/ 85725 h 188118"/>
                    <a:gd name="connsiteX11" fmla="*/ 114300 w 128588"/>
                    <a:gd name="connsiteY11" fmla="*/ 28575 h 188118"/>
                    <a:gd name="connsiteX12" fmla="*/ 88107 w 128588"/>
                    <a:gd name="connsiteY12" fmla="*/ 7143 h 188118"/>
                    <a:gd name="connsiteX13" fmla="*/ 54769 w 128588"/>
                    <a:gd name="connsiteY13" fmla="*/ 0 h 188118"/>
                    <a:gd name="connsiteX14" fmla="*/ 2382 w 128588"/>
                    <a:gd name="connsiteY14" fmla="*/ 11906 h 188118"/>
                    <a:gd name="connsiteX0" fmla="*/ 2382 w 128588"/>
                    <a:gd name="connsiteY0" fmla="*/ 11906 h 190940"/>
                    <a:gd name="connsiteX1" fmla="*/ 16669 w 128588"/>
                    <a:gd name="connsiteY1" fmla="*/ 71437 h 190940"/>
                    <a:gd name="connsiteX2" fmla="*/ 16669 w 128588"/>
                    <a:gd name="connsiteY2" fmla="*/ 95250 h 190940"/>
                    <a:gd name="connsiteX3" fmla="*/ 4763 w 128588"/>
                    <a:gd name="connsiteY3" fmla="*/ 114300 h 190940"/>
                    <a:gd name="connsiteX4" fmla="*/ 0 w 128588"/>
                    <a:gd name="connsiteY4" fmla="*/ 169068 h 190940"/>
                    <a:gd name="connsiteX5" fmla="*/ 26194 w 128588"/>
                    <a:gd name="connsiteY5" fmla="*/ 183356 h 190940"/>
                    <a:gd name="connsiteX6" fmla="*/ 57151 w 128588"/>
                    <a:gd name="connsiteY6" fmla="*/ 190499 h 190940"/>
                    <a:gd name="connsiteX7" fmla="*/ 66675 w 128588"/>
                    <a:gd name="connsiteY7" fmla="*/ 188118 h 190940"/>
                    <a:gd name="connsiteX8" fmla="*/ 90488 w 128588"/>
                    <a:gd name="connsiteY8" fmla="*/ 171450 h 190940"/>
                    <a:gd name="connsiteX9" fmla="*/ 128588 w 128588"/>
                    <a:gd name="connsiteY9" fmla="*/ 107156 h 190940"/>
                    <a:gd name="connsiteX10" fmla="*/ 119063 w 128588"/>
                    <a:gd name="connsiteY10" fmla="*/ 85725 h 190940"/>
                    <a:gd name="connsiteX11" fmla="*/ 114300 w 128588"/>
                    <a:gd name="connsiteY11" fmla="*/ 28575 h 190940"/>
                    <a:gd name="connsiteX12" fmla="*/ 88107 w 128588"/>
                    <a:gd name="connsiteY12" fmla="*/ 7143 h 190940"/>
                    <a:gd name="connsiteX13" fmla="*/ 54769 w 128588"/>
                    <a:gd name="connsiteY13" fmla="*/ 0 h 190940"/>
                    <a:gd name="connsiteX14" fmla="*/ 2382 w 128588"/>
                    <a:gd name="connsiteY14" fmla="*/ 11906 h 1909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8588" h="190940">
                      <a:moveTo>
                        <a:pt x="2382" y="11906"/>
                      </a:moveTo>
                      <a:lnTo>
                        <a:pt x="16669" y="71437"/>
                      </a:lnTo>
                      <a:lnTo>
                        <a:pt x="16669" y="95250"/>
                      </a:lnTo>
                      <a:lnTo>
                        <a:pt x="4763" y="114300"/>
                      </a:lnTo>
                      <a:lnTo>
                        <a:pt x="0" y="169068"/>
                      </a:lnTo>
                      <a:lnTo>
                        <a:pt x="26194" y="183356"/>
                      </a:lnTo>
                      <a:cubicBezTo>
                        <a:pt x="38100" y="181768"/>
                        <a:pt x="50404" y="189705"/>
                        <a:pt x="57151" y="190499"/>
                      </a:cubicBezTo>
                      <a:cubicBezTo>
                        <a:pt x="63898" y="191293"/>
                        <a:pt x="61119" y="191293"/>
                        <a:pt x="66675" y="188118"/>
                      </a:cubicBezTo>
                      <a:cubicBezTo>
                        <a:pt x="72231" y="184943"/>
                        <a:pt x="80169" y="184944"/>
                        <a:pt x="90488" y="171450"/>
                      </a:cubicBezTo>
                      <a:cubicBezTo>
                        <a:pt x="100807" y="157956"/>
                        <a:pt x="115888" y="128587"/>
                        <a:pt x="128588" y="107156"/>
                      </a:cubicBezTo>
                      <a:lnTo>
                        <a:pt x="119063" y="85725"/>
                      </a:lnTo>
                      <a:lnTo>
                        <a:pt x="114300" y="28575"/>
                      </a:lnTo>
                      <a:lnTo>
                        <a:pt x="88107" y="7143"/>
                      </a:lnTo>
                      <a:lnTo>
                        <a:pt x="54769" y="0"/>
                      </a:lnTo>
                      <a:lnTo>
                        <a:pt x="2382" y="11906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359">
                  <a:extLst>
                    <a:ext uri="{FF2B5EF4-FFF2-40B4-BE49-F238E27FC236}">
                      <a16:creationId xmlns:a16="http://schemas.microsoft.com/office/drawing/2014/main" id="{0A48D3F1-BE01-A7CE-1FA6-FDFD2C6FC7D4}"/>
                    </a:ext>
                  </a:extLst>
                </p:cNvPr>
                <p:cNvSpPr/>
                <p:nvPr/>
              </p:nvSpPr>
              <p:spPr>
                <a:xfrm rot="21396613">
                  <a:off x="4520423" y="2228174"/>
                  <a:ext cx="1226640" cy="785912"/>
                </a:xfrm>
                <a:custGeom>
                  <a:avLst/>
                  <a:gdLst>
                    <a:gd name="connsiteX0" fmla="*/ 723900 w 1119188"/>
                    <a:gd name="connsiteY0" fmla="*/ 554831 h 735806"/>
                    <a:gd name="connsiteX1" fmla="*/ 716757 w 1119188"/>
                    <a:gd name="connsiteY1" fmla="*/ 497681 h 735806"/>
                    <a:gd name="connsiteX2" fmla="*/ 702469 w 1119188"/>
                    <a:gd name="connsiteY2" fmla="*/ 473869 h 735806"/>
                    <a:gd name="connsiteX3" fmla="*/ 716757 w 1119188"/>
                    <a:gd name="connsiteY3" fmla="*/ 459581 h 735806"/>
                    <a:gd name="connsiteX4" fmla="*/ 766763 w 1119188"/>
                    <a:gd name="connsiteY4" fmla="*/ 461963 h 735806"/>
                    <a:gd name="connsiteX5" fmla="*/ 764382 w 1119188"/>
                    <a:gd name="connsiteY5" fmla="*/ 426244 h 735806"/>
                    <a:gd name="connsiteX6" fmla="*/ 773907 w 1119188"/>
                    <a:gd name="connsiteY6" fmla="*/ 407194 h 735806"/>
                    <a:gd name="connsiteX7" fmla="*/ 819150 w 1119188"/>
                    <a:gd name="connsiteY7" fmla="*/ 376238 h 735806"/>
                    <a:gd name="connsiteX8" fmla="*/ 816769 w 1119188"/>
                    <a:gd name="connsiteY8" fmla="*/ 283369 h 735806"/>
                    <a:gd name="connsiteX9" fmla="*/ 840582 w 1119188"/>
                    <a:gd name="connsiteY9" fmla="*/ 273844 h 735806"/>
                    <a:gd name="connsiteX10" fmla="*/ 881063 w 1119188"/>
                    <a:gd name="connsiteY10" fmla="*/ 321469 h 735806"/>
                    <a:gd name="connsiteX11" fmla="*/ 909638 w 1119188"/>
                    <a:gd name="connsiteY11" fmla="*/ 307181 h 735806"/>
                    <a:gd name="connsiteX12" fmla="*/ 919163 w 1119188"/>
                    <a:gd name="connsiteY12" fmla="*/ 264319 h 735806"/>
                    <a:gd name="connsiteX13" fmla="*/ 952500 w 1119188"/>
                    <a:gd name="connsiteY13" fmla="*/ 259556 h 735806"/>
                    <a:gd name="connsiteX14" fmla="*/ 1004888 w 1119188"/>
                    <a:gd name="connsiteY14" fmla="*/ 204788 h 735806"/>
                    <a:gd name="connsiteX15" fmla="*/ 1035844 w 1119188"/>
                    <a:gd name="connsiteY15" fmla="*/ 180975 h 735806"/>
                    <a:gd name="connsiteX16" fmla="*/ 1104900 w 1119188"/>
                    <a:gd name="connsiteY16" fmla="*/ 157163 h 735806"/>
                    <a:gd name="connsiteX17" fmla="*/ 1116807 w 1119188"/>
                    <a:gd name="connsiteY17" fmla="*/ 83344 h 735806"/>
                    <a:gd name="connsiteX18" fmla="*/ 1116807 w 1119188"/>
                    <a:gd name="connsiteY18" fmla="*/ 57150 h 735806"/>
                    <a:gd name="connsiteX19" fmla="*/ 1119188 w 1119188"/>
                    <a:gd name="connsiteY19" fmla="*/ 35719 h 735806"/>
                    <a:gd name="connsiteX20" fmla="*/ 1104900 w 1119188"/>
                    <a:gd name="connsiteY20" fmla="*/ 0 h 735806"/>
                    <a:gd name="connsiteX21" fmla="*/ 1069182 w 1119188"/>
                    <a:gd name="connsiteY21" fmla="*/ 7144 h 735806"/>
                    <a:gd name="connsiteX22" fmla="*/ 992982 w 1119188"/>
                    <a:gd name="connsiteY22" fmla="*/ 9525 h 735806"/>
                    <a:gd name="connsiteX23" fmla="*/ 954882 w 1119188"/>
                    <a:gd name="connsiteY23" fmla="*/ 38100 h 735806"/>
                    <a:gd name="connsiteX24" fmla="*/ 931069 w 1119188"/>
                    <a:gd name="connsiteY24" fmla="*/ 42863 h 735806"/>
                    <a:gd name="connsiteX25" fmla="*/ 904875 w 1119188"/>
                    <a:gd name="connsiteY25" fmla="*/ 42863 h 735806"/>
                    <a:gd name="connsiteX26" fmla="*/ 831057 w 1119188"/>
                    <a:gd name="connsiteY26" fmla="*/ 85725 h 735806"/>
                    <a:gd name="connsiteX27" fmla="*/ 776288 w 1119188"/>
                    <a:gd name="connsiteY27" fmla="*/ 104775 h 735806"/>
                    <a:gd name="connsiteX28" fmla="*/ 707232 w 1119188"/>
                    <a:gd name="connsiteY28" fmla="*/ 180975 h 735806"/>
                    <a:gd name="connsiteX29" fmla="*/ 692944 w 1119188"/>
                    <a:gd name="connsiteY29" fmla="*/ 195263 h 735806"/>
                    <a:gd name="connsiteX30" fmla="*/ 626269 w 1119188"/>
                    <a:gd name="connsiteY30" fmla="*/ 192881 h 735806"/>
                    <a:gd name="connsiteX31" fmla="*/ 619125 w 1119188"/>
                    <a:gd name="connsiteY31" fmla="*/ 207169 h 735806"/>
                    <a:gd name="connsiteX32" fmla="*/ 519113 w 1119188"/>
                    <a:gd name="connsiteY32" fmla="*/ 211931 h 735806"/>
                    <a:gd name="connsiteX33" fmla="*/ 492919 w 1119188"/>
                    <a:gd name="connsiteY33" fmla="*/ 230981 h 735806"/>
                    <a:gd name="connsiteX34" fmla="*/ 459582 w 1119188"/>
                    <a:gd name="connsiteY34" fmla="*/ 245269 h 735806"/>
                    <a:gd name="connsiteX35" fmla="*/ 433388 w 1119188"/>
                    <a:gd name="connsiteY35" fmla="*/ 271463 h 735806"/>
                    <a:gd name="connsiteX36" fmla="*/ 416719 w 1119188"/>
                    <a:gd name="connsiteY36" fmla="*/ 278606 h 735806"/>
                    <a:gd name="connsiteX37" fmla="*/ 378619 w 1119188"/>
                    <a:gd name="connsiteY37" fmla="*/ 278606 h 735806"/>
                    <a:gd name="connsiteX38" fmla="*/ 335757 w 1119188"/>
                    <a:gd name="connsiteY38" fmla="*/ 250031 h 735806"/>
                    <a:gd name="connsiteX39" fmla="*/ 250032 w 1119188"/>
                    <a:gd name="connsiteY39" fmla="*/ 250031 h 735806"/>
                    <a:gd name="connsiteX40" fmla="*/ 211932 w 1119188"/>
                    <a:gd name="connsiteY40" fmla="*/ 240506 h 735806"/>
                    <a:gd name="connsiteX41" fmla="*/ 188119 w 1119188"/>
                    <a:gd name="connsiteY41" fmla="*/ 221456 h 735806"/>
                    <a:gd name="connsiteX42" fmla="*/ 171450 w 1119188"/>
                    <a:gd name="connsiteY42" fmla="*/ 207169 h 735806"/>
                    <a:gd name="connsiteX43" fmla="*/ 150019 w 1119188"/>
                    <a:gd name="connsiteY43" fmla="*/ 202406 h 735806"/>
                    <a:gd name="connsiteX44" fmla="*/ 126207 w 1119188"/>
                    <a:gd name="connsiteY44" fmla="*/ 209550 h 735806"/>
                    <a:gd name="connsiteX45" fmla="*/ 85725 w 1119188"/>
                    <a:gd name="connsiteY45" fmla="*/ 226219 h 735806"/>
                    <a:gd name="connsiteX46" fmla="*/ 54769 w 1119188"/>
                    <a:gd name="connsiteY46" fmla="*/ 245269 h 735806"/>
                    <a:gd name="connsiteX47" fmla="*/ 16669 w 1119188"/>
                    <a:gd name="connsiteY47" fmla="*/ 254794 h 735806"/>
                    <a:gd name="connsiteX48" fmla="*/ 0 w 1119188"/>
                    <a:gd name="connsiteY48" fmla="*/ 261938 h 735806"/>
                    <a:gd name="connsiteX49" fmla="*/ 28575 w 1119188"/>
                    <a:gd name="connsiteY49" fmla="*/ 278606 h 735806"/>
                    <a:gd name="connsiteX50" fmla="*/ 59532 w 1119188"/>
                    <a:gd name="connsiteY50" fmla="*/ 278606 h 735806"/>
                    <a:gd name="connsiteX51" fmla="*/ 80963 w 1119188"/>
                    <a:gd name="connsiteY51" fmla="*/ 278606 h 735806"/>
                    <a:gd name="connsiteX52" fmla="*/ 88107 w 1119188"/>
                    <a:gd name="connsiteY52" fmla="*/ 276225 h 735806"/>
                    <a:gd name="connsiteX53" fmla="*/ 100013 w 1119188"/>
                    <a:gd name="connsiteY53" fmla="*/ 261938 h 735806"/>
                    <a:gd name="connsiteX54" fmla="*/ 119063 w 1119188"/>
                    <a:gd name="connsiteY54" fmla="*/ 259556 h 735806"/>
                    <a:gd name="connsiteX55" fmla="*/ 142875 w 1119188"/>
                    <a:gd name="connsiteY55" fmla="*/ 257175 h 735806"/>
                    <a:gd name="connsiteX56" fmla="*/ 154782 w 1119188"/>
                    <a:gd name="connsiteY56" fmla="*/ 271463 h 735806"/>
                    <a:gd name="connsiteX57" fmla="*/ 145257 w 1119188"/>
                    <a:gd name="connsiteY57" fmla="*/ 292894 h 735806"/>
                    <a:gd name="connsiteX58" fmla="*/ 114300 w 1119188"/>
                    <a:gd name="connsiteY58" fmla="*/ 304800 h 735806"/>
                    <a:gd name="connsiteX59" fmla="*/ 78582 w 1119188"/>
                    <a:gd name="connsiteY59" fmla="*/ 397669 h 735806"/>
                    <a:gd name="connsiteX60" fmla="*/ 97632 w 1119188"/>
                    <a:gd name="connsiteY60" fmla="*/ 421481 h 735806"/>
                    <a:gd name="connsiteX61" fmla="*/ 102394 w 1119188"/>
                    <a:gd name="connsiteY61" fmla="*/ 464344 h 735806"/>
                    <a:gd name="connsiteX62" fmla="*/ 107157 w 1119188"/>
                    <a:gd name="connsiteY62" fmla="*/ 481013 h 735806"/>
                    <a:gd name="connsiteX63" fmla="*/ 142875 w 1119188"/>
                    <a:gd name="connsiteY63" fmla="*/ 471488 h 735806"/>
                    <a:gd name="connsiteX64" fmla="*/ 178594 w 1119188"/>
                    <a:gd name="connsiteY64" fmla="*/ 459581 h 735806"/>
                    <a:gd name="connsiteX65" fmla="*/ 228600 w 1119188"/>
                    <a:gd name="connsiteY65" fmla="*/ 471488 h 735806"/>
                    <a:gd name="connsiteX66" fmla="*/ 266700 w 1119188"/>
                    <a:gd name="connsiteY66" fmla="*/ 481013 h 735806"/>
                    <a:gd name="connsiteX67" fmla="*/ 319088 w 1119188"/>
                    <a:gd name="connsiteY67" fmla="*/ 478631 h 735806"/>
                    <a:gd name="connsiteX68" fmla="*/ 359569 w 1119188"/>
                    <a:gd name="connsiteY68" fmla="*/ 461963 h 735806"/>
                    <a:gd name="connsiteX69" fmla="*/ 395288 w 1119188"/>
                    <a:gd name="connsiteY69" fmla="*/ 442913 h 735806"/>
                    <a:gd name="connsiteX70" fmla="*/ 433388 w 1119188"/>
                    <a:gd name="connsiteY70" fmla="*/ 450056 h 735806"/>
                    <a:gd name="connsiteX71" fmla="*/ 473869 w 1119188"/>
                    <a:gd name="connsiteY71" fmla="*/ 469106 h 735806"/>
                    <a:gd name="connsiteX72" fmla="*/ 519113 w 1119188"/>
                    <a:gd name="connsiteY72" fmla="*/ 495300 h 735806"/>
                    <a:gd name="connsiteX73" fmla="*/ 550069 w 1119188"/>
                    <a:gd name="connsiteY73" fmla="*/ 521494 h 735806"/>
                    <a:gd name="connsiteX74" fmla="*/ 554832 w 1119188"/>
                    <a:gd name="connsiteY74" fmla="*/ 559594 h 735806"/>
                    <a:gd name="connsiteX75" fmla="*/ 550069 w 1119188"/>
                    <a:gd name="connsiteY75" fmla="*/ 614363 h 735806"/>
                    <a:gd name="connsiteX76" fmla="*/ 545307 w 1119188"/>
                    <a:gd name="connsiteY76" fmla="*/ 645319 h 735806"/>
                    <a:gd name="connsiteX77" fmla="*/ 519113 w 1119188"/>
                    <a:gd name="connsiteY77" fmla="*/ 657225 h 735806"/>
                    <a:gd name="connsiteX78" fmla="*/ 502444 w 1119188"/>
                    <a:gd name="connsiteY78" fmla="*/ 673894 h 735806"/>
                    <a:gd name="connsiteX79" fmla="*/ 504825 w 1119188"/>
                    <a:gd name="connsiteY79" fmla="*/ 707231 h 735806"/>
                    <a:gd name="connsiteX80" fmla="*/ 523875 w 1119188"/>
                    <a:gd name="connsiteY80" fmla="*/ 731044 h 735806"/>
                    <a:gd name="connsiteX81" fmla="*/ 604838 w 1119188"/>
                    <a:gd name="connsiteY81" fmla="*/ 735806 h 735806"/>
                    <a:gd name="connsiteX82" fmla="*/ 671513 w 1119188"/>
                    <a:gd name="connsiteY82" fmla="*/ 685800 h 735806"/>
                    <a:gd name="connsiteX83" fmla="*/ 671513 w 1119188"/>
                    <a:gd name="connsiteY83" fmla="*/ 604838 h 735806"/>
                    <a:gd name="connsiteX84" fmla="*/ 723900 w 1119188"/>
                    <a:gd name="connsiteY84" fmla="*/ 554831 h 735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</a:cxnLst>
                  <a:rect l="l" t="t" r="r" b="b"/>
                  <a:pathLst>
                    <a:path w="1119188" h="735806">
                      <a:moveTo>
                        <a:pt x="723900" y="554831"/>
                      </a:moveTo>
                      <a:lnTo>
                        <a:pt x="716757" y="497681"/>
                      </a:lnTo>
                      <a:lnTo>
                        <a:pt x="702469" y="473869"/>
                      </a:lnTo>
                      <a:lnTo>
                        <a:pt x="716757" y="459581"/>
                      </a:lnTo>
                      <a:lnTo>
                        <a:pt x="766763" y="461963"/>
                      </a:lnTo>
                      <a:lnTo>
                        <a:pt x="764382" y="426244"/>
                      </a:lnTo>
                      <a:lnTo>
                        <a:pt x="773907" y="407194"/>
                      </a:lnTo>
                      <a:lnTo>
                        <a:pt x="819150" y="376238"/>
                      </a:lnTo>
                      <a:cubicBezTo>
                        <a:pt x="818356" y="345282"/>
                        <a:pt x="817563" y="314325"/>
                        <a:pt x="816769" y="283369"/>
                      </a:cubicBezTo>
                      <a:lnTo>
                        <a:pt x="840582" y="273844"/>
                      </a:lnTo>
                      <a:lnTo>
                        <a:pt x="881063" y="321469"/>
                      </a:lnTo>
                      <a:lnTo>
                        <a:pt x="909638" y="307181"/>
                      </a:lnTo>
                      <a:lnTo>
                        <a:pt x="919163" y="264319"/>
                      </a:lnTo>
                      <a:lnTo>
                        <a:pt x="952500" y="259556"/>
                      </a:lnTo>
                      <a:lnTo>
                        <a:pt x="1004888" y="204788"/>
                      </a:lnTo>
                      <a:lnTo>
                        <a:pt x="1035844" y="180975"/>
                      </a:lnTo>
                      <a:lnTo>
                        <a:pt x="1104900" y="157163"/>
                      </a:lnTo>
                      <a:lnTo>
                        <a:pt x="1116807" y="83344"/>
                      </a:lnTo>
                      <a:lnTo>
                        <a:pt x="1116807" y="57150"/>
                      </a:lnTo>
                      <a:lnTo>
                        <a:pt x="1119188" y="35719"/>
                      </a:lnTo>
                      <a:lnTo>
                        <a:pt x="1104900" y="0"/>
                      </a:lnTo>
                      <a:lnTo>
                        <a:pt x="1069182" y="7144"/>
                      </a:lnTo>
                      <a:lnTo>
                        <a:pt x="992982" y="9525"/>
                      </a:lnTo>
                      <a:lnTo>
                        <a:pt x="954882" y="38100"/>
                      </a:lnTo>
                      <a:lnTo>
                        <a:pt x="931069" y="42863"/>
                      </a:lnTo>
                      <a:lnTo>
                        <a:pt x="904875" y="42863"/>
                      </a:lnTo>
                      <a:lnTo>
                        <a:pt x="831057" y="85725"/>
                      </a:lnTo>
                      <a:lnTo>
                        <a:pt x="776288" y="104775"/>
                      </a:lnTo>
                      <a:lnTo>
                        <a:pt x="707232" y="180975"/>
                      </a:lnTo>
                      <a:lnTo>
                        <a:pt x="692944" y="195263"/>
                      </a:lnTo>
                      <a:lnTo>
                        <a:pt x="626269" y="192881"/>
                      </a:lnTo>
                      <a:lnTo>
                        <a:pt x="619125" y="207169"/>
                      </a:lnTo>
                      <a:lnTo>
                        <a:pt x="519113" y="211931"/>
                      </a:lnTo>
                      <a:lnTo>
                        <a:pt x="492919" y="230981"/>
                      </a:lnTo>
                      <a:lnTo>
                        <a:pt x="459582" y="245269"/>
                      </a:lnTo>
                      <a:lnTo>
                        <a:pt x="433388" y="271463"/>
                      </a:lnTo>
                      <a:lnTo>
                        <a:pt x="416719" y="278606"/>
                      </a:lnTo>
                      <a:lnTo>
                        <a:pt x="378619" y="278606"/>
                      </a:lnTo>
                      <a:lnTo>
                        <a:pt x="335757" y="250031"/>
                      </a:lnTo>
                      <a:lnTo>
                        <a:pt x="250032" y="250031"/>
                      </a:lnTo>
                      <a:lnTo>
                        <a:pt x="211932" y="240506"/>
                      </a:lnTo>
                      <a:lnTo>
                        <a:pt x="188119" y="221456"/>
                      </a:lnTo>
                      <a:lnTo>
                        <a:pt x="171450" y="207169"/>
                      </a:lnTo>
                      <a:lnTo>
                        <a:pt x="150019" y="202406"/>
                      </a:lnTo>
                      <a:lnTo>
                        <a:pt x="126207" y="209550"/>
                      </a:lnTo>
                      <a:lnTo>
                        <a:pt x="85725" y="226219"/>
                      </a:lnTo>
                      <a:lnTo>
                        <a:pt x="54769" y="245269"/>
                      </a:lnTo>
                      <a:lnTo>
                        <a:pt x="16669" y="254794"/>
                      </a:lnTo>
                      <a:lnTo>
                        <a:pt x="0" y="261938"/>
                      </a:lnTo>
                      <a:lnTo>
                        <a:pt x="28575" y="278606"/>
                      </a:lnTo>
                      <a:lnTo>
                        <a:pt x="59532" y="278606"/>
                      </a:lnTo>
                      <a:lnTo>
                        <a:pt x="80963" y="278606"/>
                      </a:lnTo>
                      <a:lnTo>
                        <a:pt x="88107" y="276225"/>
                      </a:lnTo>
                      <a:lnTo>
                        <a:pt x="100013" y="261938"/>
                      </a:lnTo>
                      <a:lnTo>
                        <a:pt x="119063" y="259556"/>
                      </a:lnTo>
                      <a:lnTo>
                        <a:pt x="142875" y="257175"/>
                      </a:lnTo>
                      <a:lnTo>
                        <a:pt x="154782" y="271463"/>
                      </a:lnTo>
                      <a:lnTo>
                        <a:pt x="145257" y="292894"/>
                      </a:lnTo>
                      <a:lnTo>
                        <a:pt x="114300" y="304800"/>
                      </a:lnTo>
                      <a:lnTo>
                        <a:pt x="78582" y="397669"/>
                      </a:lnTo>
                      <a:lnTo>
                        <a:pt x="97632" y="421481"/>
                      </a:lnTo>
                      <a:lnTo>
                        <a:pt x="102394" y="464344"/>
                      </a:lnTo>
                      <a:lnTo>
                        <a:pt x="107157" y="481013"/>
                      </a:lnTo>
                      <a:lnTo>
                        <a:pt x="142875" y="471488"/>
                      </a:lnTo>
                      <a:lnTo>
                        <a:pt x="178594" y="459581"/>
                      </a:lnTo>
                      <a:lnTo>
                        <a:pt x="228600" y="471488"/>
                      </a:lnTo>
                      <a:lnTo>
                        <a:pt x="266700" y="481013"/>
                      </a:lnTo>
                      <a:lnTo>
                        <a:pt x="319088" y="478631"/>
                      </a:lnTo>
                      <a:lnTo>
                        <a:pt x="359569" y="461963"/>
                      </a:lnTo>
                      <a:lnTo>
                        <a:pt x="395288" y="442913"/>
                      </a:lnTo>
                      <a:lnTo>
                        <a:pt x="433388" y="450056"/>
                      </a:lnTo>
                      <a:lnTo>
                        <a:pt x="473869" y="469106"/>
                      </a:lnTo>
                      <a:lnTo>
                        <a:pt x="519113" y="495300"/>
                      </a:lnTo>
                      <a:lnTo>
                        <a:pt x="550069" y="521494"/>
                      </a:lnTo>
                      <a:lnTo>
                        <a:pt x="554832" y="559594"/>
                      </a:lnTo>
                      <a:lnTo>
                        <a:pt x="550069" y="614363"/>
                      </a:lnTo>
                      <a:lnTo>
                        <a:pt x="545307" y="645319"/>
                      </a:lnTo>
                      <a:lnTo>
                        <a:pt x="519113" y="657225"/>
                      </a:lnTo>
                      <a:lnTo>
                        <a:pt x="502444" y="673894"/>
                      </a:lnTo>
                      <a:lnTo>
                        <a:pt x="504825" y="707231"/>
                      </a:lnTo>
                      <a:lnTo>
                        <a:pt x="523875" y="731044"/>
                      </a:lnTo>
                      <a:lnTo>
                        <a:pt x="604838" y="735806"/>
                      </a:lnTo>
                      <a:lnTo>
                        <a:pt x="671513" y="685800"/>
                      </a:lnTo>
                      <a:lnTo>
                        <a:pt x="671513" y="604838"/>
                      </a:lnTo>
                      <a:lnTo>
                        <a:pt x="723900" y="554831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360">
                  <a:extLst>
                    <a:ext uri="{FF2B5EF4-FFF2-40B4-BE49-F238E27FC236}">
                      <a16:creationId xmlns:a16="http://schemas.microsoft.com/office/drawing/2014/main" id="{CC5B11C2-27F5-72A5-A8E9-D9908211E6F2}"/>
                    </a:ext>
                  </a:extLst>
                </p:cNvPr>
                <p:cNvSpPr/>
                <p:nvPr/>
              </p:nvSpPr>
              <p:spPr>
                <a:xfrm rot="21396613">
                  <a:off x="4865629" y="1906976"/>
                  <a:ext cx="1161146" cy="601393"/>
                </a:xfrm>
                <a:custGeom>
                  <a:avLst/>
                  <a:gdLst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2462 w 1059656"/>
                    <a:gd name="connsiteY79" fmla="*/ 481012 h 531019"/>
                    <a:gd name="connsiteX80" fmla="*/ 697706 w 1059656"/>
                    <a:gd name="connsiteY80" fmla="*/ 531019 h 531019"/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2462 w 1059656"/>
                    <a:gd name="connsiteY79" fmla="*/ 481012 h 531019"/>
                    <a:gd name="connsiteX80" fmla="*/ 676275 w 1059656"/>
                    <a:gd name="connsiteY80" fmla="*/ 500062 h 531019"/>
                    <a:gd name="connsiteX81" fmla="*/ 697706 w 1059656"/>
                    <a:gd name="connsiteY81" fmla="*/ 531019 h 531019"/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9605 w 1059656"/>
                    <a:gd name="connsiteY79" fmla="*/ 471487 h 531019"/>
                    <a:gd name="connsiteX80" fmla="*/ 676275 w 1059656"/>
                    <a:gd name="connsiteY80" fmla="*/ 500062 h 531019"/>
                    <a:gd name="connsiteX81" fmla="*/ 697706 w 1059656"/>
                    <a:gd name="connsiteY81" fmla="*/ 531019 h 531019"/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7224 w 1059656"/>
                    <a:gd name="connsiteY79" fmla="*/ 483393 h 531019"/>
                    <a:gd name="connsiteX80" fmla="*/ 676275 w 1059656"/>
                    <a:gd name="connsiteY80" fmla="*/ 500062 h 531019"/>
                    <a:gd name="connsiteX81" fmla="*/ 697706 w 1059656"/>
                    <a:gd name="connsiteY81" fmla="*/ 531019 h 531019"/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7224 w 1059656"/>
                    <a:gd name="connsiteY79" fmla="*/ 483393 h 531019"/>
                    <a:gd name="connsiteX80" fmla="*/ 654844 w 1059656"/>
                    <a:gd name="connsiteY80" fmla="*/ 495300 h 531019"/>
                    <a:gd name="connsiteX81" fmla="*/ 697706 w 1059656"/>
                    <a:gd name="connsiteY81" fmla="*/ 531019 h 531019"/>
                    <a:gd name="connsiteX0" fmla="*/ 697706 w 1059656"/>
                    <a:gd name="connsiteY0" fmla="*/ 531019 h 531019"/>
                    <a:gd name="connsiteX1" fmla="*/ 778668 w 1059656"/>
                    <a:gd name="connsiteY1" fmla="*/ 459581 h 531019"/>
                    <a:gd name="connsiteX2" fmla="*/ 816768 w 1059656"/>
                    <a:gd name="connsiteY2" fmla="*/ 440531 h 531019"/>
                    <a:gd name="connsiteX3" fmla="*/ 852487 w 1059656"/>
                    <a:gd name="connsiteY3" fmla="*/ 438150 h 531019"/>
                    <a:gd name="connsiteX4" fmla="*/ 916781 w 1059656"/>
                    <a:gd name="connsiteY4" fmla="*/ 423862 h 531019"/>
                    <a:gd name="connsiteX5" fmla="*/ 950118 w 1059656"/>
                    <a:gd name="connsiteY5" fmla="*/ 426244 h 531019"/>
                    <a:gd name="connsiteX6" fmla="*/ 988218 w 1059656"/>
                    <a:gd name="connsiteY6" fmla="*/ 442912 h 531019"/>
                    <a:gd name="connsiteX7" fmla="*/ 1019175 w 1059656"/>
                    <a:gd name="connsiteY7" fmla="*/ 411956 h 531019"/>
                    <a:gd name="connsiteX8" fmla="*/ 992981 w 1059656"/>
                    <a:gd name="connsiteY8" fmla="*/ 381000 h 531019"/>
                    <a:gd name="connsiteX9" fmla="*/ 988218 w 1059656"/>
                    <a:gd name="connsiteY9" fmla="*/ 350044 h 531019"/>
                    <a:gd name="connsiteX10" fmla="*/ 995362 w 1059656"/>
                    <a:gd name="connsiteY10" fmla="*/ 311944 h 531019"/>
                    <a:gd name="connsiteX11" fmla="*/ 1023937 w 1059656"/>
                    <a:gd name="connsiteY11" fmla="*/ 271462 h 531019"/>
                    <a:gd name="connsiteX12" fmla="*/ 1052512 w 1059656"/>
                    <a:gd name="connsiteY12" fmla="*/ 261937 h 531019"/>
                    <a:gd name="connsiteX13" fmla="*/ 1059656 w 1059656"/>
                    <a:gd name="connsiteY13" fmla="*/ 233362 h 531019"/>
                    <a:gd name="connsiteX14" fmla="*/ 1047750 w 1059656"/>
                    <a:gd name="connsiteY14" fmla="*/ 204787 h 531019"/>
                    <a:gd name="connsiteX15" fmla="*/ 1019175 w 1059656"/>
                    <a:gd name="connsiteY15" fmla="*/ 195262 h 531019"/>
                    <a:gd name="connsiteX16" fmla="*/ 992981 w 1059656"/>
                    <a:gd name="connsiteY16" fmla="*/ 202406 h 531019"/>
                    <a:gd name="connsiteX17" fmla="*/ 935831 w 1059656"/>
                    <a:gd name="connsiteY17" fmla="*/ 221456 h 531019"/>
                    <a:gd name="connsiteX18" fmla="*/ 900112 w 1059656"/>
                    <a:gd name="connsiteY18" fmla="*/ 226219 h 531019"/>
                    <a:gd name="connsiteX19" fmla="*/ 878681 w 1059656"/>
                    <a:gd name="connsiteY19" fmla="*/ 209550 h 531019"/>
                    <a:gd name="connsiteX20" fmla="*/ 873918 w 1059656"/>
                    <a:gd name="connsiteY20" fmla="*/ 195262 h 531019"/>
                    <a:gd name="connsiteX21" fmla="*/ 881062 w 1059656"/>
                    <a:gd name="connsiteY21" fmla="*/ 152400 h 531019"/>
                    <a:gd name="connsiteX22" fmla="*/ 888206 w 1059656"/>
                    <a:gd name="connsiteY22" fmla="*/ 116681 h 531019"/>
                    <a:gd name="connsiteX23" fmla="*/ 871537 w 1059656"/>
                    <a:gd name="connsiteY23" fmla="*/ 78581 h 531019"/>
                    <a:gd name="connsiteX24" fmla="*/ 840581 w 1059656"/>
                    <a:gd name="connsiteY24" fmla="*/ 61912 h 531019"/>
                    <a:gd name="connsiteX25" fmla="*/ 862012 w 1059656"/>
                    <a:gd name="connsiteY25" fmla="*/ 14287 h 531019"/>
                    <a:gd name="connsiteX26" fmla="*/ 809625 w 1059656"/>
                    <a:gd name="connsiteY26" fmla="*/ 0 h 531019"/>
                    <a:gd name="connsiteX27" fmla="*/ 797718 w 1059656"/>
                    <a:gd name="connsiteY27" fmla="*/ 16669 h 531019"/>
                    <a:gd name="connsiteX28" fmla="*/ 757237 w 1059656"/>
                    <a:gd name="connsiteY28" fmla="*/ 11906 h 531019"/>
                    <a:gd name="connsiteX29" fmla="*/ 735806 w 1059656"/>
                    <a:gd name="connsiteY29" fmla="*/ 16669 h 531019"/>
                    <a:gd name="connsiteX30" fmla="*/ 719137 w 1059656"/>
                    <a:gd name="connsiteY30" fmla="*/ 45244 h 531019"/>
                    <a:gd name="connsiteX31" fmla="*/ 723900 w 1059656"/>
                    <a:gd name="connsiteY31" fmla="*/ 64294 h 531019"/>
                    <a:gd name="connsiteX32" fmla="*/ 707231 w 1059656"/>
                    <a:gd name="connsiteY32" fmla="*/ 78581 h 531019"/>
                    <a:gd name="connsiteX33" fmla="*/ 631031 w 1059656"/>
                    <a:gd name="connsiteY33" fmla="*/ 80962 h 531019"/>
                    <a:gd name="connsiteX34" fmla="*/ 597693 w 1059656"/>
                    <a:gd name="connsiteY34" fmla="*/ 66675 h 531019"/>
                    <a:gd name="connsiteX35" fmla="*/ 569118 w 1059656"/>
                    <a:gd name="connsiteY35" fmla="*/ 38100 h 531019"/>
                    <a:gd name="connsiteX36" fmla="*/ 531018 w 1059656"/>
                    <a:gd name="connsiteY36" fmla="*/ 33337 h 531019"/>
                    <a:gd name="connsiteX37" fmla="*/ 497681 w 1059656"/>
                    <a:gd name="connsiteY37" fmla="*/ 57150 h 531019"/>
                    <a:gd name="connsiteX38" fmla="*/ 481012 w 1059656"/>
                    <a:gd name="connsiteY38" fmla="*/ 76200 h 531019"/>
                    <a:gd name="connsiteX39" fmla="*/ 466725 w 1059656"/>
                    <a:gd name="connsiteY39" fmla="*/ 92869 h 531019"/>
                    <a:gd name="connsiteX40" fmla="*/ 450056 w 1059656"/>
                    <a:gd name="connsiteY40" fmla="*/ 111919 h 531019"/>
                    <a:gd name="connsiteX41" fmla="*/ 454818 w 1059656"/>
                    <a:gd name="connsiteY41" fmla="*/ 138112 h 531019"/>
                    <a:gd name="connsiteX42" fmla="*/ 423862 w 1059656"/>
                    <a:gd name="connsiteY42" fmla="*/ 161925 h 531019"/>
                    <a:gd name="connsiteX43" fmla="*/ 371475 w 1059656"/>
                    <a:gd name="connsiteY43" fmla="*/ 171450 h 531019"/>
                    <a:gd name="connsiteX44" fmla="*/ 330993 w 1059656"/>
                    <a:gd name="connsiteY44" fmla="*/ 190500 h 531019"/>
                    <a:gd name="connsiteX45" fmla="*/ 321468 w 1059656"/>
                    <a:gd name="connsiteY45" fmla="*/ 228600 h 531019"/>
                    <a:gd name="connsiteX46" fmla="*/ 319087 w 1059656"/>
                    <a:gd name="connsiteY46" fmla="*/ 235744 h 531019"/>
                    <a:gd name="connsiteX47" fmla="*/ 266700 w 1059656"/>
                    <a:gd name="connsiteY47" fmla="*/ 252412 h 531019"/>
                    <a:gd name="connsiteX48" fmla="*/ 180975 w 1059656"/>
                    <a:gd name="connsiteY48" fmla="*/ 283369 h 531019"/>
                    <a:gd name="connsiteX49" fmla="*/ 157162 w 1059656"/>
                    <a:gd name="connsiteY49" fmla="*/ 276225 h 531019"/>
                    <a:gd name="connsiteX50" fmla="*/ 128587 w 1059656"/>
                    <a:gd name="connsiteY50" fmla="*/ 266700 h 531019"/>
                    <a:gd name="connsiteX51" fmla="*/ 130968 w 1059656"/>
                    <a:gd name="connsiteY51" fmla="*/ 326231 h 531019"/>
                    <a:gd name="connsiteX52" fmla="*/ 169068 w 1059656"/>
                    <a:gd name="connsiteY52" fmla="*/ 354806 h 531019"/>
                    <a:gd name="connsiteX53" fmla="*/ 185737 w 1059656"/>
                    <a:gd name="connsiteY53" fmla="*/ 378619 h 531019"/>
                    <a:gd name="connsiteX54" fmla="*/ 180975 w 1059656"/>
                    <a:gd name="connsiteY54" fmla="*/ 409575 h 531019"/>
                    <a:gd name="connsiteX55" fmla="*/ 173831 w 1059656"/>
                    <a:gd name="connsiteY55" fmla="*/ 438150 h 531019"/>
                    <a:gd name="connsiteX56" fmla="*/ 130968 w 1059656"/>
                    <a:gd name="connsiteY56" fmla="*/ 440531 h 531019"/>
                    <a:gd name="connsiteX57" fmla="*/ 95250 w 1059656"/>
                    <a:gd name="connsiteY57" fmla="*/ 454819 h 531019"/>
                    <a:gd name="connsiteX58" fmla="*/ 71437 w 1059656"/>
                    <a:gd name="connsiteY58" fmla="*/ 459581 h 531019"/>
                    <a:gd name="connsiteX59" fmla="*/ 50006 w 1059656"/>
                    <a:gd name="connsiteY59" fmla="*/ 471487 h 531019"/>
                    <a:gd name="connsiteX60" fmla="*/ 30956 w 1059656"/>
                    <a:gd name="connsiteY60" fmla="*/ 488156 h 531019"/>
                    <a:gd name="connsiteX61" fmla="*/ 7143 w 1059656"/>
                    <a:gd name="connsiteY61" fmla="*/ 495300 h 531019"/>
                    <a:gd name="connsiteX62" fmla="*/ 0 w 1059656"/>
                    <a:gd name="connsiteY62" fmla="*/ 500062 h 531019"/>
                    <a:gd name="connsiteX63" fmla="*/ 38100 w 1059656"/>
                    <a:gd name="connsiteY63" fmla="*/ 528637 h 531019"/>
                    <a:gd name="connsiteX64" fmla="*/ 80962 w 1059656"/>
                    <a:gd name="connsiteY64" fmla="*/ 526256 h 531019"/>
                    <a:gd name="connsiteX65" fmla="*/ 116681 w 1059656"/>
                    <a:gd name="connsiteY65" fmla="*/ 492919 h 531019"/>
                    <a:gd name="connsiteX66" fmla="*/ 171450 w 1059656"/>
                    <a:gd name="connsiteY66" fmla="*/ 466725 h 531019"/>
                    <a:gd name="connsiteX67" fmla="*/ 278606 w 1059656"/>
                    <a:gd name="connsiteY67" fmla="*/ 459581 h 531019"/>
                    <a:gd name="connsiteX68" fmla="*/ 292893 w 1059656"/>
                    <a:gd name="connsiteY68" fmla="*/ 447675 h 531019"/>
                    <a:gd name="connsiteX69" fmla="*/ 357187 w 1059656"/>
                    <a:gd name="connsiteY69" fmla="*/ 447675 h 531019"/>
                    <a:gd name="connsiteX70" fmla="*/ 433387 w 1059656"/>
                    <a:gd name="connsiteY70" fmla="*/ 354806 h 531019"/>
                    <a:gd name="connsiteX71" fmla="*/ 559593 w 1059656"/>
                    <a:gd name="connsiteY71" fmla="*/ 295275 h 531019"/>
                    <a:gd name="connsiteX72" fmla="*/ 619125 w 1059656"/>
                    <a:gd name="connsiteY72" fmla="*/ 288131 h 531019"/>
                    <a:gd name="connsiteX73" fmla="*/ 654843 w 1059656"/>
                    <a:gd name="connsiteY73" fmla="*/ 261937 h 531019"/>
                    <a:gd name="connsiteX74" fmla="*/ 716756 w 1059656"/>
                    <a:gd name="connsiteY74" fmla="*/ 259556 h 531019"/>
                    <a:gd name="connsiteX75" fmla="*/ 771525 w 1059656"/>
                    <a:gd name="connsiteY75" fmla="*/ 252412 h 531019"/>
                    <a:gd name="connsiteX76" fmla="*/ 781050 w 1059656"/>
                    <a:gd name="connsiteY76" fmla="*/ 290512 h 531019"/>
                    <a:gd name="connsiteX77" fmla="*/ 773906 w 1059656"/>
                    <a:gd name="connsiteY77" fmla="*/ 411956 h 531019"/>
                    <a:gd name="connsiteX78" fmla="*/ 707231 w 1059656"/>
                    <a:gd name="connsiteY78" fmla="*/ 428625 h 531019"/>
                    <a:gd name="connsiteX79" fmla="*/ 652461 w 1059656"/>
                    <a:gd name="connsiteY79" fmla="*/ 476249 h 531019"/>
                    <a:gd name="connsiteX80" fmla="*/ 654844 w 1059656"/>
                    <a:gd name="connsiteY80" fmla="*/ 495300 h 531019"/>
                    <a:gd name="connsiteX81" fmla="*/ 697706 w 1059656"/>
                    <a:gd name="connsiteY81" fmla="*/ 531019 h 531019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40581 w 1059656"/>
                    <a:gd name="connsiteY24" fmla="*/ 95250 h 564357"/>
                    <a:gd name="connsiteX25" fmla="*/ 833437 w 1059656"/>
                    <a:gd name="connsiteY25" fmla="*/ 0 h 564357"/>
                    <a:gd name="connsiteX26" fmla="*/ 809625 w 1059656"/>
                    <a:gd name="connsiteY26" fmla="*/ 33338 h 564357"/>
                    <a:gd name="connsiteX27" fmla="*/ 797718 w 1059656"/>
                    <a:gd name="connsiteY27" fmla="*/ 50007 h 564357"/>
                    <a:gd name="connsiteX28" fmla="*/ 757237 w 1059656"/>
                    <a:gd name="connsiteY28" fmla="*/ 45244 h 564357"/>
                    <a:gd name="connsiteX29" fmla="*/ 735806 w 1059656"/>
                    <a:gd name="connsiteY29" fmla="*/ 50007 h 564357"/>
                    <a:gd name="connsiteX30" fmla="*/ 719137 w 1059656"/>
                    <a:gd name="connsiteY30" fmla="*/ 78582 h 564357"/>
                    <a:gd name="connsiteX31" fmla="*/ 723900 w 1059656"/>
                    <a:gd name="connsiteY31" fmla="*/ 97632 h 564357"/>
                    <a:gd name="connsiteX32" fmla="*/ 707231 w 1059656"/>
                    <a:gd name="connsiteY32" fmla="*/ 111919 h 564357"/>
                    <a:gd name="connsiteX33" fmla="*/ 631031 w 1059656"/>
                    <a:gd name="connsiteY33" fmla="*/ 114300 h 564357"/>
                    <a:gd name="connsiteX34" fmla="*/ 597693 w 1059656"/>
                    <a:gd name="connsiteY34" fmla="*/ 100013 h 564357"/>
                    <a:gd name="connsiteX35" fmla="*/ 569118 w 1059656"/>
                    <a:gd name="connsiteY35" fmla="*/ 71438 h 564357"/>
                    <a:gd name="connsiteX36" fmla="*/ 531018 w 1059656"/>
                    <a:gd name="connsiteY36" fmla="*/ 66675 h 564357"/>
                    <a:gd name="connsiteX37" fmla="*/ 497681 w 1059656"/>
                    <a:gd name="connsiteY37" fmla="*/ 90488 h 564357"/>
                    <a:gd name="connsiteX38" fmla="*/ 481012 w 1059656"/>
                    <a:gd name="connsiteY38" fmla="*/ 109538 h 564357"/>
                    <a:gd name="connsiteX39" fmla="*/ 466725 w 1059656"/>
                    <a:gd name="connsiteY39" fmla="*/ 126207 h 564357"/>
                    <a:gd name="connsiteX40" fmla="*/ 450056 w 1059656"/>
                    <a:gd name="connsiteY40" fmla="*/ 145257 h 564357"/>
                    <a:gd name="connsiteX41" fmla="*/ 454818 w 1059656"/>
                    <a:gd name="connsiteY41" fmla="*/ 171450 h 564357"/>
                    <a:gd name="connsiteX42" fmla="*/ 423862 w 1059656"/>
                    <a:gd name="connsiteY42" fmla="*/ 195263 h 564357"/>
                    <a:gd name="connsiteX43" fmla="*/ 371475 w 1059656"/>
                    <a:gd name="connsiteY43" fmla="*/ 204788 h 564357"/>
                    <a:gd name="connsiteX44" fmla="*/ 330993 w 1059656"/>
                    <a:gd name="connsiteY44" fmla="*/ 223838 h 564357"/>
                    <a:gd name="connsiteX45" fmla="*/ 321468 w 1059656"/>
                    <a:gd name="connsiteY45" fmla="*/ 261938 h 564357"/>
                    <a:gd name="connsiteX46" fmla="*/ 319087 w 1059656"/>
                    <a:gd name="connsiteY46" fmla="*/ 269082 h 564357"/>
                    <a:gd name="connsiteX47" fmla="*/ 266700 w 1059656"/>
                    <a:gd name="connsiteY47" fmla="*/ 285750 h 564357"/>
                    <a:gd name="connsiteX48" fmla="*/ 180975 w 1059656"/>
                    <a:gd name="connsiteY48" fmla="*/ 316707 h 564357"/>
                    <a:gd name="connsiteX49" fmla="*/ 157162 w 1059656"/>
                    <a:gd name="connsiteY49" fmla="*/ 309563 h 564357"/>
                    <a:gd name="connsiteX50" fmla="*/ 128587 w 1059656"/>
                    <a:gd name="connsiteY50" fmla="*/ 300038 h 564357"/>
                    <a:gd name="connsiteX51" fmla="*/ 130968 w 1059656"/>
                    <a:gd name="connsiteY51" fmla="*/ 359569 h 564357"/>
                    <a:gd name="connsiteX52" fmla="*/ 169068 w 1059656"/>
                    <a:gd name="connsiteY52" fmla="*/ 388144 h 564357"/>
                    <a:gd name="connsiteX53" fmla="*/ 185737 w 1059656"/>
                    <a:gd name="connsiteY53" fmla="*/ 411957 h 564357"/>
                    <a:gd name="connsiteX54" fmla="*/ 180975 w 1059656"/>
                    <a:gd name="connsiteY54" fmla="*/ 442913 h 564357"/>
                    <a:gd name="connsiteX55" fmla="*/ 173831 w 1059656"/>
                    <a:gd name="connsiteY55" fmla="*/ 471488 h 564357"/>
                    <a:gd name="connsiteX56" fmla="*/ 130968 w 1059656"/>
                    <a:gd name="connsiteY56" fmla="*/ 473869 h 564357"/>
                    <a:gd name="connsiteX57" fmla="*/ 95250 w 1059656"/>
                    <a:gd name="connsiteY57" fmla="*/ 488157 h 564357"/>
                    <a:gd name="connsiteX58" fmla="*/ 71437 w 1059656"/>
                    <a:gd name="connsiteY58" fmla="*/ 492919 h 564357"/>
                    <a:gd name="connsiteX59" fmla="*/ 50006 w 1059656"/>
                    <a:gd name="connsiteY59" fmla="*/ 504825 h 564357"/>
                    <a:gd name="connsiteX60" fmla="*/ 30956 w 1059656"/>
                    <a:gd name="connsiteY60" fmla="*/ 521494 h 564357"/>
                    <a:gd name="connsiteX61" fmla="*/ 7143 w 1059656"/>
                    <a:gd name="connsiteY61" fmla="*/ 528638 h 564357"/>
                    <a:gd name="connsiteX62" fmla="*/ 0 w 1059656"/>
                    <a:gd name="connsiteY62" fmla="*/ 533400 h 564357"/>
                    <a:gd name="connsiteX63" fmla="*/ 38100 w 1059656"/>
                    <a:gd name="connsiteY63" fmla="*/ 561975 h 564357"/>
                    <a:gd name="connsiteX64" fmla="*/ 80962 w 1059656"/>
                    <a:gd name="connsiteY64" fmla="*/ 559594 h 564357"/>
                    <a:gd name="connsiteX65" fmla="*/ 116681 w 1059656"/>
                    <a:gd name="connsiteY65" fmla="*/ 526257 h 564357"/>
                    <a:gd name="connsiteX66" fmla="*/ 171450 w 1059656"/>
                    <a:gd name="connsiteY66" fmla="*/ 500063 h 564357"/>
                    <a:gd name="connsiteX67" fmla="*/ 278606 w 1059656"/>
                    <a:gd name="connsiteY67" fmla="*/ 492919 h 564357"/>
                    <a:gd name="connsiteX68" fmla="*/ 292893 w 1059656"/>
                    <a:gd name="connsiteY68" fmla="*/ 481013 h 564357"/>
                    <a:gd name="connsiteX69" fmla="*/ 357187 w 1059656"/>
                    <a:gd name="connsiteY69" fmla="*/ 481013 h 564357"/>
                    <a:gd name="connsiteX70" fmla="*/ 433387 w 1059656"/>
                    <a:gd name="connsiteY70" fmla="*/ 388144 h 564357"/>
                    <a:gd name="connsiteX71" fmla="*/ 559593 w 1059656"/>
                    <a:gd name="connsiteY71" fmla="*/ 328613 h 564357"/>
                    <a:gd name="connsiteX72" fmla="*/ 619125 w 1059656"/>
                    <a:gd name="connsiteY72" fmla="*/ 321469 h 564357"/>
                    <a:gd name="connsiteX73" fmla="*/ 654843 w 1059656"/>
                    <a:gd name="connsiteY73" fmla="*/ 295275 h 564357"/>
                    <a:gd name="connsiteX74" fmla="*/ 716756 w 1059656"/>
                    <a:gd name="connsiteY74" fmla="*/ 292894 h 564357"/>
                    <a:gd name="connsiteX75" fmla="*/ 771525 w 1059656"/>
                    <a:gd name="connsiteY75" fmla="*/ 285750 h 564357"/>
                    <a:gd name="connsiteX76" fmla="*/ 781050 w 1059656"/>
                    <a:gd name="connsiteY76" fmla="*/ 323850 h 564357"/>
                    <a:gd name="connsiteX77" fmla="*/ 773906 w 1059656"/>
                    <a:gd name="connsiteY77" fmla="*/ 445294 h 564357"/>
                    <a:gd name="connsiteX78" fmla="*/ 707231 w 1059656"/>
                    <a:gd name="connsiteY78" fmla="*/ 461963 h 564357"/>
                    <a:gd name="connsiteX79" fmla="*/ 652461 w 1059656"/>
                    <a:gd name="connsiteY79" fmla="*/ 509587 h 564357"/>
                    <a:gd name="connsiteX80" fmla="*/ 654844 w 1059656"/>
                    <a:gd name="connsiteY80" fmla="*/ 528638 h 564357"/>
                    <a:gd name="connsiteX81" fmla="*/ 697706 w 1059656"/>
                    <a:gd name="connsiteY81" fmla="*/ 564357 h 564357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40581 w 1059656"/>
                    <a:gd name="connsiteY24" fmla="*/ 95250 h 564357"/>
                    <a:gd name="connsiteX25" fmla="*/ 835818 w 1059656"/>
                    <a:gd name="connsiteY25" fmla="*/ 52388 h 564357"/>
                    <a:gd name="connsiteX26" fmla="*/ 833437 w 1059656"/>
                    <a:gd name="connsiteY26" fmla="*/ 0 h 564357"/>
                    <a:gd name="connsiteX27" fmla="*/ 809625 w 1059656"/>
                    <a:gd name="connsiteY27" fmla="*/ 33338 h 564357"/>
                    <a:gd name="connsiteX28" fmla="*/ 797718 w 1059656"/>
                    <a:gd name="connsiteY28" fmla="*/ 50007 h 564357"/>
                    <a:gd name="connsiteX29" fmla="*/ 757237 w 1059656"/>
                    <a:gd name="connsiteY29" fmla="*/ 45244 h 564357"/>
                    <a:gd name="connsiteX30" fmla="*/ 735806 w 1059656"/>
                    <a:gd name="connsiteY30" fmla="*/ 50007 h 564357"/>
                    <a:gd name="connsiteX31" fmla="*/ 719137 w 1059656"/>
                    <a:gd name="connsiteY31" fmla="*/ 78582 h 564357"/>
                    <a:gd name="connsiteX32" fmla="*/ 723900 w 1059656"/>
                    <a:gd name="connsiteY32" fmla="*/ 97632 h 564357"/>
                    <a:gd name="connsiteX33" fmla="*/ 707231 w 1059656"/>
                    <a:gd name="connsiteY33" fmla="*/ 111919 h 564357"/>
                    <a:gd name="connsiteX34" fmla="*/ 631031 w 1059656"/>
                    <a:gd name="connsiteY34" fmla="*/ 114300 h 564357"/>
                    <a:gd name="connsiteX35" fmla="*/ 597693 w 1059656"/>
                    <a:gd name="connsiteY35" fmla="*/ 100013 h 564357"/>
                    <a:gd name="connsiteX36" fmla="*/ 569118 w 1059656"/>
                    <a:gd name="connsiteY36" fmla="*/ 71438 h 564357"/>
                    <a:gd name="connsiteX37" fmla="*/ 531018 w 1059656"/>
                    <a:gd name="connsiteY37" fmla="*/ 66675 h 564357"/>
                    <a:gd name="connsiteX38" fmla="*/ 497681 w 1059656"/>
                    <a:gd name="connsiteY38" fmla="*/ 90488 h 564357"/>
                    <a:gd name="connsiteX39" fmla="*/ 481012 w 1059656"/>
                    <a:gd name="connsiteY39" fmla="*/ 109538 h 564357"/>
                    <a:gd name="connsiteX40" fmla="*/ 466725 w 1059656"/>
                    <a:gd name="connsiteY40" fmla="*/ 126207 h 564357"/>
                    <a:gd name="connsiteX41" fmla="*/ 450056 w 1059656"/>
                    <a:gd name="connsiteY41" fmla="*/ 145257 h 564357"/>
                    <a:gd name="connsiteX42" fmla="*/ 454818 w 1059656"/>
                    <a:gd name="connsiteY42" fmla="*/ 171450 h 564357"/>
                    <a:gd name="connsiteX43" fmla="*/ 423862 w 1059656"/>
                    <a:gd name="connsiteY43" fmla="*/ 195263 h 564357"/>
                    <a:gd name="connsiteX44" fmla="*/ 371475 w 1059656"/>
                    <a:gd name="connsiteY44" fmla="*/ 204788 h 564357"/>
                    <a:gd name="connsiteX45" fmla="*/ 330993 w 1059656"/>
                    <a:gd name="connsiteY45" fmla="*/ 223838 h 564357"/>
                    <a:gd name="connsiteX46" fmla="*/ 321468 w 1059656"/>
                    <a:gd name="connsiteY46" fmla="*/ 261938 h 564357"/>
                    <a:gd name="connsiteX47" fmla="*/ 319087 w 1059656"/>
                    <a:gd name="connsiteY47" fmla="*/ 269082 h 564357"/>
                    <a:gd name="connsiteX48" fmla="*/ 266700 w 1059656"/>
                    <a:gd name="connsiteY48" fmla="*/ 285750 h 564357"/>
                    <a:gd name="connsiteX49" fmla="*/ 180975 w 1059656"/>
                    <a:gd name="connsiteY49" fmla="*/ 316707 h 564357"/>
                    <a:gd name="connsiteX50" fmla="*/ 157162 w 1059656"/>
                    <a:gd name="connsiteY50" fmla="*/ 309563 h 564357"/>
                    <a:gd name="connsiteX51" fmla="*/ 128587 w 1059656"/>
                    <a:gd name="connsiteY51" fmla="*/ 300038 h 564357"/>
                    <a:gd name="connsiteX52" fmla="*/ 130968 w 1059656"/>
                    <a:gd name="connsiteY52" fmla="*/ 359569 h 564357"/>
                    <a:gd name="connsiteX53" fmla="*/ 169068 w 1059656"/>
                    <a:gd name="connsiteY53" fmla="*/ 388144 h 564357"/>
                    <a:gd name="connsiteX54" fmla="*/ 185737 w 1059656"/>
                    <a:gd name="connsiteY54" fmla="*/ 411957 h 564357"/>
                    <a:gd name="connsiteX55" fmla="*/ 180975 w 1059656"/>
                    <a:gd name="connsiteY55" fmla="*/ 442913 h 564357"/>
                    <a:gd name="connsiteX56" fmla="*/ 173831 w 1059656"/>
                    <a:gd name="connsiteY56" fmla="*/ 471488 h 564357"/>
                    <a:gd name="connsiteX57" fmla="*/ 130968 w 1059656"/>
                    <a:gd name="connsiteY57" fmla="*/ 473869 h 564357"/>
                    <a:gd name="connsiteX58" fmla="*/ 95250 w 1059656"/>
                    <a:gd name="connsiteY58" fmla="*/ 488157 h 564357"/>
                    <a:gd name="connsiteX59" fmla="*/ 71437 w 1059656"/>
                    <a:gd name="connsiteY59" fmla="*/ 492919 h 564357"/>
                    <a:gd name="connsiteX60" fmla="*/ 50006 w 1059656"/>
                    <a:gd name="connsiteY60" fmla="*/ 504825 h 564357"/>
                    <a:gd name="connsiteX61" fmla="*/ 30956 w 1059656"/>
                    <a:gd name="connsiteY61" fmla="*/ 521494 h 564357"/>
                    <a:gd name="connsiteX62" fmla="*/ 7143 w 1059656"/>
                    <a:gd name="connsiteY62" fmla="*/ 528638 h 564357"/>
                    <a:gd name="connsiteX63" fmla="*/ 0 w 1059656"/>
                    <a:gd name="connsiteY63" fmla="*/ 533400 h 564357"/>
                    <a:gd name="connsiteX64" fmla="*/ 38100 w 1059656"/>
                    <a:gd name="connsiteY64" fmla="*/ 561975 h 564357"/>
                    <a:gd name="connsiteX65" fmla="*/ 80962 w 1059656"/>
                    <a:gd name="connsiteY65" fmla="*/ 559594 h 564357"/>
                    <a:gd name="connsiteX66" fmla="*/ 116681 w 1059656"/>
                    <a:gd name="connsiteY66" fmla="*/ 526257 h 564357"/>
                    <a:gd name="connsiteX67" fmla="*/ 171450 w 1059656"/>
                    <a:gd name="connsiteY67" fmla="*/ 500063 h 564357"/>
                    <a:gd name="connsiteX68" fmla="*/ 278606 w 1059656"/>
                    <a:gd name="connsiteY68" fmla="*/ 492919 h 564357"/>
                    <a:gd name="connsiteX69" fmla="*/ 292893 w 1059656"/>
                    <a:gd name="connsiteY69" fmla="*/ 481013 h 564357"/>
                    <a:gd name="connsiteX70" fmla="*/ 357187 w 1059656"/>
                    <a:gd name="connsiteY70" fmla="*/ 481013 h 564357"/>
                    <a:gd name="connsiteX71" fmla="*/ 433387 w 1059656"/>
                    <a:gd name="connsiteY71" fmla="*/ 388144 h 564357"/>
                    <a:gd name="connsiteX72" fmla="*/ 559593 w 1059656"/>
                    <a:gd name="connsiteY72" fmla="*/ 328613 h 564357"/>
                    <a:gd name="connsiteX73" fmla="*/ 619125 w 1059656"/>
                    <a:gd name="connsiteY73" fmla="*/ 321469 h 564357"/>
                    <a:gd name="connsiteX74" fmla="*/ 654843 w 1059656"/>
                    <a:gd name="connsiteY74" fmla="*/ 295275 h 564357"/>
                    <a:gd name="connsiteX75" fmla="*/ 716756 w 1059656"/>
                    <a:gd name="connsiteY75" fmla="*/ 292894 h 564357"/>
                    <a:gd name="connsiteX76" fmla="*/ 771525 w 1059656"/>
                    <a:gd name="connsiteY76" fmla="*/ 285750 h 564357"/>
                    <a:gd name="connsiteX77" fmla="*/ 781050 w 1059656"/>
                    <a:gd name="connsiteY77" fmla="*/ 323850 h 564357"/>
                    <a:gd name="connsiteX78" fmla="*/ 773906 w 1059656"/>
                    <a:gd name="connsiteY78" fmla="*/ 445294 h 564357"/>
                    <a:gd name="connsiteX79" fmla="*/ 707231 w 1059656"/>
                    <a:gd name="connsiteY79" fmla="*/ 461963 h 564357"/>
                    <a:gd name="connsiteX80" fmla="*/ 652461 w 1059656"/>
                    <a:gd name="connsiteY80" fmla="*/ 509587 h 564357"/>
                    <a:gd name="connsiteX81" fmla="*/ 654844 w 1059656"/>
                    <a:gd name="connsiteY81" fmla="*/ 528638 h 564357"/>
                    <a:gd name="connsiteX82" fmla="*/ 697706 w 1059656"/>
                    <a:gd name="connsiteY82" fmla="*/ 564357 h 564357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40581 w 1059656"/>
                    <a:gd name="connsiteY24" fmla="*/ 95250 h 564357"/>
                    <a:gd name="connsiteX25" fmla="*/ 857249 w 1059656"/>
                    <a:gd name="connsiteY25" fmla="*/ 28576 h 564357"/>
                    <a:gd name="connsiteX26" fmla="*/ 833437 w 1059656"/>
                    <a:gd name="connsiteY26" fmla="*/ 0 h 564357"/>
                    <a:gd name="connsiteX27" fmla="*/ 809625 w 1059656"/>
                    <a:gd name="connsiteY27" fmla="*/ 33338 h 564357"/>
                    <a:gd name="connsiteX28" fmla="*/ 797718 w 1059656"/>
                    <a:gd name="connsiteY28" fmla="*/ 50007 h 564357"/>
                    <a:gd name="connsiteX29" fmla="*/ 757237 w 1059656"/>
                    <a:gd name="connsiteY29" fmla="*/ 45244 h 564357"/>
                    <a:gd name="connsiteX30" fmla="*/ 735806 w 1059656"/>
                    <a:gd name="connsiteY30" fmla="*/ 50007 h 564357"/>
                    <a:gd name="connsiteX31" fmla="*/ 719137 w 1059656"/>
                    <a:gd name="connsiteY31" fmla="*/ 78582 h 564357"/>
                    <a:gd name="connsiteX32" fmla="*/ 723900 w 1059656"/>
                    <a:gd name="connsiteY32" fmla="*/ 97632 h 564357"/>
                    <a:gd name="connsiteX33" fmla="*/ 707231 w 1059656"/>
                    <a:gd name="connsiteY33" fmla="*/ 111919 h 564357"/>
                    <a:gd name="connsiteX34" fmla="*/ 631031 w 1059656"/>
                    <a:gd name="connsiteY34" fmla="*/ 114300 h 564357"/>
                    <a:gd name="connsiteX35" fmla="*/ 597693 w 1059656"/>
                    <a:gd name="connsiteY35" fmla="*/ 100013 h 564357"/>
                    <a:gd name="connsiteX36" fmla="*/ 569118 w 1059656"/>
                    <a:gd name="connsiteY36" fmla="*/ 71438 h 564357"/>
                    <a:gd name="connsiteX37" fmla="*/ 531018 w 1059656"/>
                    <a:gd name="connsiteY37" fmla="*/ 66675 h 564357"/>
                    <a:gd name="connsiteX38" fmla="*/ 497681 w 1059656"/>
                    <a:gd name="connsiteY38" fmla="*/ 90488 h 564357"/>
                    <a:gd name="connsiteX39" fmla="*/ 481012 w 1059656"/>
                    <a:gd name="connsiteY39" fmla="*/ 109538 h 564357"/>
                    <a:gd name="connsiteX40" fmla="*/ 466725 w 1059656"/>
                    <a:gd name="connsiteY40" fmla="*/ 126207 h 564357"/>
                    <a:gd name="connsiteX41" fmla="*/ 450056 w 1059656"/>
                    <a:gd name="connsiteY41" fmla="*/ 145257 h 564357"/>
                    <a:gd name="connsiteX42" fmla="*/ 454818 w 1059656"/>
                    <a:gd name="connsiteY42" fmla="*/ 171450 h 564357"/>
                    <a:gd name="connsiteX43" fmla="*/ 423862 w 1059656"/>
                    <a:gd name="connsiteY43" fmla="*/ 195263 h 564357"/>
                    <a:gd name="connsiteX44" fmla="*/ 371475 w 1059656"/>
                    <a:gd name="connsiteY44" fmla="*/ 204788 h 564357"/>
                    <a:gd name="connsiteX45" fmla="*/ 330993 w 1059656"/>
                    <a:gd name="connsiteY45" fmla="*/ 223838 h 564357"/>
                    <a:gd name="connsiteX46" fmla="*/ 321468 w 1059656"/>
                    <a:gd name="connsiteY46" fmla="*/ 261938 h 564357"/>
                    <a:gd name="connsiteX47" fmla="*/ 319087 w 1059656"/>
                    <a:gd name="connsiteY47" fmla="*/ 269082 h 564357"/>
                    <a:gd name="connsiteX48" fmla="*/ 266700 w 1059656"/>
                    <a:gd name="connsiteY48" fmla="*/ 285750 h 564357"/>
                    <a:gd name="connsiteX49" fmla="*/ 180975 w 1059656"/>
                    <a:gd name="connsiteY49" fmla="*/ 316707 h 564357"/>
                    <a:gd name="connsiteX50" fmla="*/ 157162 w 1059656"/>
                    <a:gd name="connsiteY50" fmla="*/ 309563 h 564357"/>
                    <a:gd name="connsiteX51" fmla="*/ 128587 w 1059656"/>
                    <a:gd name="connsiteY51" fmla="*/ 300038 h 564357"/>
                    <a:gd name="connsiteX52" fmla="*/ 130968 w 1059656"/>
                    <a:gd name="connsiteY52" fmla="*/ 359569 h 564357"/>
                    <a:gd name="connsiteX53" fmla="*/ 169068 w 1059656"/>
                    <a:gd name="connsiteY53" fmla="*/ 388144 h 564357"/>
                    <a:gd name="connsiteX54" fmla="*/ 185737 w 1059656"/>
                    <a:gd name="connsiteY54" fmla="*/ 411957 h 564357"/>
                    <a:gd name="connsiteX55" fmla="*/ 180975 w 1059656"/>
                    <a:gd name="connsiteY55" fmla="*/ 442913 h 564357"/>
                    <a:gd name="connsiteX56" fmla="*/ 173831 w 1059656"/>
                    <a:gd name="connsiteY56" fmla="*/ 471488 h 564357"/>
                    <a:gd name="connsiteX57" fmla="*/ 130968 w 1059656"/>
                    <a:gd name="connsiteY57" fmla="*/ 473869 h 564357"/>
                    <a:gd name="connsiteX58" fmla="*/ 95250 w 1059656"/>
                    <a:gd name="connsiteY58" fmla="*/ 488157 h 564357"/>
                    <a:gd name="connsiteX59" fmla="*/ 71437 w 1059656"/>
                    <a:gd name="connsiteY59" fmla="*/ 492919 h 564357"/>
                    <a:gd name="connsiteX60" fmla="*/ 50006 w 1059656"/>
                    <a:gd name="connsiteY60" fmla="*/ 504825 h 564357"/>
                    <a:gd name="connsiteX61" fmla="*/ 30956 w 1059656"/>
                    <a:gd name="connsiteY61" fmla="*/ 521494 h 564357"/>
                    <a:gd name="connsiteX62" fmla="*/ 7143 w 1059656"/>
                    <a:gd name="connsiteY62" fmla="*/ 528638 h 564357"/>
                    <a:gd name="connsiteX63" fmla="*/ 0 w 1059656"/>
                    <a:gd name="connsiteY63" fmla="*/ 533400 h 564357"/>
                    <a:gd name="connsiteX64" fmla="*/ 38100 w 1059656"/>
                    <a:gd name="connsiteY64" fmla="*/ 561975 h 564357"/>
                    <a:gd name="connsiteX65" fmla="*/ 80962 w 1059656"/>
                    <a:gd name="connsiteY65" fmla="*/ 559594 h 564357"/>
                    <a:gd name="connsiteX66" fmla="*/ 116681 w 1059656"/>
                    <a:gd name="connsiteY66" fmla="*/ 526257 h 564357"/>
                    <a:gd name="connsiteX67" fmla="*/ 171450 w 1059656"/>
                    <a:gd name="connsiteY67" fmla="*/ 500063 h 564357"/>
                    <a:gd name="connsiteX68" fmla="*/ 278606 w 1059656"/>
                    <a:gd name="connsiteY68" fmla="*/ 492919 h 564357"/>
                    <a:gd name="connsiteX69" fmla="*/ 292893 w 1059656"/>
                    <a:gd name="connsiteY69" fmla="*/ 481013 h 564357"/>
                    <a:gd name="connsiteX70" fmla="*/ 357187 w 1059656"/>
                    <a:gd name="connsiteY70" fmla="*/ 481013 h 564357"/>
                    <a:gd name="connsiteX71" fmla="*/ 433387 w 1059656"/>
                    <a:gd name="connsiteY71" fmla="*/ 388144 h 564357"/>
                    <a:gd name="connsiteX72" fmla="*/ 559593 w 1059656"/>
                    <a:gd name="connsiteY72" fmla="*/ 328613 h 564357"/>
                    <a:gd name="connsiteX73" fmla="*/ 619125 w 1059656"/>
                    <a:gd name="connsiteY73" fmla="*/ 321469 h 564357"/>
                    <a:gd name="connsiteX74" fmla="*/ 654843 w 1059656"/>
                    <a:gd name="connsiteY74" fmla="*/ 295275 h 564357"/>
                    <a:gd name="connsiteX75" fmla="*/ 716756 w 1059656"/>
                    <a:gd name="connsiteY75" fmla="*/ 292894 h 564357"/>
                    <a:gd name="connsiteX76" fmla="*/ 771525 w 1059656"/>
                    <a:gd name="connsiteY76" fmla="*/ 285750 h 564357"/>
                    <a:gd name="connsiteX77" fmla="*/ 781050 w 1059656"/>
                    <a:gd name="connsiteY77" fmla="*/ 323850 h 564357"/>
                    <a:gd name="connsiteX78" fmla="*/ 773906 w 1059656"/>
                    <a:gd name="connsiteY78" fmla="*/ 445294 h 564357"/>
                    <a:gd name="connsiteX79" fmla="*/ 707231 w 1059656"/>
                    <a:gd name="connsiteY79" fmla="*/ 461963 h 564357"/>
                    <a:gd name="connsiteX80" fmla="*/ 652461 w 1059656"/>
                    <a:gd name="connsiteY80" fmla="*/ 509587 h 564357"/>
                    <a:gd name="connsiteX81" fmla="*/ 654844 w 1059656"/>
                    <a:gd name="connsiteY81" fmla="*/ 528638 h 564357"/>
                    <a:gd name="connsiteX82" fmla="*/ 697706 w 1059656"/>
                    <a:gd name="connsiteY82" fmla="*/ 564357 h 564357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40581 w 1059656"/>
                    <a:gd name="connsiteY24" fmla="*/ 95250 h 564357"/>
                    <a:gd name="connsiteX25" fmla="*/ 845343 w 1059656"/>
                    <a:gd name="connsiteY25" fmla="*/ 61913 h 564357"/>
                    <a:gd name="connsiteX26" fmla="*/ 857249 w 1059656"/>
                    <a:gd name="connsiteY26" fmla="*/ 28576 h 564357"/>
                    <a:gd name="connsiteX27" fmla="*/ 833437 w 1059656"/>
                    <a:gd name="connsiteY27" fmla="*/ 0 h 564357"/>
                    <a:gd name="connsiteX28" fmla="*/ 809625 w 1059656"/>
                    <a:gd name="connsiteY28" fmla="*/ 33338 h 564357"/>
                    <a:gd name="connsiteX29" fmla="*/ 797718 w 1059656"/>
                    <a:gd name="connsiteY29" fmla="*/ 50007 h 564357"/>
                    <a:gd name="connsiteX30" fmla="*/ 757237 w 1059656"/>
                    <a:gd name="connsiteY30" fmla="*/ 45244 h 564357"/>
                    <a:gd name="connsiteX31" fmla="*/ 735806 w 1059656"/>
                    <a:gd name="connsiteY31" fmla="*/ 50007 h 564357"/>
                    <a:gd name="connsiteX32" fmla="*/ 719137 w 1059656"/>
                    <a:gd name="connsiteY32" fmla="*/ 78582 h 564357"/>
                    <a:gd name="connsiteX33" fmla="*/ 723900 w 1059656"/>
                    <a:gd name="connsiteY33" fmla="*/ 97632 h 564357"/>
                    <a:gd name="connsiteX34" fmla="*/ 707231 w 1059656"/>
                    <a:gd name="connsiteY34" fmla="*/ 111919 h 564357"/>
                    <a:gd name="connsiteX35" fmla="*/ 631031 w 1059656"/>
                    <a:gd name="connsiteY35" fmla="*/ 114300 h 564357"/>
                    <a:gd name="connsiteX36" fmla="*/ 597693 w 1059656"/>
                    <a:gd name="connsiteY36" fmla="*/ 100013 h 564357"/>
                    <a:gd name="connsiteX37" fmla="*/ 569118 w 1059656"/>
                    <a:gd name="connsiteY37" fmla="*/ 71438 h 564357"/>
                    <a:gd name="connsiteX38" fmla="*/ 531018 w 1059656"/>
                    <a:gd name="connsiteY38" fmla="*/ 66675 h 564357"/>
                    <a:gd name="connsiteX39" fmla="*/ 497681 w 1059656"/>
                    <a:gd name="connsiteY39" fmla="*/ 90488 h 564357"/>
                    <a:gd name="connsiteX40" fmla="*/ 481012 w 1059656"/>
                    <a:gd name="connsiteY40" fmla="*/ 109538 h 564357"/>
                    <a:gd name="connsiteX41" fmla="*/ 466725 w 1059656"/>
                    <a:gd name="connsiteY41" fmla="*/ 126207 h 564357"/>
                    <a:gd name="connsiteX42" fmla="*/ 450056 w 1059656"/>
                    <a:gd name="connsiteY42" fmla="*/ 145257 h 564357"/>
                    <a:gd name="connsiteX43" fmla="*/ 454818 w 1059656"/>
                    <a:gd name="connsiteY43" fmla="*/ 171450 h 564357"/>
                    <a:gd name="connsiteX44" fmla="*/ 423862 w 1059656"/>
                    <a:gd name="connsiteY44" fmla="*/ 195263 h 564357"/>
                    <a:gd name="connsiteX45" fmla="*/ 371475 w 1059656"/>
                    <a:gd name="connsiteY45" fmla="*/ 204788 h 564357"/>
                    <a:gd name="connsiteX46" fmla="*/ 330993 w 1059656"/>
                    <a:gd name="connsiteY46" fmla="*/ 223838 h 564357"/>
                    <a:gd name="connsiteX47" fmla="*/ 321468 w 1059656"/>
                    <a:gd name="connsiteY47" fmla="*/ 261938 h 564357"/>
                    <a:gd name="connsiteX48" fmla="*/ 319087 w 1059656"/>
                    <a:gd name="connsiteY48" fmla="*/ 269082 h 564357"/>
                    <a:gd name="connsiteX49" fmla="*/ 266700 w 1059656"/>
                    <a:gd name="connsiteY49" fmla="*/ 285750 h 564357"/>
                    <a:gd name="connsiteX50" fmla="*/ 180975 w 1059656"/>
                    <a:gd name="connsiteY50" fmla="*/ 316707 h 564357"/>
                    <a:gd name="connsiteX51" fmla="*/ 157162 w 1059656"/>
                    <a:gd name="connsiteY51" fmla="*/ 309563 h 564357"/>
                    <a:gd name="connsiteX52" fmla="*/ 128587 w 1059656"/>
                    <a:gd name="connsiteY52" fmla="*/ 300038 h 564357"/>
                    <a:gd name="connsiteX53" fmla="*/ 130968 w 1059656"/>
                    <a:gd name="connsiteY53" fmla="*/ 359569 h 564357"/>
                    <a:gd name="connsiteX54" fmla="*/ 169068 w 1059656"/>
                    <a:gd name="connsiteY54" fmla="*/ 388144 h 564357"/>
                    <a:gd name="connsiteX55" fmla="*/ 185737 w 1059656"/>
                    <a:gd name="connsiteY55" fmla="*/ 411957 h 564357"/>
                    <a:gd name="connsiteX56" fmla="*/ 180975 w 1059656"/>
                    <a:gd name="connsiteY56" fmla="*/ 442913 h 564357"/>
                    <a:gd name="connsiteX57" fmla="*/ 173831 w 1059656"/>
                    <a:gd name="connsiteY57" fmla="*/ 471488 h 564357"/>
                    <a:gd name="connsiteX58" fmla="*/ 130968 w 1059656"/>
                    <a:gd name="connsiteY58" fmla="*/ 473869 h 564357"/>
                    <a:gd name="connsiteX59" fmla="*/ 95250 w 1059656"/>
                    <a:gd name="connsiteY59" fmla="*/ 488157 h 564357"/>
                    <a:gd name="connsiteX60" fmla="*/ 71437 w 1059656"/>
                    <a:gd name="connsiteY60" fmla="*/ 492919 h 564357"/>
                    <a:gd name="connsiteX61" fmla="*/ 50006 w 1059656"/>
                    <a:gd name="connsiteY61" fmla="*/ 504825 h 564357"/>
                    <a:gd name="connsiteX62" fmla="*/ 30956 w 1059656"/>
                    <a:gd name="connsiteY62" fmla="*/ 521494 h 564357"/>
                    <a:gd name="connsiteX63" fmla="*/ 7143 w 1059656"/>
                    <a:gd name="connsiteY63" fmla="*/ 528638 h 564357"/>
                    <a:gd name="connsiteX64" fmla="*/ 0 w 1059656"/>
                    <a:gd name="connsiteY64" fmla="*/ 533400 h 564357"/>
                    <a:gd name="connsiteX65" fmla="*/ 38100 w 1059656"/>
                    <a:gd name="connsiteY65" fmla="*/ 561975 h 564357"/>
                    <a:gd name="connsiteX66" fmla="*/ 80962 w 1059656"/>
                    <a:gd name="connsiteY66" fmla="*/ 559594 h 564357"/>
                    <a:gd name="connsiteX67" fmla="*/ 116681 w 1059656"/>
                    <a:gd name="connsiteY67" fmla="*/ 526257 h 564357"/>
                    <a:gd name="connsiteX68" fmla="*/ 171450 w 1059656"/>
                    <a:gd name="connsiteY68" fmla="*/ 500063 h 564357"/>
                    <a:gd name="connsiteX69" fmla="*/ 278606 w 1059656"/>
                    <a:gd name="connsiteY69" fmla="*/ 492919 h 564357"/>
                    <a:gd name="connsiteX70" fmla="*/ 292893 w 1059656"/>
                    <a:gd name="connsiteY70" fmla="*/ 481013 h 564357"/>
                    <a:gd name="connsiteX71" fmla="*/ 357187 w 1059656"/>
                    <a:gd name="connsiteY71" fmla="*/ 481013 h 564357"/>
                    <a:gd name="connsiteX72" fmla="*/ 433387 w 1059656"/>
                    <a:gd name="connsiteY72" fmla="*/ 388144 h 564357"/>
                    <a:gd name="connsiteX73" fmla="*/ 559593 w 1059656"/>
                    <a:gd name="connsiteY73" fmla="*/ 328613 h 564357"/>
                    <a:gd name="connsiteX74" fmla="*/ 619125 w 1059656"/>
                    <a:gd name="connsiteY74" fmla="*/ 321469 h 564357"/>
                    <a:gd name="connsiteX75" fmla="*/ 654843 w 1059656"/>
                    <a:gd name="connsiteY75" fmla="*/ 295275 h 564357"/>
                    <a:gd name="connsiteX76" fmla="*/ 716756 w 1059656"/>
                    <a:gd name="connsiteY76" fmla="*/ 292894 h 564357"/>
                    <a:gd name="connsiteX77" fmla="*/ 771525 w 1059656"/>
                    <a:gd name="connsiteY77" fmla="*/ 285750 h 564357"/>
                    <a:gd name="connsiteX78" fmla="*/ 781050 w 1059656"/>
                    <a:gd name="connsiteY78" fmla="*/ 323850 h 564357"/>
                    <a:gd name="connsiteX79" fmla="*/ 773906 w 1059656"/>
                    <a:gd name="connsiteY79" fmla="*/ 445294 h 564357"/>
                    <a:gd name="connsiteX80" fmla="*/ 707231 w 1059656"/>
                    <a:gd name="connsiteY80" fmla="*/ 461963 h 564357"/>
                    <a:gd name="connsiteX81" fmla="*/ 652461 w 1059656"/>
                    <a:gd name="connsiteY81" fmla="*/ 509587 h 564357"/>
                    <a:gd name="connsiteX82" fmla="*/ 654844 w 1059656"/>
                    <a:gd name="connsiteY82" fmla="*/ 528638 h 564357"/>
                    <a:gd name="connsiteX83" fmla="*/ 697706 w 1059656"/>
                    <a:gd name="connsiteY83" fmla="*/ 564357 h 564357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40581 w 1059656"/>
                    <a:gd name="connsiteY24" fmla="*/ 95250 h 564357"/>
                    <a:gd name="connsiteX25" fmla="*/ 859630 w 1059656"/>
                    <a:gd name="connsiteY25" fmla="*/ 66676 h 564357"/>
                    <a:gd name="connsiteX26" fmla="*/ 857249 w 1059656"/>
                    <a:gd name="connsiteY26" fmla="*/ 28576 h 564357"/>
                    <a:gd name="connsiteX27" fmla="*/ 833437 w 1059656"/>
                    <a:gd name="connsiteY27" fmla="*/ 0 h 564357"/>
                    <a:gd name="connsiteX28" fmla="*/ 809625 w 1059656"/>
                    <a:gd name="connsiteY28" fmla="*/ 33338 h 564357"/>
                    <a:gd name="connsiteX29" fmla="*/ 797718 w 1059656"/>
                    <a:gd name="connsiteY29" fmla="*/ 50007 h 564357"/>
                    <a:gd name="connsiteX30" fmla="*/ 757237 w 1059656"/>
                    <a:gd name="connsiteY30" fmla="*/ 45244 h 564357"/>
                    <a:gd name="connsiteX31" fmla="*/ 735806 w 1059656"/>
                    <a:gd name="connsiteY31" fmla="*/ 50007 h 564357"/>
                    <a:gd name="connsiteX32" fmla="*/ 719137 w 1059656"/>
                    <a:gd name="connsiteY32" fmla="*/ 78582 h 564357"/>
                    <a:gd name="connsiteX33" fmla="*/ 723900 w 1059656"/>
                    <a:gd name="connsiteY33" fmla="*/ 97632 h 564357"/>
                    <a:gd name="connsiteX34" fmla="*/ 707231 w 1059656"/>
                    <a:gd name="connsiteY34" fmla="*/ 111919 h 564357"/>
                    <a:gd name="connsiteX35" fmla="*/ 631031 w 1059656"/>
                    <a:gd name="connsiteY35" fmla="*/ 114300 h 564357"/>
                    <a:gd name="connsiteX36" fmla="*/ 597693 w 1059656"/>
                    <a:gd name="connsiteY36" fmla="*/ 100013 h 564357"/>
                    <a:gd name="connsiteX37" fmla="*/ 569118 w 1059656"/>
                    <a:gd name="connsiteY37" fmla="*/ 71438 h 564357"/>
                    <a:gd name="connsiteX38" fmla="*/ 531018 w 1059656"/>
                    <a:gd name="connsiteY38" fmla="*/ 66675 h 564357"/>
                    <a:gd name="connsiteX39" fmla="*/ 497681 w 1059656"/>
                    <a:gd name="connsiteY39" fmla="*/ 90488 h 564357"/>
                    <a:gd name="connsiteX40" fmla="*/ 481012 w 1059656"/>
                    <a:gd name="connsiteY40" fmla="*/ 109538 h 564357"/>
                    <a:gd name="connsiteX41" fmla="*/ 466725 w 1059656"/>
                    <a:gd name="connsiteY41" fmla="*/ 126207 h 564357"/>
                    <a:gd name="connsiteX42" fmla="*/ 450056 w 1059656"/>
                    <a:gd name="connsiteY42" fmla="*/ 145257 h 564357"/>
                    <a:gd name="connsiteX43" fmla="*/ 454818 w 1059656"/>
                    <a:gd name="connsiteY43" fmla="*/ 171450 h 564357"/>
                    <a:gd name="connsiteX44" fmla="*/ 423862 w 1059656"/>
                    <a:gd name="connsiteY44" fmla="*/ 195263 h 564357"/>
                    <a:gd name="connsiteX45" fmla="*/ 371475 w 1059656"/>
                    <a:gd name="connsiteY45" fmla="*/ 204788 h 564357"/>
                    <a:gd name="connsiteX46" fmla="*/ 330993 w 1059656"/>
                    <a:gd name="connsiteY46" fmla="*/ 223838 h 564357"/>
                    <a:gd name="connsiteX47" fmla="*/ 321468 w 1059656"/>
                    <a:gd name="connsiteY47" fmla="*/ 261938 h 564357"/>
                    <a:gd name="connsiteX48" fmla="*/ 319087 w 1059656"/>
                    <a:gd name="connsiteY48" fmla="*/ 269082 h 564357"/>
                    <a:gd name="connsiteX49" fmla="*/ 266700 w 1059656"/>
                    <a:gd name="connsiteY49" fmla="*/ 285750 h 564357"/>
                    <a:gd name="connsiteX50" fmla="*/ 180975 w 1059656"/>
                    <a:gd name="connsiteY50" fmla="*/ 316707 h 564357"/>
                    <a:gd name="connsiteX51" fmla="*/ 157162 w 1059656"/>
                    <a:gd name="connsiteY51" fmla="*/ 309563 h 564357"/>
                    <a:gd name="connsiteX52" fmla="*/ 128587 w 1059656"/>
                    <a:gd name="connsiteY52" fmla="*/ 300038 h 564357"/>
                    <a:gd name="connsiteX53" fmla="*/ 130968 w 1059656"/>
                    <a:gd name="connsiteY53" fmla="*/ 359569 h 564357"/>
                    <a:gd name="connsiteX54" fmla="*/ 169068 w 1059656"/>
                    <a:gd name="connsiteY54" fmla="*/ 388144 h 564357"/>
                    <a:gd name="connsiteX55" fmla="*/ 185737 w 1059656"/>
                    <a:gd name="connsiteY55" fmla="*/ 411957 h 564357"/>
                    <a:gd name="connsiteX56" fmla="*/ 180975 w 1059656"/>
                    <a:gd name="connsiteY56" fmla="*/ 442913 h 564357"/>
                    <a:gd name="connsiteX57" fmla="*/ 173831 w 1059656"/>
                    <a:gd name="connsiteY57" fmla="*/ 471488 h 564357"/>
                    <a:gd name="connsiteX58" fmla="*/ 130968 w 1059656"/>
                    <a:gd name="connsiteY58" fmla="*/ 473869 h 564357"/>
                    <a:gd name="connsiteX59" fmla="*/ 95250 w 1059656"/>
                    <a:gd name="connsiteY59" fmla="*/ 488157 h 564357"/>
                    <a:gd name="connsiteX60" fmla="*/ 71437 w 1059656"/>
                    <a:gd name="connsiteY60" fmla="*/ 492919 h 564357"/>
                    <a:gd name="connsiteX61" fmla="*/ 50006 w 1059656"/>
                    <a:gd name="connsiteY61" fmla="*/ 504825 h 564357"/>
                    <a:gd name="connsiteX62" fmla="*/ 30956 w 1059656"/>
                    <a:gd name="connsiteY62" fmla="*/ 521494 h 564357"/>
                    <a:gd name="connsiteX63" fmla="*/ 7143 w 1059656"/>
                    <a:gd name="connsiteY63" fmla="*/ 528638 h 564357"/>
                    <a:gd name="connsiteX64" fmla="*/ 0 w 1059656"/>
                    <a:gd name="connsiteY64" fmla="*/ 533400 h 564357"/>
                    <a:gd name="connsiteX65" fmla="*/ 38100 w 1059656"/>
                    <a:gd name="connsiteY65" fmla="*/ 561975 h 564357"/>
                    <a:gd name="connsiteX66" fmla="*/ 80962 w 1059656"/>
                    <a:gd name="connsiteY66" fmla="*/ 559594 h 564357"/>
                    <a:gd name="connsiteX67" fmla="*/ 116681 w 1059656"/>
                    <a:gd name="connsiteY67" fmla="*/ 526257 h 564357"/>
                    <a:gd name="connsiteX68" fmla="*/ 171450 w 1059656"/>
                    <a:gd name="connsiteY68" fmla="*/ 500063 h 564357"/>
                    <a:gd name="connsiteX69" fmla="*/ 278606 w 1059656"/>
                    <a:gd name="connsiteY69" fmla="*/ 492919 h 564357"/>
                    <a:gd name="connsiteX70" fmla="*/ 292893 w 1059656"/>
                    <a:gd name="connsiteY70" fmla="*/ 481013 h 564357"/>
                    <a:gd name="connsiteX71" fmla="*/ 357187 w 1059656"/>
                    <a:gd name="connsiteY71" fmla="*/ 481013 h 564357"/>
                    <a:gd name="connsiteX72" fmla="*/ 433387 w 1059656"/>
                    <a:gd name="connsiteY72" fmla="*/ 388144 h 564357"/>
                    <a:gd name="connsiteX73" fmla="*/ 559593 w 1059656"/>
                    <a:gd name="connsiteY73" fmla="*/ 328613 h 564357"/>
                    <a:gd name="connsiteX74" fmla="*/ 619125 w 1059656"/>
                    <a:gd name="connsiteY74" fmla="*/ 321469 h 564357"/>
                    <a:gd name="connsiteX75" fmla="*/ 654843 w 1059656"/>
                    <a:gd name="connsiteY75" fmla="*/ 295275 h 564357"/>
                    <a:gd name="connsiteX76" fmla="*/ 716756 w 1059656"/>
                    <a:gd name="connsiteY76" fmla="*/ 292894 h 564357"/>
                    <a:gd name="connsiteX77" fmla="*/ 771525 w 1059656"/>
                    <a:gd name="connsiteY77" fmla="*/ 285750 h 564357"/>
                    <a:gd name="connsiteX78" fmla="*/ 781050 w 1059656"/>
                    <a:gd name="connsiteY78" fmla="*/ 323850 h 564357"/>
                    <a:gd name="connsiteX79" fmla="*/ 773906 w 1059656"/>
                    <a:gd name="connsiteY79" fmla="*/ 445294 h 564357"/>
                    <a:gd name="connsiteX80" fmla="*/ 707231 w 1059656"/>
                    <a:gd name="connsiteY80" fmla="*/ 461963 h 564357"/>
                    <a:gd name="connsiteX81" fmla="*/ 652461 w 1059656"/>
                    <a:gd name="connsiteY81" fmla="*/ 509587 h 564357"/>
                    <a:gd name="connsiteX82" fmla="*/ 654844 w 1059656"/>
                    <a:gd name="connsiteY82" fmla="*/ 528638 h 564357"/>
                    <a:gd name="connsiteX83" fmla="*/ 697706 w 1059656"/>
                    <a:gd name="connsiteY83" fmla="*/ 564357 h 564357"/>
                    <a:gd name="connsiteX0" fmla="*/ 697706 w 1059656"/>
                    <a:gd name="connsiteY0" fmla="*/ 564357 h 564357"/>
                    <a:gd name="connsiteX1" fmla="*/ 778668 w 1059656"/>
                    <a:gd name="connsiteY1" fmla="*/ 492919 h 564357"/>
                    <a:gd name="connsiteX2" fmla="*/ 816768 w 1059656"/>
                    <a:gd name="connsiteY2" fmla="*/ 473869 h 564357"/>
                    <a:gd name="connsiteX3" fmla="*/ 852487 w 1059656"/>
                    <a:gd name="connsiteY3" fmla="*/ 471488 h 564357"/>
                    <a:gd name="connsiteX4" fmla="*/ 916781 w 1059656"/>
                    <a:gd name="connsiteY4" fmla="*/ 457200 h 564357"/>
                    <a:gd name="connsiteX5" fmla="*/ 950118 w 1059656"/>
                    <a:gd name="connsiteY5" fmla="*/ 459582 h 564357"/>
                    <a:gd name="connsiteX6" fmla="*/ 988218 w 1059656"/>
                    <a:gd name="connsiteY6" fmla="*/ 476250 h 564357"/>
                    <a:gd name="connsiteX7" fmla="*/ 1019175 w 1059656"/>
                    <a:gd name="connsiteY7" fmla="*/ 445294 h 564357"/>
                    <a:gd name="connsiteX8" fmla="*/ 992981 w 1059656"/>
                    <a:gd name="connsiteY8" fmla="*/ 414338 h 564357"/>
                    <a:gd name="connsiteX9" fmla="*/ 988218 w 1059656"/>
                    <a:gd name="connsiteY9" fmla="*/ 383382 h 564357"/>
                    <a:gd name="connsiteX10" fmla="*/ 995362 w 1059656"/>
                    <a:gd name="connsiteY10" fmla="*/ 345282 h 564357"/>
                    <a:gd name="connsiteX11" fmla="*/ 1023937 w 1059656"/>
                    <a:gd name="connsiteY11" fmla="*/ 304800 h 564357"/>
                    <a:gd name="connsiteX12" fmla="*/ 1052512 w 1059656"/>
                    <a:gd name="connsiteY12" fmla="*/ 295275 h 564357"/>
                    <a:gd name="connsiteX13" fmla="*/ 1059656 w 1059656"/>
                    <a:gd name="connsiteY13" fmla="*/ 266700 h 564357"/>
                    <a:gd name="connsiteX14" fmla="*/ 1047750 w 1059656"/>
                    <a:gd name="connsiteY14" fmla="*/ 238125 h 564357"/>
                    <a:gd name="connsiteX15" fmla="*/ 1019175 w 1059656"/>
                    <a:gd name="connsiteY15" fmla="*/ 228600 h 564357"/>
                    <a:gd name="connsiteX16" fmla="*/ 992981 w 1059656"/>
                    <a:gd name="connsiteY16" fmla="*/ 235744 h 564357"/>
                    <a:gd name="connsiteX17" fmla="*/ 935831 w 1059656"/>
                    <a:gd name="connsiteY17" fmla="*/ 254794 h 564357"/>
                    <a:gd name="connsiteX18" fmla="*/ 900112 w 1059656"/>
                    <a:gd name="connsiteY18" fmla="*/ 259557 h 564357"/>
                    <a:gd name="connsiteX19" fmla="*/ 878681 w 1059656"/>
                    <a:gd name="connsiteY19" fmla="*/ 242888 h 564357"/>
                    <a:gd name="connsiteX20" fmla="*/ 873918 w 1059656"/>
                    <a:gd name="connsiteY20" fmla="*/ 228600 h 564357"/>
                    <a:gd name="connsiteX21" fmla="*/ 881062 w 1059656"/>
                    <a:gd name="connsiteY21" fmla="*/ 185738 h 564357"/>
                    <a:gd name="connsiteX22" fmla="*/ 888206 w 1059656"/>
                    <a:gd name="connsiteY22" fmla="*/ 150019 h 564357"/>
                    <a:gd name="connsiteX23" fmla="*/ 871537 w 1059656"/>
                    <a:gd name="connsiteY23" fmla="*/ 111919 h 564357"/>
                    <a:gd name="connsiteX24" fmla="*/ 852488 w 1059656"/>
                    <a:gd name="connsiteY24" fmla="*/ 92869 h 564357"/>
                    <a:gd name="connsiteX25" fmla="*/ 859630 w 1059656"/>
                    <a:gd name="connsiteY25" fmla="*/ 66676 h 564357"/>
                    <a:gd name="connsiteX26" fmla="*/ 857249 w 1059656"/>
                    <a:gd name="connsiteY26" fmla="*/ 28576 h 564357"/>
                    <a:gd name="connsiteX27" fmla="*/ 833437 w 1059656"/>
                    <a:gd name="connsiteY27" fmla="*/ 0 h 564357"/>
                    <a:gd name="connsiteX28" fmla="*/ 809625 w 1059656"/>
                    <a:gd name="connsiteY28" fmla="*/ 33338 h 564357"/>
                    <a:gd name="connsiteX29" fmla="*/ 797718 w 1059656"/>
                    <a:gd name="connsiteY29" fmla="*/ 50007 h 564357"/>
                    <a:gd name="connsiteX30" fmla="*/ 757237 w 1059656"/>
                    <a:gd name="connsiteY30" fmla="*/ 45244 h 564357"/>
                    <a:gd name="connsiteX31" fmla="*/ 735806 w 1059656"/>
                    <a:gd name="connsiteY31" fmla="*/ 50007 h 564357"/>
                    <a:gd name="connsiteX32" fmla="*/ 719137 w 1059656"/>
                    <a:gd name="connsiteY32" fmla="*/ 78582 h 564357"/>
                    <a:gd name="connsiteX33" fmla="*/ 723900 w 1059656"/>
                    <a:gd name="connsiteY33" fmla="*/ 97632 h 564357"/>
                    <a:gd name="connsiteX34" fmla="*/ 707231 w 1059656"/>
                    <a:gd name="connsiteY34" fmla="*/ 111919 h 564357"/>
                    <a:gd name="connsiteX35" fmla="*/ 631031 w 1059656"/>
                    <a:gd name="connsiteY35" fmla="*/ 114300 h 564357"/>
                    <a:gd name="connsiteX36" fmla="*/ 597693 w 1059656"/>
                    <a:gd name="connsiteY36" fmla="*/ 100013 h 564357"/>
                    <a:gd name="connsiteX37" fmla="*/ 569118 w 1059656"/>
                    <a:gd name="connsiteY37" fmla="*/ 71438 h 564357"/>
                    <a:gd name="connsiteX38" fmla="*/ 531018 w 1059656"/>
                    <a:gd name="connsiteY38" fmla="*/ 66675 h 564357"/>
                    <a:gd name="connsiteX39" fmla="*/ 497681 w 1059656"/>
                    <a:gd name="connsiteY39" fmla="*/ 90488 h 564357"/>
                    <a:gd name="connsiteX40" fmla="*/ 481012 w 1059656"/>
                    <a:gd name="connsiteY40" fmla="*/ 109538 h 564357"/>
                    <a:gd name="connsiteX41" fmla="*/ 466725 w 1059656"/>
                    <a:gd name="connsiteY41" fmla="*/ 126207 h 564357"/>
                    <a:gd name="connsiteX42" fmla="*/ 450056 w 1059656"/>
                    <a:gd name="connsiteY42" fmla="*/ 145257 h 564357"/>
                    <a:gd name="connsiteX43" fmla="*/ 454818 w 1059656"/>
                    <a:gd name="connsiteY43" fmla="*/ 171450 h 564357"/>
                    <a:gd name="connsiteX44" fmla="*/ 423862 w 1059656"/>
                    <a:gd name="connsiteY44" fmla="*/ 195263 h 564357"/>
                    <a:gd name="connsiteX45" fmla="*/ 371475 w 1059656"/>
                    <a:gd name="connsiteY45" fmla="*/ 204788 h 564357"/>
                    <a:gd name="connsiteX46" fmla="*/ 330993 w 1059656"/>
                    <a:gd name="connsiteY46" fmla="*/ 223838 h 564357"/>
                    <a:gd name="connsiteX47" fmla="*/ 321468 w 1059656"/>
                    <a:gd name="connsiteY47" fmla="*/ 261938 h 564357"/>
                    <a:gd name="connsiteX48" fmla="*/ 319087 w 1059656"/>
                    <a:gd name="connsiteY48" fmla="*/ 269082 h 564357"/>
                    <a:gd name="connsiteX49" fmla="*/ 266700 w 1059656"/>
                    <a:gd name="connsiteY49" fmla="*/ 285750 h 564357"/>
                    <a:gd name="connsiteX50" fmla="*/ 180975 w 1059656"/>
                    <a:gd name="connsiteY50" fmla="*/ 316707 h 564357"/>
                    <a:gd name="connsiteX51" fmla="*/ 157162 w 1059656"/>
                    <a:gd name="connsiteY51" fmla="*/ 309563 h 564357"/>
                    <a:gd name="connsiteX52" fmla="*/ 128587 w 1059656"/>
                    <a:gd name="connsiteY52" fmla="*/ 300038 h 564357"/>
                    <a:gd name="connsiteX53" fmla="*/ 130968 w 1059656"/>
                    <a:gd name="connsiteY53" fmla="*/ 359569 h 564357"/>
                    <a:gd name="connsiteX54" fmla="*/ 169068 w 1059656"/>
                    <a:gd name="connsiteY54" fmla="*/ 388144 h 564357"/>
                    <a:gd name="connsiteX55" fmla="*/ 185737 w 1059656"/>
                    <a:gd name="connsiteY55" fmla="*/ 411957 h 564357"/>
                    <a:gd name="connsiteX56" fmla="*/ 180975 w 1059656"/>
                    <a:gd name="connsiteY56" fmla="*/ 442913 h 564357"/>
                    <a:gd name="connsiteX57" fmla="*/ 173831 w 1059656"/>
                    <a:gd name="connsiteY57" fmla="*/ 471488 h 564357"/>
                    <a:gd name="connsiteX58" fmla="*/ 130968 w 1059656"/>
                    <a:gd name="connsiteY58" fmla="*/ 473869 h 564357"/>
                    <a:gd name="connsiteX59" fmla="*/ 95250 w 1059656"/>
                    <a:gd name="connsiteY59" fmla="*/ 488157 h 564357"/>
                    <a:gd name="connsiteX60" fmla="*/ 71437 w 1059656"/>
                    <a:gd name="connsiteY60" fmla="*/ 492919 h 564357"/>
                    <a:gd name="connsiteX61" fmla="*/ 50006 w 1059656"/>
                    <a:gd name="connsiteY61" fmla="*/ 504825 h 564357"/>
                    <a:gd name="connsiteX62" fmla="*/ 30956 w 1059656"/>
                    <a:gd name="connsiteY62" fmla="*/ 521494 h 564357"/>
                    <a:gd name="connsiteX63" fmla="*/ 7143 w 1059656"/>
                    <a:gd name="connsiteY63" fmla="*/ 528638 h 564357"/>
                    <a:gd name="connsiteX64" fmla="*/ 0 w 1059656"/>
                    <a:gd name="connsiteY64" fmla="*/ 533400 h 564357"/>
                    <a:gd name="connsiteX65" fmla="*/ 38100 w 1059656"/>
                    <a:gd name="connsiteY65" fmla="*/ 561975 h 564357"/>
                    <a:gd name="connsiteX66" fmla="*/ 80962 w 1059656"/>
                    <a:gd name="connsiteY66" fmla="*/ 559594 h 564357"/>
                    <a:gd name="connsiteX67" fmla="*/ 116681 w 1059656"/>
                    <a:gd name="connsiteY67" fmla="*/ 526257 h 564357"/>
                    <a:gd name="connsiteX68" fmla="*/ 171450 w 1059656"/>
                    <a:gd name="connsiteY68" fmla="*/ 500063 h 564357"/>
                    <a:gd name="connsiteX69" fmla="*/ 278606 w 1059656"/>
                    <a:gd name="connsiteY69" fmla="*/ 492919 h 564357"/>
                    <a:gd name="connsiteX70" fmla="*/ 292893 w 1059656"/>
                    <a:gd name="connsiteY70" fmla="*/ 481013 h 564357"/>
                    <a:gd name="connsiteX71" fmla="*/ 357187 w 1059656"/>
                    <a:gd name="connsiteY71" fmla="*/ 481013 h 564357"/>
                    <a:gd name="connsiteX72" fmla="*/ 433387 w 1059656"/>
                    <a:gd name="connsiteY72" fmla="*/ 388144 h 564357"/>
                    <a:gd name="connsiteX73" fmla="*/ 559593 w 1059656"/>
                    <a:gd name="connsiteY73" fmla="*/ 328613 h 564357"/>
                    <a:gd name="connsiteX74" fmla="*/ 619125 w 1059656"/>
                    <a:gd name="connsiteY74" fmla="*/ 321469 h 564357"/>
                    <a:gd name="connsiteX75" fmla="*/ 654843 w 1059656"/>
                    <a:gd name="connsiteY75" fmla="*/ 295275 h 564357"/>
                    <a:gd name="connsiteX76" fmla="*/ 716756 w 1059656"/>
                    <a:gd name="connsiteY76" fmla="*/ 292894 h 564357"/>
                    <a:gd name="connsiteX77" fmla="*/ 771525 w 1059656"/>
                    <a:gd name="connsiteY77" fmla="*/ 285750 h 564357"/>
                    <a:gd name="connsiteX78" fmla="*/ 781050 w 1059656"/>
                    <a:gd name="connsiteY78" fmla="*/ 323850 h 564357"/>
                    <a:gd name="connsiteX79" fmla="*/ 773906 w 1059656"/>
                    <a:gd name="connsiteY79" fmla="*/ 445294 h 564357"/>
                    <a:gd name="connsiteX80" fmla="*/ 707231 w 1059656"/>
                    <a:gd name="connsiteY80" fmla="*/ 461963 h 564357"/>
                    <a:gd name="connsiteX81" fmla="*/ 652461 w 1059656"/>
                    <a:gd name="connsiteY81" fmla="*/ 509587 h 564357"/>
                    <a:gd name="connsiteX82" fmla="*/ 654844 w 1059656"/>
                    <a:gd name="connsiteY82" fmla="*/ 528638 h 564357"/>
                    <a:gd name="connsiteX83" fmla="*/ 697706 w 1059656"/>
                    <a:gd name="connsiteY83" fmla="*/ 564357 h 564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1059656" h="564357">
                      <a:moveTo>
                        <a:pt x="697706" y="564357"/>
                      </a:moveTo>
                      <a:lnTo>
                        <a:pt x="778668" y="492919"/>
                      </a:lnTo>
                      <a:lnTo>
                        <a:pt x="816768" y="473869"/>
                      </a:lnTo>
                      <a:lnTo>
                        <a:pt x="852487" y="471488"/>
                      </a:lnTo>
                      <a:lnTo>
                        <a:pt x="916781" y="457200"/>
                      </a:lnTo>
                      <a:lnTo>
                        <a:pt x="950118" y="459582"/>
                      </a:lnTo>
                      <a:lnTo>
                        <a:pt x="988218" y="476250"/>
                      </a:lnTo>
                      <a:lnTo>
                        <a:pt x="1019175" y="445294"/>
                      </a:lnTo>
                      <a:lnTo>
                        <a:pt x="992981" y="414338"/>
                      </a:lnTo>
                      <a:lnTo>
                        <a:pt x="988218" y="383382"/>
                      </a:lnTo>
                      <a:lnTo>
                        <a:pt x="995362" y="345282"/>
                      </a:lnTo>
                      <a:lnTo>
                        <a:pt x="1023937" y="304800"/>
                      </a:lnTo>
                      <a:lnTo>
                        <a:pt x="1052512" y="295275"/>
                      </a:lnTo>
                      <a:lnTo>
                        <a:pt x="1059656" y="266700"/>
                      </a:lnTo>
                      <a:lnTo>
                        <a:pt x="1047750" y="238125"/>
                      </a:lnTo>
                      <a:lnTo>
                        <a:pt x="1019175" y="228600"/>
                      </a:lnTo>
                      <a:lnTo>
                        <a:pt x="992981" y="235744"/>
                      </a:lnTo>
                      <a:lnTo>
                        <a:pt x="935831" y="254794"/>
                      </a:lnTo>
                      <a:lnTo>
                        <a:pt x="900112" y="259557"/>
                      </a:lnTo>
                      <a:lnTo>
                        <a:pt x="878681" y="242888"/>
                      </a:lnTo>
                      <a:lnTo>
                        <a:pt x="873918" y="228600"/>
                      </a:lnTo>
                      <a:lnTo>
                        <a:pt x="881062" y="185738"/>
                      </a:lnTo>
                      <a:lnTo>
                        <a:pt x="888206" y="150019"/>
                      </a:lnTo>
                      <a:lnTo>
                        <a:pt x="871537" y="111919"/>
                      </a:lnTo>
                      <a:lnTo>
                        <a:pt x="852488" y="92869"/>
                      </a:lnTo>
                      <a:lnTo>
                        <a:pt x="859630" y="66676"/>
                      </a:lnTo>
                      <a:lnTo>
                        <a:pt x="857249" y="28576"/>
                      </a:lnTo>
                      <a:lnTo>
                        <a:pt x="833437" y="0"/>
                      </a:lnTo>
                      <a:lnTo>
                        <a:pt x="809625" y="33338"/>
                      </a:lnTo>
                      <a:lnTo>
                        <a:pt x="797718" y="50007"/>
                      </a:lnTo>
                      <a:lnTo>
                        <a:pt x="757237" y="45244"/>
                      </a:lnTo>
                      <a:lnTo>
                        <a:pt x="735806" y="50007"/>
                      </a:lnTo>
                      <a:lnTo>
                        <a:pt x="719137" y="78582"/>
                      </a:lnTo>
                      <a:lnTo>
                        <a:pt x="723900" y="97632"/>
                      </a:lnTo>
                      <a:lnTo>
                        <a:pt x="707231" y="111919"/>
                      </a:lnTo>
                      <a:lnTo>
                        <a:pt x="631031" y="114300"/>
                      </a:lnTo>
                      <a:lnTo>
                        <a:pt x="597693" y="100013"/>
                      </a:lnTo>
                      <a:lnTo>
                        <a:pt x="569118" y="71438"/>
                      </a:lnTo>
                      <a:lnTo>
                        <a:pt x="531018" y="66675"/>
                      </a:lnTo>
                      <a:lnTo>
                        <a:pt x="497681" y="90488"/>
                      </a:lnTo>
                      <a:lnTo>
                        <a:pt x="481012" y="109538"/>
                      </a:lnTo>
                      <a:lnTo>
                        <a:pt x="466725" y="126207"/>
                      </a:lnTo>
                      <a:lnTo>
                        <a:pt x="450056" y="145257"/>
                      </a:lnTo>
                      <a:lnTo>
                        <a:pt x="454818" y="171450"/>
                      </a:lnTo>
                      <a:lnTo>
                        <a:pt x="423862" y="195263"/>
                      </a:lnTo>
                      <a:lnTo>
                        <a:pt x="371475" y="204788"/>
                      </a:lnTo>
                      <a:lnTo>
                        <a:pt x="330993" y="223838"/>
                      </a:lnTo>
                      <a:lnTo>
                        <a:pt x="321468" y="261938"/>
                      </a:lnTo>
                      <a:lnTo>
                        <a:pt x="319087" y="269082"/>
                      </a:lnTo>
                      <a:lnTo>
                        <a:pt x="266700" y="285750"/>
                      </a:lnTo>
                      <a:lnTo>
                        <a:pt x="180975" y="316707"/>
                      </a:lnTo>
                      <a:lnTo>
                        <a:pt x="157162" y="309563"/>
                      </a:lnTo>
                      <a:lnTo>
                        <a:pt x="128587" y="300038"/>
                      </a:lnTo>
                      <a:cubicBezTo>
                        <a:pt x="129381" y="319882"/>
                        <a:pt x="130174" y="339725"/>
                        <a:pt x="130968" y="359569"/>
                      </a:cubicBezTo>
                      <a:lnTo>
                        <a:pt x="169068" y="388144"/>
                      </a:lnTo>
                      <a:lnTo>
                        <a:pt x="185737" y="411957"/>
                      </a:lnTo>
                      <a:lnTo>
                        <a:pt x="180975" y="442913"/>
                      </a:lnTo>
                      <a:lnTo>
                        <a:pt x="173831" y="471488"/>
                      </a:lnTo>
                      <a:lnTo>
                        <a:pt x="130968" y="473869"/>
                      </a:lnTo>
                      <a:lnTo>
                        <a:pt x="95250" y="488157"/>
                      </a:lnTo>
                      <a:lnTo>
                        <a:pt x="71437" y="492919"/>
                      </a:lnTo>
                      <a:lnTo>
                        <a:pt x="50006" y="504825"/>
                      </a:lnTo>
                      <a:lnTo>
                        <a:pt x="30956" y="521494"/>
                      </a:lnTo>
                      <a:lnTo>
                        <a:pt x="7143" y="528638"/>
                      </a:lnTo>
                      <a:lnTo>
                        <a:pt x="0" y="533400"/>
                      </a:lnTo>
                      <a:lnTo>
                        <a:pt x="38100" y="561975"/>
                      </a:lnTo>
                      <a:lnTo>
                        <a:pt x="80962" y="559594"/>
                      </a:lnTo>
                      <a:lnTo>
                        <a:pt x="116681" y="526257"/>
                      </a:lnTo>
                      <a:lnTo>
                        <a:pt x="171450" y="500063"/>
                      </a:lnTo>
                      <a:lnTo>
                        <a:pt x="278606" y="492919"/>
                      </a:lnTo>
                      <a:lnTo>
                        <a:pt x="292893" y="481013"/>
                      </a:lnTo>
                      <a:lnTo>
                        <a:pt x="357187" y="481013"/>
                      </a:lnTo>
                      <a:lnTo>
                        <a:pt x="433387" y="388144"/>
                      </a:lnTo>
                      <a:lnTo>
                        <a:pt x="559593" y="328613"/>
                      </a:lnTo>
                      <a:lnTo>
                        <a:pt x="619125" y="321469"/>
                      </a:lnTo>
                      <a:lnTo>
                        <a:pt x="654843" y="295275"/>
                      </a:lnTo>
                      <a:lnTo>
                        <a:pt x="716756" y="292894"/>
                      </a:lnTo>
                      <a:lnTo>
                        <a:pt x="771525" y="285750"/>
                      </a:lnTo>
                      <a:lnTo>
                        <a:pt x="781050" y="323850"/>
                      </a:lnTo>
                      <a:lnTo>
                        <a:pt x="773906" y="445294"/>
                      </a:lnTo>
                      <a:lnTo>
                        <a:pt x="707231" y="461963"/>
                      </a:lnTo>
                      <a:lnTo>
                        <a:pt x="652461" y="509587"/>
                      </a:lnTo>
                      <a:lnTo>
                        <a:pt x="654844" y="528638"/>
                      </a:lnTo>
                      <a:lnTo>
                        <a:pt x="697706" y="564357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363">
                  <a:extLst>
                    <a:ext uri="{FF2B5EF4-FFF2-40B4-BE49-F238E27FC236}">
                      <a16:creationId xmlns:a16="http://schemas.microsoft.com/office/drawing/2014/main" id="{EF1C217F-861E-9782-8D41-081835C4AA3B}"/>
                    </a:ext>
                  </a:extLst>
                </p:cNvPr>
                <p:cNvSpPr/>
                <p:nvPr/>
              </p:nvSpPr>
              <p:spPr>
                <a:xfrm rot="21396613">
                  <a:off x="3875039" y="2448230"/>
                  <a:ext cx="836407" cy="1159048"/>
                </a:xfrm>
                <a:custGeom>
                  <a:avLst/>
                  <a:gdLst>
                    <a:gd name="connsiteX0" fmla="*/ 319088 w 764382"/>
                    <a:gd name="connsiteY0" fmla="*/ 392907 h 1088232"/>
                    <a:gd name="connsiteX1" fmla="*/ 350044 w 764382"/>
                    <a:gd name="connsiteY1" fmla="*/ 466725 h 1088232"/>
                    <a:gd name="connsiteX2" fmla="*/ 340519 w 764382"/>
                    <a:gd name="connsiteY2" fmla="*/ 509588 h 1088232"/>
                    <a:gd name="connsiteX3" fmla="*/ 333375 w 764382"/>
                    <a:gd name="connsiteY3" fmla="*/ 559594 h 1088232"/>
                    <a:gd name="connsiteX4" fmla="*/ 247650 w 764382"/>
                    <a:gd name="connsiteY4" fmla="*/ 633413 h 1088232"/>
                    <a:gd name="connsiteX5" fmla="*/ 238125 w 764382"/>
                    <a:gd name="connsiteY5" fmla="*/ 690563 h 1088232"/>
                    <a:gd name="connsiteX6" fmla="*/ 135732 w 764382"/>
                    <a:gd name="connsiteY6" fmla="*/ 711994 h 1088232"/>
                    <a:gd name="connsiteX7" fmla="*/ 116682 w 764382"/>
                    <a:gd name="connsiteY7" fmla="*/ 738188 h 1088232"/>
                    <a:gd name="connsiteX8" fmla="*/ 30957 w 764382"/>
                    <a:gd name="connsiteY8" fmla="*/ 707232 h 1088232"/>
                    <a:gd name="connsiteX9" fmla="*/ 16669 w 764382"/>
                    <a:gd name="connsiteY9" fmla="*/ 707232 h 1088232"/>
                    <a:gd name="connsiteX10" fmla="*/ 7144 w 764382"/>
                    <a:gd name="connsiteY10" fmla="*/ 735807 h 1088232"/>
                    <a:gd name="connsiteX11" fmla="*/ 0 w 764382"/>
                    <a:gd name="connsiteY11" fmla="*/ 752475 h 1088232"/>
                    <a:gd name="connsiteX12" fmla="*/ 26194 w 764382"/>
                    <a:gd name="connsiteY12" fmla="*/ 781050 h 1088232"/>
                    <a:gd name="connsiteX13" fmla="*/ 45244 w 764382"/>
                    <a:gd name="connsiteY13" fmla="*/ 778669 h 1088232"/>
                    <a:gd name="connsiteX14" fmla="*/ 52388 w 764382"/>
                    <a:gd name="connsiteY14" fmla="*/ 819150 h 1088232"/>
                    <a:gd name="connsiteX15" fmla="*/ 66675 w 764382"/>
                    <a:gd name="connsiteY15" fmla="*/ 840582 h 1088232"/>
                    <a:gd name="connsiteX16" fmla="*/ 92869 w 764382"/>
                    <a:gd name="connsiteY16" fmla="*/ 831057 h 1088232"/>
                    <a:gd name="connsiteX17" fmla="*/ 109538 w 764382"/>
                    <a:gd name="connsiteY17" fmla="*/ 819150 h 1088232"/>
                    <a:gd name="connsiteX18" fmla="*/ 133350 w 764382"/>
                    <a:gd name="connsiteY18" fmla="*/ 819150 h 1088232"/>
                    <a:gd name="connsiteX19" fmla="*/ 142875 w 764382"/>
                    <a:gd name="connsiteY19" fmla="*/ 912019 h 1088232"/>
                    <a:gd name="connsiteX20" fmla="*/ 171450 w 764382"/>
                    <a:gd name="connsiteY20" fmla="*/ 933450 h 1088232"/>
                    <a:gd name="connsiteX21" fmla="*/ 180975 w 764382"/>
                    <a:gd name="connsiteY21" fmla="*/ 966788 h 1088232"/>
                    <a:gd name="connsiteX22" fmla="*/ 221457 w 764382"/>
                    <a:gd name="connsiteY22" fmla="*/ 992982 h 1088232"/>
                    <a:gd name="connsiteX23" fmla="*/ 254794 w 764382"/>
                    <a:gd name="connsiteY23" fmla="*/ 1035844 h 1088232"/>
                    <a:gd name="connsiteX24" fmla="*/ 280988 w 764382"/>
                    <a:gd name="connsiteY24" fmla="*/ 1054894 h 1088232"/>
                    <a:gd name="connsiteX25" fmla="*/ 307182 w 764382"/>
                    <a:gd name="connsiteY25" fmla="*/ 1081088 h 1088232"/>
                    <a:gd name="connsiteX26" fmla="*/ 319088 w 764382"/>
                    <a:gd name="connsiteY26" fmla="*/ 1088232 h 1088232"/>
                    <a:gd name="connsiteX27" fmla="*/ 347663 w 764382"/>
                    <a:gd name="connsiteY27" fmla="*/ 1076325 h 1088232"/>
                    <a:gd name="connsiteX28" fmla="*/ 357188 w 764382"/>
                    <a:gd name="connsiteY28" fmla="*/ 1050132 h 1088232"/>
                    <a:gd name="connsiteX29" fmla="*/ 392907 w 764382"/>
                    <a:gd name="connsiteY29" fmla="*/ 1033463 h 1088232"/>
                    <a:gd name="connsiteX30" fmla="*/ 414338 w 764382"/>
                    <a:gd name="connsiteY30" fmla="*/ 1033463 h 1088232"/>
                    <a:gd name="connsiteX31" fmla="*/ 438150 w 764382"/>
                    <a:gd name="connsiteY31" fmla="*/ 1045369 h 1088232"/>
                    <a:gd name="connsiteX32" fmla="*/ 461963 w 764382"/>
                    <a:gd name="connsiteY32" fmla="*/ 1073944 h 1088232"/>
                    <a:gd name="connsiteX33" fmla="*/ 461963 w 764382"/>
                    <a:gd name="connsiteY33" fmla="*/ 1073944 h 1088232"/>
                    <a:gd name="connsiteX34" fmla="*/ 511969 w 764382"/>
                    <a:gd name="connsiteY34" fmla="*/ 1033463 h 1088232"/>
                    <a:gd name="connsiteX35" fmla="*/ 547688 w 764382"/>
                    <a:gd name="connsiteY35" fmla="*/ 1033463 h 1088232"/>
                    <a:gd name="connsiteX36" fmla="*/ 585788 w 764382"/>
                    <a:gd name="connsiteY36" fmla="*/ 1012032 h 1088232"/>
                    <a:gd name="connsiteX37" fmla="*/ 583407 w 764382"/>
                    <a:gd name="connsiteY37" fmla="*/ 964407 h 1088232"/>
                    <a:gd name="connsiteX38" fmla="*/ 578644 w 764382"/>
                    <a:gd name="connsiteY38" fmla="*/ 947738 h 1088232"/>
                    <a:gd name="connsiteX39" fmla="*/ 583407 w 764382"/>
                    <a:gd name="connsiteY39" fmla="*/ 902494 h 1088232"/>
                    <a:gd name="connsiteX40" fmla="*/ 581025 w 764382"/>
                    <a:gd name="connsiteY40" fmla="*/ 842963 h 1088232"/>
                    <a:gd name="connsiteX41" fmla="*/ 573882 w 764382"/>
                    <a:gd name="connsiteY41" fmla="*/ 812007 h 1088232"/>
                    <a:gd name="connsiteX42" fmla="*/ 542925 w 764382"/>
                    <a:gd name="connsiteY42" fmla="*/ 778669 h 1088232"/>
                    <a:gd name="connsiteX43" fmla="*/ 526257 w 764382"/>
                    <a:gd name="connsiteY43" fmla="*/ 762000 h 1088232"/>
                    <a:gd name="connsiteX44" fmla="*/ 531019 w 764382"/>
                    <a:gd name="connsiteY44" fmla="*/ 742950 h 1088232"/>
                    <a:gd name="connsiteX45" fmla="*/ 526257 w 764382"/>
                    <a:gd name="connsiteY45" fmla="*/ 726282 h 1088232"/>
                    <a:gd name="connsiteX46" fmla="*/ 519113 w 764382"/>
                    <a:gd name="connsiteY46" fmla="*/ 700088 h 1088232"/>
                    <a:gd name="connsiteX47" fmla="*/ 531019 w 764382"/>
                    <a:gd name="connsiteY47" fmla="*/ 673894 h 1088232"/>
                    <a:gd name="connsiteX48" fmla="*/ 542925 w 764382"/>
                    <a:gd name="connsiteY48" fmla="*/ 659607 h 1088232"/>
                    <a:gd name="connsiteX49" fmla="*/ 528638 w 764382"/>
                    <a:gd name="connsiteY49" fmla="*/ 640557 h 1088232"/>
                    <a:gd name="connsiteX50" fmla="*/ 519113 w 764382"/>
                    <a:gd name="connsiteY50" fmla="*/ 616744 h 1088232"/>
                    <a:gd name="connsiteX51" fmla="*/ 502444 w 764382"/>
                    <a:gd name="connsiteY51" fmla="*/ 611982 h 1088232"/>
                    <a:gd name="connsiteX52" fmla="*/ 488157 w 764382"/>
                    <a:gd name="connsiteY52" fmla="*/ 604838 h 1088232"/>
                    <a:gd name="connsiteX53" fmla="*/ 481013 w 764382"/>
                    <a:gd name="connsiteY53" fmla="*/ 607219 h 1088232"/>
                    <a:gd name="connsiteX54" fmla="*/ 464344 w 764382"/>
                    <a:gd name="connsiteY54" fmla="*/ 557213 h 1088232"/>
                    <a:gd name="connsiteX55" fmla="*/ 450057 w 764382"/>
                    <a:gd name="connsiteY55" fmla="*/ 540544 h 1088232"/>
                    <a:gd name="connsiteX56" fmla="*/ 445294 w 764382"/>
                    <a:gd name="connsiteY56" fmla="*/ 492919 h 1088232"/>
                    <a:gd name="connsiteX57" fmla="*/ 464344 w 764382"/>
                    <a:gd name="connsiteY57" fmla="*/ 473869 h 1088232"/>
                    <a:gd name="connsiteX58" fmla="*/ 476250 w 764382"/>
                    <a:gd name="connsiteY58" fmla="*/ 438150 h 1088232"/>
                    <a:gd name="connsiteX59" fmla="*/ 528638 w 764382"/>
                    <a:gd name="connsiteY59" fmla="*/ 428625 h 1088232"/>
                    <a:gd name="connsiteX60" fmla="*/ 557213 w 764382"/>
                    <a:gd name="connsiteY60" fmla="*/ 426244 h 1088232"/>
                    <a:gd name="connsiteX61" fmla="*/ 559594 w 764382"/>
                    <a:gd name="connsiteY61" fmla="*/ 395288 h 1088232"/>
                    <a:gd name="connsiteX62" fmla="*/ 540544 w 764382"/>
                    <a:gd name="connsiteY62" fmla="*/ 364332 h 1088232"/>
                    <a:gd name="connsiteX63" fmla="*/ 521494 w 764382"/>
                    <a:gd name="connsiteY63" fmla="*/ 364332 h 1088232"/>
                    <a:gd name="connsiteX64" fmla="*/ 497682 w 764382"/>
                    <a:gd name="connsiteY64" fmla="*/ 335757 h 1088232"/>
                    <a:gd name="connsiteX65" fmla="*/ 461963 w 764382"/>
                    <a:gd name="connsiteY65" fmla="*/ 323850 h 1088232"/>
                    <a:gd name="connsiteX66" fmla="*/ 433388 w 764382"/>
                    <a:gd name="connsiteY66" fmla="*/ 319088 h 1088232"/>
                    <a:gd name="connsiteX67" fmla="*/ 445294 w 764382"/>
                    <a:gd name="connsiteY67" fmla="*/ 278607 h 1088232"/>
                    <a:gd name="connsiteX68" fmla="*/ 442913 w 764382"/>
                    <a:gd name="connsiteY68" fmla="*/ 250032 h 1088232"/>
                    <a:gd name="connsiteX69" fmla="*/ 457200 w 764382"/>
                    <a:gd name="connsiteY69" fmla="*/ 202407 h 1088232"/>
                    <a:gd name="connsiteX70" fmla="*/ 500063 w 764382"/>
                    <a:gd name="connsiteY70" fmla="*/ 200025 h 1088232"/>
                    <a:gd name="connsiteX71" fmla="*/ 531019 w 764382"/>
                    <a:gd name="connsiteY71" fmla="*/ 216694 h 1088232"/>
                    <a:gd name="connsiteX72" fmla="*/ 578644 w 764382"/>
                    <a:gd name="connsiteY72" fmla="*/ 233363 h 1088232"/>
                    <a:gd name="connsiteX73" fmla="*/ 604838 w 764382"/>
                    <a:gd name="connsiteY73" fmla="*/ 252413 h 1088232"/>
                    <a:gd name="connsiteX74" fmla="*/ 614363 w 764382"/>
                    <a:gd name="connsiteY74" fmla="*/ 271463 h 1088232"/>
                    <a:gd name="connsiteX75" fmla="*/ 626269 w 764382"/>
                    <a:gd name="connsiteY75" fmla="*/ 280988 h 1088232"/>
                    <a:gd name="connsiteX76" fmla="*/ 650082 w 764382"/>
                    <a:gd name="connsiteY76" fmla="*/ 271463 h 1088232"/>
                    <a:gd name="connsiteX77" fmla="*/ 671513 w 764382"/>
                    <a:gd name="connsiteY77" fmla="*/ 259557 h 1088232"/>
                    <a:gd name="connsiteX78" fmla="*/ 683419 w 764382"/>
                    <a:gd name="connsiteY78" fmla="*/ 230982 h 1088232"/>
                    <a:gd name="connsiteX79" fmla="*/ 697707 w 764382"/>
                    <a:gd name="connsiteY79" fmla="*/ 204788 h 1088232"/>
                    <a:gd name="connsiteX80" fmla="*/ 716757 w 764382"/>
                    <a:gd name="connsiteY80" fmla="*/ 166688 h 1088232"/>
                    <a:gd name="connsiteX81" fmla="*/ 719138 w 764382"/>
                    <a:gd name="connsiteY81" fmla="*/ 150019 h 1088232"/>
                    <a:gd name="connsiteX82" fmla="*/ 750094 w 764382"/>
                    <a:gd name="connsiteY82" fmla="*/ 140494 h 1088232"/>
                    <a:gd name="connsiteX83" fmla="*/ 764382 w 764382"/>
                    <a:gd name="connsiteY83" fmla="*/ 119063 h 1088232"/>
                    <a:gd name="connsiteX84" fmla="*/ 759619 w 764382"/>
                    <a:gd name="connsiteY84" fmla="*/ 102394 h 1088232"/>
                    <a:gd name="connsiteX85" fmla="*/ 728663 w 764382"/>
                    <a:gd name="connsiteY85" fmla="*/ 100013 h 1088232"/>
                    <a:gd name="connsiteX86" fmla="*/ 704850 w 764382"/>
                    <a:gd name="connsiteY86" fmla="*/ 107157 h 1088232"/>
                    <a:gd name="connsiteX87" fmla="*/ 695325 w 764382"/>
                    <a:gd name="connsiteY87" fmla="*/ 126207 h 1088232"/>
                    <a:gd name="connsiteX88" fmla="*/ 661988 w 764382"/>
                    <a:gd name="connsiteY88" fmla="*/ 121444 h 1088232"/>
                    <a:gd name="connsiteX89" fmla="*/ 633413 w 764382"/>
                    <a:gd name="connsiteY89" fmla="*/ 114300 h 1088232"/>
                    <a:gd name="connsiteX90" fmla="*/ 602457 w 764382"/>
                    <a:gd name="connsiteY90" fmla="*/ 102394 h 1088232"/>
                    <a:gd name="connsiteX91" fmla="*/ 581025 w 764382"/>
                    <a:gd name="connsiteY91" fmla="*/ 83344 h 1088232"/>
                    <a:gd name="connsiteX92" fmla="*/ 569119 w 764382"/>
                    <a:gd name="connsiteY92" fmla="*/ 50007 h 1088232"/>
                    <a:gd name="connsiteX93" fmla="*/ 559594 w 764382"/>
                    <a:gd name="connsiteY93" fmla="*/ 16669 h 1088232"/>
                    <a:gd name="connsiteX94" fmla="*/ 550069 w 764382"/>
                    <a:gd name="connsiteY94" fmla="*/ 0 h 1088232"/>
                    <a:gd name="connsiteX95" fmla="*/ 535782 w 764382"/>
                    <a:gd name="connsiteY95" fmla="*/ 9525 h 1088232"/>
                    <a:gd name="connsiteX96" fmla="*/ 481013 w 764382"/>
                    <a:gd name="connsiteY96" fmla="*/ 83344 h 1088232"/>
                    <a:gd name="connsiteX97" fmla="*/ 433388 w 764382"/>
                    <a:gd name="connsiteY97" fmla="*/ 80963 h 1088232"/>
                    <a:gd name="connsiteX98" fmla="*/ 414338 w 764382"/>
                    <a:gd name="connsiteY98" fmla="*/ 71438 h 1088232"/>
                    <a:gd name="connsiteX99" fmla="*/ 404813 w 764382"/>
                    <a:gd name="connsiteY99" fmla="*/ 61913 h 1088232"/>
                    <a:gd name="connsiteX100" fmla="*/ 411957 w 764382"/>
                    <a:gd name="connsiteY100" fmla="*/ 107157 h 1088232"/>
                    <a:gd name="connsiteX101" fmla="*/ 421482 w 764382"/>
                    <a:gd name="connsiteY101" fmla="*/ 130969 h 1088232"/>
                    <a:gd name="connsiteX102" fmla="*/ 421482 w 764382"/>
                    <a:gd name="connsiteY102" fmla="*/ 159544 h 1088232"/>
                    <a:gd name="connsiteX103" fmla="*/ 411957 w 764382"/>
                    <a:gd name="connsiteY103" fmla="*/ 180975 h 1088232"/>
                    <a:gd name="connsiteX104" fmla="*/ 383382 w 764382"/>
                    <a:gd name="connsiteY104" fmla="*/ 192882 h 1088232"/>
                    <a:gd name="connsiteX105" fmla="*/ 388144 w 764382"/>
                    <a:gd name="connsiteY105" fmla="*/ 221457 h 1088232"/>
                    <a:gd name="connsiteX106" fmla="*/ 385763 w 764382"/>
                    <a:gd name="connsiteY106" fmla="*/ 238125 h 1088232"/>
                    <a:gd name="connsiteX107" fmla="*/ 376238 w 764382"/>
                    <a:gd name="connsiteY107" fmla="*/ 254794 h 1088232"/>
                    <a:gd name="connsiteX108" fmla="*/ 350044 w 764382"/>
                    <a:gd name="connsiteY108" fmla="*/ 264319 h 1088232"/>
                    <a:gd name="connsiteX109" fmla="*/ 347663 w 764382"/>
                    <a:gd name="connsiteY109" fmla="*/ 292894 h 1088232"/>
                    <a:gd name="connsiteX110" fmla="*/ 347663 w 764382"/>
                    <a:gd name="connsiteY110" fmla="*/ 292894 h 1088232"/>
                    <a:gd name="connsiteX111" fmla="*/ 385763 w 764382"/>
                    <a:gd name="connsiteY111" fmla="*/ 314325 h 1088232"/>
                    <a:gd name="connsiteX112" fmla="*/ 385763 w 764382"/>
                    <a:gd name="connsiteY112" fmla="*/ 359569 h 1088232"/>
                    <a:gd name="connsiteX113" fmla="*/ 319088 w 764382"/>
                    <a:gd name="connsiteY113" fmla="*/ 392907 h 1088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</a:cxnLst>
                  <a:rect l="l" t="t" r="r" b="b"/>
                  <a:pathLst>
                    <a:path w="764382" h="1088232">
                      <a:moveTo>
                        <a:pt x="319088" y="392907"/>
                      </a:moveTo>
                      <a:lnTo>
                        <a:pt x="350044" y="466725"/>
                      </a:lnTo>
                      <a:lnTo>
                        <a:pt x="340519" y="509588"/>
                      </a:lnTo>
                      <a:lnTo>
                        <a:pt x="333375" y="559594"/>
                      </a:lnTo>
                      <a:lnTo>
                        <a:pt x="247650" y="633413"/>
                      </a:lnTo>
                      <a:lnTo>
                        <a:pt x="238125" y="690563"/>
                      </a:lnTo>
                      <a:lnTo>
                        <a:pt x="135732" y="711994"/>
                      </a:lnTo>
                      <a:lnTo>
                        <a:pt x="116682" y="738188"/>
                      </a:lnTo>
                      <a:lnTo>
                        <a:pt x="30957" y="707232"/>
                      </a:lnTo>
                      <a:lnTo>
                        <a:pt x="16669" y="707232"/>
                      </a:lnTo>
                      <a:lnTo>
                        <a:pt x="7144" y="735807"/>
                      </a:lnTo>
                      <a:lnTo>
                        <a:pt x="0" y="752475"/>
                      </a:lnTo>
                      <a:lnTo>
                        <a:pt x="26194" y="781050"/>
                      </a:lnTo>
                      <a:lnTo>
                        <a:pt x="45244" y="778669"/>
                      </a:lnTo>
                      <a:lnTo>
                        <a:pt x="52388" y="819150"/>
                      </a:lnTo>
                      <a:lnTo>
                        <a:pt x="66675" y="840582"/>
                      </a:lnTo>
                      <a:lnTo>
                        <a:pt x="92869" y="831057"/>
                      </a:lnTo>
                      <a:lnTo>
                        <a:pt x="109538" y="819150"/>
                      </a:lnTo>
                      <a:lnTo>
                        <a:pt x="133350" y="819150"/>
                      </a:lnTo>
                      <a:lnTo>
                        <a:pt x="142875" y="912019"/>
                      </a:lnTo>
                      <a:lnTo>
                        <a:pt x="171450" y="933450"/>
                      </a:lnTo>
                      <a:lnTo>
                        <a:pt x="180975" y="966788"/>
                      </a:lnTo>
                      <a:lnTo>
                        <a:pt x="221457" y="992982"/>
                      </a:lnTo>
                      <a:lnTo>
                        <a:pt x="254794" y="1035844"/>
                      </a:lnTo>
                      <a:lnTo>
                        <a:pt x="280988" y="1054894"/>
                      </a:lnTo>
                      <a:lnTo>
                        <a:pt x="307182" y="1081088"/>
                      </a:lnTo>
                      <a:lnTo>
                        <a:pt x="319088" y="1088232"/>
                      </a:lnTo>
                      <a:lnTo>
                        <a:pt x="347663" y="1076325"/>
                      </a:lnTo>
                      <a:lnTo>
                        <a:pt x="357188" y="1050132"/>
                      </a:lnTo>
                      <a:lnTo>
                        <a:pt x="392907" y="1033463"/>
                      </a:lnTo>
                      <a:lnTo>
                        <a:pt x="414338" y="1033463"/>
                      </a:lnTo>
                      <a:lnTo>
                        <a:pt x="438150" y="1045369"/>
                      </a:lnTo>
                      <a:lnTo>
                        <a:pt x="461963" y="1073944"/>
                      </a:lnTo>
                      <a:lnTo>
                        <a:pt x="461963" y="1073944"/>
                      </a:lnTo>
                      <a:lnTo>
                        <a:pt x="511969" y="1033463"/>
                      </a:lnTo>
                      <a:lnTo>
                        <a:pt x="547688" y="1033463"/>
                      </a:lnTo>
                      <a:lnTo>
                        <a:pt x="585788" y="1012032"/>
                      </a:lnTo>
                      <a:lnTo>
                        <a:pt x="583407" y="964407"/>
                      </a:lnTo>
                      <a:lnTo>
                        <a:pt x="578644" y="947738"/>
                      </a:lnTo>
                      <a:lnTo>
                        <a:pt x="583407" y="902494"/>
                      </a:lnTo>
                      <a:lnTo>
                        <a:pt x="581025" y="842963"/>
                      </a:lnTo>
                      <a:lnTo>
                        <a:pt x="573882" y="812007"/>
                      </a:lnTo>
                      <a:lnTo>
                        <a:pt x="542925" y="778669"/>
                      </a:lnTo>
                      <a:lnTo>
                        <a:pt x="526257" y="762000"/>
                      </a:lnTo>
                      <a:lnTo>
                        <a:pt x="531019" y="742950"/>
                      </a:lnTo>
                      <a:lnTo>
                        <a:pt x="526257" y="726282"/>
                      </a:lnTo>
                      <a:lnTo>
                        <a:pt x="519113" y="700088"/>
                      </a:lnTo>
                      <a:lnTo>
                        <a:pt x="531019" y="673894"/>
                      </a:lnTo>
                      <a:lnTo>
                        <a:pt x="542925" y="659607"/>
                      </a:lnTo>
                      <a:lnTo>
                        <a:pt x="528638" y="640557"/>
                      </a:lnTo>
                      <a:lnTo>
                        <a:pt x="519113" y="616744"/>
                      </a:lnTo>
                      <a:lnTo>
                        <a:pt x="502444" y="611982"/>
                      </a:lnTo>
                      <a:lnTo>
                        <a:pt x="488157" y="604838"/>
                      </a:lnTo>
                      <a:lnTo>
                        <a:pt x="481013" y="607219"/>
                      </a:lnTo>
                      <a:lnTo>
                        <a:pt x="464344" y="557213"/>
                      </a:lnTo>
                      <a:lnTo>
                        <a:pt x="450057" y="540544"/>
                      </a:lnTo>
                      <a:lnTo>
                        <a:pt x="445294" y="492919"/>
                      </a:lnTo>
                      <a:lnTo>
                        <a:pt x="464344" y="473869"/>
                      </a:lnTo>
                      <a:lnTo>
                        <a:pt x="476250" y="438150"/>
                      </a:lnTo>
                      <a:lnTo>
                        <a:pt x="528638" y="428625"/>
                      </a:lnTo>
                      <a:lnTo>
                        <a:pt x="557213" y="426244"/>
                      </a:lnTo>
                      <a:lnTo>
                        <a:pt x="559594" y="395288"/>
                      </a:lnTo>
                      <a:lnTo>
                        <a:pt x="540544" y="364332"/>
                      </a:lnTo>
                      <a:lnTo>
                        <a:pt x="521494" y="364332"/>
                      </a:lnTo>
                      <a:lnTo>
                        <a:pt x="497682" y="335757"/>
                      </a:lnTo>
                      <a:lnTo>
                        <a:pt x="461963" y="323850"/>
                      </a:lnTo>
                      <a:lnTo>
                        <a:pt x="433388" y="319088"/>
                      </a:lnTo>
                      <a:lnTo>
                        <a:pt x="445294" y="278607"/>
                      </a:lnTo>
                      <a:lnTo>
                        <a:pt x="442913" y="250032"/>
                      </a:lnTo>
                      <a:lnTo>
                        <a:pt x="457200" y="202407"/>
                      </a:lnTo>
                      <a:lnTo>
                        <a:pt x="500063" y="200025"/>
                      </a:lnTo>
                      <a:lnTo>
                        <a:pt x="531019" y="216694"/>
                      </a:lnTo>
                      <a:lnTo>
                        <a:pt x="578644" y="233363"/>
                      </a:lnTo>
                      <a:lnTo>
                        <a:pt x="604838" y="252413"/>
                      </a:lnTo>
                      <a:lnTo>
                        <a:pt x="614363" y="271463"/>
                      </a:lnTo>
                      <a:lnTo>
                        <a:pt x="626269" y="280988"/>
                      </a:lnTo>
                      <a:lnTo>
                        <a:pt x="650082" y="271463"/>
                      </a:lnTo>
                      <a:lnTo>
                        <a:pt x="671513" y="259557"/>
                      </a:lnTo>
                      <a:lnTo>
                        <a:pt x="683419" y="230982"/>
                      </a:lnTo>
                      <a:lnTo>
                        <a:pt x="697707" y="204788"/>
                      </a:lnTo>
                      <a:lnTo>
                        <a:pt x="716757" y="166688"/>
                      </a:lnTo>
                      <a:lnTo>
                        <a:pt x="719138" y="150019"/>
                      </a:lnTo>
                      <a:lnTo>
                        <a:pt x="750094" y="140494"/>
                      </a:lnTo>
                      <a:lnTo>
                        <a:pt x="764382" y="119063"/>
                      </a:lnTo>
                      <a:lnTo>
                        <a:pt x="759619" y="102394"/>
                      </a:lnTo>
                      <a:lnTo>
                        <a:pt x="728663" y="100013"/>
                      </a:lnTo>
                      <a:lnTo>
                        <a:pt x="704850" y="107157"/>
                      </a:lnTo>
                      <a:lnTo>
                        <a:pt x="695325" y="126207"/>
                      </a:lnTo>
                      <a:lnTo>
                        <a:pt x="661988" y="121444"/>
                      </a:lnTo>
                      <a:lnTo>
                        <a:pt x="633413" y="114300"/>
                      </a:lnTo>
                      <a:lnTo>
                        <a:pt x="602457" y="102394"/>
                      </a:lnTo>
                      <a:lnTo>
                        <a:pt x="581025" y="83344"/>
                      </a:lnTo>
                      <a:lnTo>
                        <a:pt x="569119" y="50007"/>
                      </a:lnTo>
                      <a:lnTo>
                        <a:pt x="559594" y="16669"/>
                      </a:lnTo>
                      <a:lnTo>
                        <a:pt x="550069" y="0"/>
                      </a:lnTo>
                      <a:lnTo>
                        <a:pt x="535782" y="9525"/>
                      </a:lnTo>
                      <a:lnTo>
                        <a:pt x="481013" y="83344"/>
                      </a:lnTo>
                      <a:lnTo>
                        <a:pt x="433388" y="80963"/>
                      </a:lnTo>
                      <a:lnTo>
                        <a:pt x="414338" y="71438"/>
                      </a:lnTo>
                      <a:lnTo>
                        <a:pt x="404813" y="61913"/>
                      </a:lnTo>
                      <a:lnTo>
                        <a:pt x="411957" y="107157"/>
                      </a:lnTo>
                      <a:lnTo>
                        <a:pt x="421482" y="130969"/>
                      </a:lnTo>
                      <a:lnTo>
                        <a:pt x="421482" y="159544"/>
                      </a:lnTo>
                      <a:lnTo>
                        <a:pt x="411957" y="180975"/>
                      </a:lnTo>
                      <a:lnTo>
                        <a:pt x="383382" y="192882"/>
                      </a:lnTo>
                      <a:lnTo>
                        <a:pt x="388144" y="221457"/>
                      </a:lnTo>
                      <a:lnTo>
                        <a:pt x="385763" y="238125"/>
                      </a:lnTo>
                      <a:lnTo>
                        <a:pt x="376238" y="254794"/>
                      </a:lnTo>
                      <a:lnTo>
                        <a:pt x="350044" y="264319"/>
                      </a:lnTo>
                      <a:lnTo>
                        <a:pt x="347663" y="292894"/>
                      </a:lnTo>
                      <a:lnTo>
                        <a:pt x="347663" y="292894"/>
                      </a:lnTo>
                      <a:lnTo>
                        <a:pt x="385763" y="314325"/>
                      </a:lnTo>
                      <a:lnTo>
                        <a:pt x="385763" y="359569"/>
                      </a:lnTo>
                      <a:lnTo>
                        <a:pt x="319088" y="392907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366">
                  <a:extLst>
                    <a:ext uri="{FF2B5EF4-FFF2-40B4-BE49-F238E27FC236}">
                      <a16:creationId xmlns:a16="http://schemas.microsoft.com/office/drawing/2014/main" id="{4A9AF3A5-DAF7-F6BE-E3C4-3B0D4A8A5707}"/>
                    </a:ext>
                  </a:extLst>
                </p:cNvPr>
                <p:cNvSpPr/>
                <p:nvPr/>
              </p:nvSpPr>
              <p:spPr>
                <a:xfrm rot="21396613">
                  <a:off x="3016800" y="3450096"/>
                  <a:ext cx="1247106" cy="919858"/>
                </a:xfrm>
                <a:custGeom>
                  <a:avLst/>
                  <a:gdLst>
                    <a:gd name="connsiteX0" fmla="*/ 631031 w 1114425"/>
                    <a:gd name="connsiteY0" fmla="*/ 650081 h 862012"/>
                    <a:gd name="connsiteX1" fmla="*/ 678656 w 1114425"/>
                    <a:gd name="connsiteY1" fmla="*/ 585787 h 862012"/>
                    <a:gd name="connsiteX2" fmla="*/ 702468 w 1114425"/>
                    <a:gd name="connsiteY2" fmla="*/ 573881 h 862012"/>
                    <a:gd name="connsiteX3" fmla="*/ 733425 w 1114425"/>
                    <a:gd name="connsiteY3" fmla="*/ 573881 h 862012"/>
                    <a:gd name="connsiteX4" fmla="*/ 778668 w 1114425"/>
                    <a:gd name="connsiteY4" fmla="*/ 554831 h 862012"/>
                    <a:gd name="connsiteX5" fmla="*/ 833437 w 1114425"/>
                    <a:gd name="connsiteY5" fmla="*/ 528637 h 862012"/>
                    <a:gd name="connsiteX6" fmla="*/ 883443 w 1114425"/>
                    <a:gd name="connsiteY6" fmla="*/ 495300 h 862012"/>
                    <a:gd name="connsiteX7" fmla="*/ 900112 w 1114425"/>
                    <a:gd name="connsiteY7" fmla="*/ 490537 h 862012"/>
                    <a:gd name="connsiteX8" fmla="*/ 919162 w 1114425"/>
                    <a:gd name="connsiteY8" fmla="*/ 485775 h 862012"/>
                    <a:gd name="connsiteX9" fmla="*/ 916781 w 1114425"/>
                    <a:gd name="connsiteY9" fmla="*/ 447675 h 862012"/>
                    <a:gd name="connsiteX10" fmla="*/ 954881 w 1114425"/>
                    <a:gd name="connsiteY10" fmla="*/ 428625 h 862012"/>
                    <a:gd name="connsiteX11" fmla="*/ 985837 w 1114425"/>
                    <a:gd name="connsiteY11" fmla="*/ 407194 h 862012"/>
                    <a:gd name="connsiteX12" fmla="*/ 1000125 w 1114425"/>
                    <a:gd name="connsiteY12" fmla="*/ 347662 h 862012"/>
                    <a:gd name="connsiteX13" fmla="*/ 981075 w 1114425"/>
                    <a:gd name="connsiteY13" fmla="*/ 316706 h 862012"/>
                    <a:gd name="connsiteX14" fmla="*/ 997743 w 1114425"/>
                    <a:gd name="connsiteY14" fmla="*/ 271462 h 862012"/>
                    <a:gd name="connsiteX15" fmla="*/ 1033462 w 1114425"/>
                    <a:gd name="connsiteY15" fmla="*/ 233362 h 862012"/>
                    <a:gd name="connsiteX16" fmla="*/ 1097756 w 1114425"/>
                    <a:gd name="connsiteY16" fmla="*/ 209550 h 862012"/>
                    <a:gd name="connsiteX17" fmla="*/ 1114425 w 1114425"/>
                    <a:gd name="connsiteY17" fmla="*/ 190500 h 862012"/>
                    <a:gd name="connsiteX18" fmla="*/ 1100137 w 1114425"/>
                    <a:gd name="connsiteY18" fmla="*/ 161925 h 862012"/>
                    <a:gd name="connsiteX19" fmla="*/ 1052512 w 1114425"/>
                    <a:gd name="connsiteY19" fmla="*/ 107156 h 862012"/>
                    <a:gd name="connsiteX20" fmla="*/ 1009650 w 1114425"/>
                    <a:gd name="connsiteY20" fmla="*/ 73819 h 862012"/>
                    <a:gd name="connsiteX21" fmla="*/ 995362 w 1114425"/>
                    <a:gd name="connsiteY21" fmla="*/ 47625 h 862012"/>
                    <a:gd name="connsiteX22" fmla="*/ 983456 w 1114425"/>
                    <a:gd name="connsiteY22" fmla="*/ 64294 h 862012"/>
                    <a:gd name="connsiteX23" fmla="*/ 966787 w 1114425"/>
                    <a:gd name="connsiteY23" fmla="*/ 69056 h 862012"/>
                    <a:gd name="connsiteX24" fmla="*/ 935831 w 1114425"/>
                    <a:gd name="connsiteY24" fmla="*/ 59531 h 862012"/>
                    <a:gd name="connsiteX25" fmla="*/ 904875 w 1114425"/>
                    <a:gd name="connsiteY25" fmla="*/ 23812 h 862012"/>
                    <a:gd name="connsiteX26" fmla="*/ 888206 w 1114425"/>
                    <a:gd name="connsiteY26" fmla="*/ 0 h 862012"/>
                    <a:gd name="connsiteX27" fmla="*/ 869156 w 1114425"/>
                    <a:gd name="connsiteY27" fmla="*/ 28575 h 862012"/>
                    <a:gd name="connsiteX28" fmla="*/ 871537 w 1114425"/>
                    <a:gd name="connsiteY28" fmla="*/ 69056 h 862012"/>
                    <a:gd name="connsiteX29" fmla="*/ 847725 w 1114425"/>
                    <a:gd name="connsiteY29" fmla="*/ 100012 h 862012"/>
                    <a:gd name="connsiteX30" fmla="*/ 826293 w 1114425"/>
                    <a:gd name="connsiteY30" fmla="*/ 97631 h 862012"/>
                    <a:gd name="connsiteX31" fmla="*/ 800100 w 1114425"/>
                    <a:gd name="connsiteY31" fmla="*/ 71437 h 862012"/>
                    <a:gd name="connsiteX32" fmla="*/ 783431 w 1114425"/>
                    <a:gd name="connsiteY32" fmla="*/ 57150 h 862012"/>
                    <a:gd name="connsiteX33" fmla="*/ 764381 w 1114425"/>
                    <a:gd name="connsiteY33" fmla="*/ 61912 h 862012"/>
                    <a:gd name="connsiteX34" fmla="*/ 747712 w 1114425"/>
                    <a:gd name="connsiteY34" fmla="*/ 92869 h 862012"/>
                    <a:gd name="connsiteX35" fmla="*/ 742950 w 1114425"/>
                    <a:gd name="connsiteY35" fmla="*/ 107156 h 862012"/>
                    <a:gd name="connsiteX36" fmla="*/ 714375 w 1114425"/>
                    <a:gd name="connsiteY36" fmla="*/ 107156 h 862012"/>
                    <a:gd name="connsiteX37" fmla="*/ 700087 w 1114425"/>
                    <a:gd name="connsiteY37" fmla="*/ 95250 h 862012"/>
                    <a:gd name="connsiteX38" fmla="*/ 700087 w 1114425"/>
                    <a:gd name="connsiteY38" fmla="*/ 66675 h 862012"/>
                    <a:gd name="connsiteX39" fmla="*/ 704850 w 1114425"/>
                    <a:gd name="connsiteY39" fmla="*/ 38100 h 862012"/>
                    <a:gd name="connsiteX40" fmla="*/ 692943 w 1114425"/>
                    <a:gd name="connsiteY40" fmla="*/ 23812 h 862012"/>
                    <a:gd name="connsiteX41" fmla="*/ 669131 w 1114425"/>
                    <a:gd name="connsiteY41" fmla="*/ 26194 h 862012"/>
                    <a:gd name="connsiteX42" fmla="*/ 640556 w 1114425"/>
                    <a:gd name="connsiteY42" fmla="*/ 19050 h 862012"/>
                    <a:gd name="connsiteX43" fmla="*/ 604837 w 1114425"/>
                    <a:gd name="connsiteY43" fmla="*/ 4762 h 862012"/>
                    <a:gd name="connsiteX44" fmla="*/ 569118 w 1114425"/>
                    <a:gd name="connsiteY44" fmla="*/ 4762 h 862012"/>
                    <a:gd name="connsiteX45" fmla="*/ 557212 w 1114425"/>
                    <a:gd name="connsiteY45" fmla="*/ 11906 h 862012"/>
                    <a:gd name="connsiteX46" fmla="*/ 438150 w 1114425"/>
                    <a:gd name="connsiteY46" fmla="*/ 69056 h 862012"/>
                    <a:gd name="connsiteX47" fmla="*/ 421481 w 1114425"/>
                    <a:gd name="connsiteY47" fmla="*/ 169069 h 862012"/>
                    <a:gd name="connsiteX48" fmla="*/ 304800 w 1114425"/>
                    <a:gd name="connsiteY48" fmla="*/ 228600 h 862012"/>
                    <a:gd name="connsiteX49" fmla="*/ 276225 w 1114425"/>
                    <a:gd name="connsiteY49" fmla="*/ 290512 h 862012"/>
                    <a:gd name="connsiteX50" fmla="*/ 228600 w 1114425"/>
                    <a:gd name="connsiteY50" fmla="*/ 285750 h 862012"/>
                    <a:gd name="connsiteX51" fmla="*/ 211931 w 1114425"/>
                    <a:gd name="connsiteY51" fmla="*/ 357187 h 862012"/>
                    <a:gd name="connsiteX52" fmla="*/ 207168 w 1114425"/>
                    <a:gd name="connsiteY52" fmla="*/ 369094 h 862012"/>
                    <a:gd name="connsiteX53" fmla="*/ 223837 w 1114425"/>
                    <a:gd name="connsiteY53" fmla="*/ 404812 h 862012"/>
                    <a:gd name="connsiteX54" fmla="*/ 219075 w 1114425"/>
                    <a:gd name="connsiteY54" fmla="*/ 511969 h 862012"/>
                    <a:gd name="connsiteX55" fmla="*/ 195262 w 1114425"/>
                    <a:gd name="connsiteY55" fmla="*/ 521494 h 862012"/>
                    <a:gd name="connsiteX56" fmla="*/ 180975 w 1114425"/>
                    <a:gd name="connsiteY56" fmla="*/ 502444 h 862012"/>
                    <a:gd name="connsiteX57" fmla="*/ 161925 w 1114425"/>
                    <a:gd name="connsiteY57" fmla="*/ 457200 h 862012"/>
                    <a:gd name="connsiteX58" fmla="*/ 128587 w 1114425"/>
                    <a:gd name="connsiteY58" fmla="*/ 433387 h 862012"/>
                    <a:gd name="connsiteX59" fmla="*/ 116681 w 1114425"/>
                    <a:gd name="connsiteY59" fmla="*/ 409575 h 862012"/>
                    <a:gd name="connsiteX60" fmla="*/ 83343 w 1114425"/>
                    <a:gd name="connsiteY60" fmla="*/ 421481 h 862012"/>
                    <a:gd name="connsiteX61" fmla="*/ 78581 w 1114425"/>
                    <a:gd name="connsiteY61" fmla="*/ 466725 h 862012"/>
                    <a:gd name="connsiteX62" fmla="*/ 116681 w 1114425"/>
                    <a:gd name="connsiteY62" fmla="*/ 514350 h 862012"/>
                    <a:gd name="connsiteX63" fmla="*/ 123825 w 1114425"/>
                    <a:gd name="connsiteY63" fmla="*/ 583406 h 862012"/>
                    <a:gd name="connsiteX64" fmla="*/ 152400 w 1114425"/>
                    <a:gd name="connsiteY64" fmla="*/ 631031 h 862012"/>
                    <a:gd name="connsiteX65" fmla="*/ 142875 w 1114425"/>
                    <a:gd name="connsiteY65" fmla="*/ 657225 h 862012"/>
                    <a:gd name="connsiteX66" fmla="*/ 107156 w 1114425"/>
                    <a:gd name="connsiteY66" fmla="*/ 697706 h 862012"/>
                    <a:gd name="connsiteX67" fmla="*/ 42862 w 1114425"/>
                    <a:gd name="connsiteY67" fmla="*/ 735806 h 862012"/>
                    <a:gd name="connsiteX68" fmla="*/ 35718 w 1114425"/>
                    <a:gd name="connsiteY68" fmla="*/ 769144 h 862012"/>
                    <a:gd name="connsiteX69" fmla="*/ 19050 w 1114425"/>
                    <a:gd name="connsiteY69" fmla="*/ 795337 h 862012"/>
                    <a:gd name="connsiteX70" fmla="*/ 0 w 1114425"/>
                    <a:gd name="connsiteY70" fmla="*/ 859631 h 862012"/>
                    <a:gd name="connsiteX71" fmla="*/ 19050 w 1114425"/>
                    <a:gd name="connsiteY71" fmla="*/ 862012 h 862012"/>
                    <a:gd name="connsiteX72" fmla="*/ 154781 w 1114425"/>
                    <a:gd name="connsiteY72" fmla="*/ 828675 h 862012"/>
                    <a:gd name="connsiteX73" fmla="*/ 171450 w 1114425"/>
                    <a:gd name="connsiteY73" fmla="*/ 757237 h 862012"/>
                    <a:gd name="connsiteX74" fmla="*/ 259556 w 1114425"/>
                    <a:gd name="connsiteY74" fmla="*/ 800100 h 862012"/>
                    <a:gd name="connsiteX75" fmla="*/ 297656 w 1114425"/>
                    <a:gd name="connsiteY75" fmla="*/ 700087 h 862012"/>
                    <a:gd name="connsiteX76" fmla="*/ 385762 w 1114425"/>
                    <a:gd name="connsiteY76" fmla="*/ 666750 h 862012"/>
                    <a:gd name="connsiteX77" fmla="*/ 435768 w 1114425"/>
                    <a:gd name="connsiteY77" fmla="*/ 681037 h 862012"/>
                    <a:gd name="connsiteX78" fmla="*/ 473868 w 1114425"/>
                    <a:gd name="connsiteY78" fmla="*/ 702469 h 862012"/>
                    <a:gd name="connsiteX79" fmla="*/ 500062 w 1114425"/>
                    <a:gd name="connsiteY79" fmla="*/ 707231 h 862012"/>
                    <a:gd name="connsiteX80" fmla="*/ 516731 w 1114425"/>
                    <a:gd name="connsiteY80" fmla="*/ 702469 h 862012"/>
                    <a:gd name="connsiteX81" fmla="*/ 545306 w 1114425"/>
                    <a:gd name="connsiteY81" fmla="*/ 671512 h 862012"/>
                    <a:gd name="connsiteX82" fmla="*/ 576262 w 1114425"/>
                    <a:gd name="connsiteY82" fmla="*/ 671512 h 862012"/>
                    <a:gd name="connsiteX83" fmla="*/ 631031 w 1114425"/>
                    <a:gd name="connsiteY83" fmla="*/ 650081 h 862012"/>
                    <a:gd name="connsiteX0" fmla="*/ 631031 w 1138238"/>
                    <a:gd name="connsiteY0" fmla="*/ 650081 h 862012"/>
                    <a:gd name="connsiteX1" fmla="*/ 678656 w 1138238"/>
                    <a:gd name="connsiteY1" fmla="*/ 585787 h 862012"/>
                    <a:gd name="connsiteX2" fmla="*/ 702468 w 1138238"/>
                    <a:gd name="connsiteY2" fmla="*/ 573881 h 862012"/>
                    <a:gd name="connsiteX3" fmla="*/ 733425 w 1138238"/>
                    <a:gd name="connsiteY3" fmla="*/ 573881 h 862012"/>
                    <a:gd name="connsiteX4" fmla="*/ 778668 w 1138238"/>
                    <a:gd name="connsiteY4" fmla="*/ 554831 h 862012"/>
                    <a:gd name="connsiteX5" fmla="*/ 833437 w 1138238"/>
                    <a:gd name="connsiteY5" fmla="*/ 528637 h 862012"/>
                    <a:gd name="connsiteX6" fmla="*/ 883443 w 1138238"/>
                    <a:gd name="connsiteY6" fmla="*/ 495300 h 862012"/>
                    <a:gd name="connsiteX7" fmla="*/ 900112 w 1138238"/>
                    <a:gd name="connsiteY7" fmla="*/ 490537 h 862012"/>
                    <a:gd name="connsiteX8" fmla="*/ 919162 w 1138238"/>
                    <a:gd name="connsiteY8" fmla="*/ 485775 h 862012"/>
                    <a:gd name="connsiteX9" fmla="*/ 916781 w 1138238"/>
                    <a:gd name="connsiteY9" fmla="*/ 447675 h 862012"/>
                    <a:gd name="connsiteX10" fmla="*/ 954881 w 1138238"/>
                    <a:gd name="connsiteY10" fmla="*/ 428625 h 862012"/>
                    <a:gd name="connsiteX11" fmla="*/ 985837 w 1138238"/>
                    <a:gd name="connsiteY11" fmla="*/ 407194 h 862012"/>
                    <a:gd name="connsiteX12" fmla="*/ 1000125 w 1138238"/>
                    <a:gd name="connsiteY12" fmla="*/ 347662 h 862012"/>
                    <a:gd name="connsiteX13" fmla="*/ 981075 w 1138238"/>
                    <a:gd name="connsiteY13" fmla="*/ 316706 h 862012"/>
                    <a:gd name="connsiteX14" fmla="*/ 997743 w 1138238"/>
                    <a:gd name="connsiteY14" fmla="*/ 271462 h 862012"/>
                    <a:gd name="connsiteX15" fmla="*/ 1033462 w 1138238"/>
                    <a:gd name="connsiteY15" fmla="*/ 233362 h 862012"/>
                    <a:gd name="connsiteX16" fmla="*/ 1097756 w 1138238"/>
                    <a:gd name="connsiteY16" fmla="*/ 209550 h 862012"/>
                    <a:gd name="connsiteX17" fmla="*/ 1138238 w 1138238"/>
                    <a:gd name="connsiteY17" fmla="*/ 185737 h 862012"/>
                    <a:gd name="connsiteX18" fmla="*/ 1100137 w 1138238"/>
                    <a:gd name="connsiteY18" fmla="*/ 161925 h 862012"/>
                    <a:gd name="connsiteX19" fmla="*/ 1052512 w 1138238"/>
                    <a:gd name="connsiteY19" fmla="*/ 107156 h 862012"/>
                    <a:gd name="connsiteX20" fmla="*/ 1009650 w 1138238"/>
                    <a:gd name="connsiteY20" fmla="*/ 73819 h 862012"/>
                    <a:gd name="connsiteX21" fmla="*/ 995362 w 1138238"/>
                    <a:gd name="connsiteY21" fmla="*/ 47625 h 862012"/>
                    <a:gd name="connsiteX22" fmla="*/ 983456 w 1138238"/>
                    <a:gd name="connsiteY22" fmla="*/ 64294 h 862012"/>
                    <a:gd name="connsiteX23" fmla="*/ 966787 w 1138238"/>
                    <a:gd name="connsiteY23" fmla="*/ 69056 h 862012"/>
                    <a:gd name="connsiteX24" fmla="*/ 935831 w 1138238"/>
                    <a:gd name="connsiteY24" fmla="*/ 59531 h 862012"/>
                    <a:gd name="connsiteX25" fmla="*/ 904875 w 1138238"/>
                    <a:gd name="connsiteY25" fmla="*/ 23812 h 862012"/>
                    <a:gd name="connsiteX26" fmla="*/ 888206 w 1138238"/>
                    <a:gd name="connsiteY26" fmla="*/ 0 h 862012"/>
                    <a:gd name="connsiteX27" fmla="*/ 869156 w 1138238"/>
                    <a:gd name="connsiteY27" fmla="*/ 28575 h 862012"/>
                    <a:gd name="connsiteX28" fmla="*/ 871537 w 1138238"/>
                    <a:gd name="connsiteY28" fmla="*/ 69056 h 862012"/>
                    <a:gd name="connsiteX29" fmla="*/ 847725 w 1138238"/>
                    <a:gd name="connsiteY29" fmla="*/ 100012 h 862012"/>
                    <a:gd name="connsiteX30" fmla="*/ 826293 w 1138238"/>
                    <a:gd name="connsiteY30" fmla="*/ 97631 h 862012"/>
                    <a:gd name="connsiteX31" fmla="*/ 800100 w 1138238"/>
                    <a:gd name="connsiteY31" fmla="*/ 71437 h 862012"/>
                    <a:gd name="connsiteX32" fmla="*/ 783431 w 1138238"/>
                    <a:gd name="connsiteY32" fmla="*/ 57150 h 862012"/>
                    <a:gd name="connsiteX33" fmla="*/ 764381 w 1138238"/>
                    <a:gd name="connsiteY33" fmla="*/ 61912 h 862012"/>
                    <a:gd name="connsiteX34" fmla="*/ 747712 w 1138238"/>
                    <a:gd name="connsiteY34" fmla="*/ 92869 h 862012"/>
                    <a:gd name="connsiteX35" fmla="*/ 742950 w 1138238"/>
                    <a:gd name="connsiteY35" fmla="*/ 107156 h 862012"/>
                    <a:gd name="connsiteX36" fmla="*/ 714375 w 1138238"/>
                    <a:gd name="connsiteY36" fmla="*/ 107156 h 862012"/>
                    <a:gd name="connsiteX37" fmla="*/ 700087 w 1138238"/>
                    <a:gd name="connsiteY37" fmla="*/ 95250 h 862012"/>
                    <a:gd name="connsiteX38" fmla="*/ 700087 w 1138238"/>
                    <a:gd name="connsiteY38" fmla="*/ 66675 h 862012"/>
                    <a:gd name="connsiteX39" fmla="*/ 704850 w 1138238"/>
                    <a:gd name="connsiteY39" fmla="*/ 38100 h 862012"/>
                    <a:gd name="connsiteX40" fmla="*/ 692943 w 1138238"/>
                    <a:gd name="connsiteY40" fmla="*/ 23812 h 862012"/>
                    <a:gd name="connsiteX41" fmla="*/ 669131 w 1138238"/>
                    <a:gd name="connsiteY41" fmla="*/ 26194 h 862012"/>
                    <a:gd name="connsiteX42" fmla="*/ 640556 w 1138238"/>
                    <a:gd name="connsiteY42" fmla="*/ 19050 h 862012"/>
                    <a:gd name="connsiteX43" fmla="*/ 604837 w 1138238"/>
                    <a:gd name="connsiteY43" fmla="*/ 4762 h 862012"/>
                    <a:gd name="connsiteX44" fmla="*/ 569118 w 1138238"/>
                    <a:gd name="connsiteY44" fmla="*/ 4762 h 862012"/>
                    <a:gd name="connsiteX45" fmla="*/ 557212 w 1138238"/>
                    <a:gd name="connsiteY45" fmla="*/ 11906 h 862012"/>
                    <a:gd name="connsiteX46" fmla="*/ 438150 w 1138238"/>
                    <a:gd name="connsiteY46" fmla="*/ 69056 h 862012"/>
                    <a:gd name="connsiteX47" fmla="*/ 421481 w 1138238"/>
                    <a:gd name="connsiteY47" fmla="*/ 169069 h 862012"/>
                    <a:gd name="connsiteX48" fmla="*/ 304800 w 1138238"/>
                    <a:gd name="connsiteY48" fmla="*/ 228600 h 862012"/>
                    <a:gd name="connsiteX49" fmla="*/ 276225 w 1138238"/>
                    <a:gd name="connsiteY49" fmla="*/ 290512 h 862012"/>
                    <a:gd name="connsiteX50" fmla="*/ 228600 w 1138238"/>
                    <a:gd name="connsiteY50" fmla="*/ 285750 h 862012"/>
                    <a:gd name="connsiteX51" fmla="*/ 211931 w 1138238"/>
                    <a:gd name="connsiteY51" fmla="*/ 357187 h 862012"/>
                    <a:gd name="connsiteX52" fmla="*/ 207168 w 1138238"/>
                    <a:gd name="connsiteY52" fmla="*/ 369094 h 862012"/>
                    <a:gd name="connsiteX53" fmla="*/ 223837 w 1138238"/>
                    <a:gd name="connsiteY53" fmla="*/ 404812 h 862012"/>
                    <a:gd name="connsiteX54" fmla="*/ 219075 w 1138238"/>
                    <a:gd name="connsiteY54" fmla="*/ 511969 h 862012"/>
                    <a:gd name="connsiteX55" fmla="*/ 195262 w 1138238"/>
                    <a:gd name="connsiteY55" fmla="*/ 521494 h 862012"/>
                    <a:gd name="connsiteX56" fmla="*/ 180975 w 1138238"/>
                    <a:gd name="connsiteY56" fmla="*/ 502444 h 862012"/>
                    <a:gd name="connsiteX57" fmla="*/ 161925 w 1138238"/>
                    <a:gd name="connsiteY57" fmla="*/ 457200 h 862012"/>
                    <a:gd name="connsiteX58" fmla="*/ 128587 w 1138238"/>
                    <a:gd name="connsiteY58" fmla="*/ 433387 h 862012"/>
                    <a:gd name="connsiteX59" fmla="*/ 116681 w 1138238"/>
                    <a:gd name="connsiteY59" fmla="*/ 409575 h 862012"/>
                    <a:gd name="connsiteX60" fmla="*/ 83343 w 1138238"/>
                    <a:gd name="connsiteY60" fmla="*/ 421481 h 862012"/>
                    <a:gd name="connsiteX61" fmla="*/ 78581 w 1138238"/>
                    <a:gd name="connsiteY61" fmla="*/ 466725 h 862012"/>
                    <a:gd name="connsiteX62" fmla="*/ 116681 w 1138238"/>
                    <a:gd name="connsiteY62" fmla="*/ 514350 h 862012"/>
                    <a:gd name="connsiteX63" fmla="*/ 123825 w 1138238"/>
                    <a:gd name="connsiteY63" fmla="*/ 583406 h 862012"/>
                    <a:gd name="connsiteX64" fmla="*/ 152400 w 1138238"/>
                    <a:gd name="connsiteY64" fmla="*/ 631031 h 862012"/>
                    <a:gd name="connsiteX65" fmla="*/ 142875 w 1138238"/>
                    <a:gd name="connsiteY65" fmla="*/ 657225 h 862012"/>
                    <a:gd name="connsiteX66" fmla="*/ 107156 w 1138238"/>
                    <a:gd name="connsiteY66" fmla="*/ 697706 h 862012"/>
                    <a:gd name="connsiteX67" fmla="*/ 42862 w 1138238"/>
                    <a:gd name="connsiteY67" fmla="*/ 735806 h 862012"/>
                    <a:gd name="connsiteX68" fmla="*/ 35718 w 1138238"/>
                    <a:gd name="connsiteY68" fmla="*/ 769144 h 862012"/>
                    <a:gd name="connsiteX69" fmla="*/ 19050 w 1138238"/>
                    <a:gd name="connsiteY69" fmla="*/ 795337 h 862012"/>
                    <a:gd name="connsiteX70" fmla="*/ 0 w 1138238"/>
                    <a:gd name="connsiteY70" fmla="*/ 859631 h 862012"/>
                    <a:gd name="connsiteX71" fmla="*/ 19050 w 1138238"/>
                    <a:gd name="connsiteY71" fmla="*/ 862012 h 862012"/>
                    <a:gd name="connsiteX72" fmla="*/ 154781 w 1138238"/>
                    <a:gd name="connsiteY72" fmla="*/ 828675 h 862012"/>
                    <a:gd name="connsiteX73" fmla="*/ 171450 w 1138238"/>
                    <a:gd name="connsiteY73" fmla="*/ 757237 h 862012"/>
                    <a:gd name="connsiteX74" fmla="*/ 259556 w 1138238"/>
                    <a:gd name="connsiteY74" fmla="*/ 800100 h 862012"/>
                    <a:gd name="connsiteX75" fmla="*/ 297656 w 1138238"/>
                    <a:gd name="connsiteY75" fmla="*/ 700087 h 862012"/>
                    <a:gd name="connsiteX76" fmla="*/ 385762 w 1138238"/>
                    <a:gd name="connsiteY76" fmla="*/ 666750 h 862012"/>
                    <a:gd name="connsiteX77" fmla="*/ 435768 w 1138238"/>
                    <a:gd name="connsiteY77" fmla="*/ 681037 h 862012"/>
                    <a:gd name="connsiteX78" fmla="*/ 473868 w 1138238"/>
                    <a:gd name="connsiteY78" fmla="*/ 702469 h 862012"/>
                    <a:gd name="connsiteX79" fmla="*/ 500062 w 1138238"/>
                    <a:gd name="connsiteY79" fmla="*/ 707231 h 862012"/>
                    <a:gd name="connsiteX80" fmla="*/ 516731 w 1138238"/>
                    <a:gd name="connsiteY80" fmla="*/ 702469 h 862012"/>
                    <a:gd name="connsiteX81" fmla="*/ 545306 w 1138238"/>
                    <a:gd name="connsiteY81" fmla="*/ 671512 h 862012"/>
                    <a:gd name="connsiteX82" fmla="*/ 576262 w 1138238"/>
                    <a:gd name="connsiteY82" fmla="*/ 671512 h 862012"/>
                    <a:gd name="connsiteX83" fmla="*/ 631031 w 1138238"/>
                    <a:gd name="connsiteY83" fmla="*/ 650081 h 862012"/>
                    <a:gd name="connsiteX0" fmla="*/ 631031 w 1138238"/>
                    <a:gd name="connsiteY0" fmla="*/ 650081 h 862012"/>
                    <a:gd name="connsiteX1" fmla="*/ 678656 w 1138238"/>
                    <a:gd name="connsiteY1" fmla="*/ 585787 h 862012"/>
                    <a:gd name="connsiteX2" fmla="*/ 702468 w 1138238"/>
                    <a:gd name="connsiteY2" fmla="*/ 573881 h 862012"/>
                    <a:gd name="connsiteX3" fmla="*/ 733425 w 1138238"/>
                    <a:gd name="connsiteY3" fmla="*/ 573881 h 862012"/>
                    <a:gd name="connsiteX4" fmla="*/ 778668 w 1138238"/>
                    <a:gd name="connsiteY4" fmla="*/ 554831 h 862012"/>
                    <a:gd name="connsiteX5" fmla="*/ 833437 w 1138238"/>
                    <a:gd name="connsiteY5" fmla="*/ 528637 h 862012"/>
                    <a:gd name="connsiteX6" fmla="*/ 883443 w 1138238"/>
                    <a:gd name="connsiteY6" fmla="*/ 495300 h 862012"/>
                    <a:gd name="connsiteX7" fmla="*/ 900112 w 1138238"/>
                    <a:gd name="connsiteY7" fmla="*/ 490537 h 862012"/>
                    <a:gd name="connsiteX8" fmla="*/ 919162 w 1138238"/>
                    <a:gd name="connsiteY8" fmla="*/ 485775 h 862012"/>
                    <a:gd name="connsiteX9" fmla="*/ 916781 w 1138238"/>
                    <a:gd name="connsiteY9" fmla="*/ 447675 h 862012"/>
                    <a:gd name="connsiteX10" fmla="*/ 954881 w 1138238"/>
                    <a:gd name="connsiteY10" fmla="*/ 428625 h 862012"/>
                    <a:gd name="connsiteX11" fmla="*/ 985837 w 1138238"/>
                    <a:gd name="connsiteY11" fmla="*/ 407194 h 862012"/>
                    <a:gd name="connsiteX12" fmla="*/ 1000125 w 1138238"/>
                    <a:gd name="connsiteY12" fmla="*/ 347662 h 862012"/>
                    <a:gd name="connsiteX13" fmla="*/ 981075 w 1138238"/>
                    <a:gd name="connsiteY13" fmla="*/ 316706 h 862012"/>
                    <a:gd name="connsiteX14" fmla="*/ 997743 w 1138238"/>
                    <a:gd name="connsiteY14" fmla="*/ 271462 h 862012"/>
                    <a:gd name="connsiteX15" fmla="*/ 1033462 w 1138238"/>
                    <a:gd name="connsiteY15" fmla="*/ 233362 h 862012"/>
                    <a:gd name="connsiteX16" fmla="*/ 1097756 w 1138238"/>
                    <a:gd name="connsiteY16" fmla="*/ 209550 h 862012"/>
                    <a:gd name="connsiteX17" fmla="*/ 1138238 w 1138238"/>
                    <a:gd name="connsiteY17" fmla="*/ 185737 h 862012"/>
                    <a:gd name="connsiteX18" fmla="*/ 1107281 w 1138238"/>
                    <a:gd name="connsiteY18" fmla="*/ 154781 h 862012"/>
                    <a:gd name="connsiteX19" fmla="*/ 1052512 w 1138238"/>
                    <a:gd name="connsiteY19" fmla="*/ 107156 h 862012"/>
                    <a:gd name="connsiteX20" fmla="*/ 1009650 w 1138238"/>
                    <a:gd name="connsiteY20" fmla="*/ 73819 h 862012"/>
                    <a:gd name="connsiteX21" fmla="*/ 995362 w 1138238"/>
                    <a:gd name="connsiteY21" fmla="*/ 47625 h 862012"/>
                    <a:gd name="connsiteX22" fmla="*/ 983456 w 1138238"/>
                    <a:gd name="connsiteY22" fmla="*/ 64294 h 862012"/>
                    <a:gd name="connsiteX23" fmla="*/ 966787 w 1138238"/>
                    <a:gd name="connsiteY23" fmla="*/ 69056 h 862012"/>
                    <a:gd name="connsiteX24" fmla="*/ 935831 w 1138238"/>
                    <a:gd name="connsiteY24" fmla="*/ 59531 h 862012"/>
                    <a:gd name="connsiteX25" fmla="*/ 904875 w 1138238"/>
                    <a:gd name="connsiteY25" fmla="*/ 23812 h 862012"/>
                    <a:gd name="connsiteX26" fmla="*/ 888206 w 1138238"/>
                    <a:gd name="connsiteY26" fmla="*/ 0 h 862012"/>
                    <a:gd name="connsiteX27" fmla="*/ 869156 w 1138238"/>
                    <a:gd name="connsiteY27" fmla="*/ 28575 h 862012"/>
                    <a:gd name="connsiteX28" fmla="*/ 871537 w 1138238"/>
                    <a:gd name="connsiteY28" fmla="*/ 69056 h 862012"/>
                    <a:gd name="connsiteX29" fmla="*/ 847725 w 1138238"/>
                    <a:gd name="connsiteY29" fmla="*/ 100012 h 862012"/>
                    <a:gd name="connsiteX30" fmla="*/ 826293 w 1138238"/>
                    <a:gd name="connsiteY30" fmla="*/ 97631 h 862012"/>
                    <a:gd name="connsiteX31" fmla="*/ 800100 w 1138238"/>
                    <a:gd name="connsiteY31" fmla="*/ 71437 h 862012"/>
                    <a:gd name="connsiteX32" fmla="*/ 783431 w 1138238"/>
                    <a:gd name="connsiteY32" fmla="*/ 57150 h 862012"/>
                    <a:gd name="connsiteX33" fmla="*/ 764381 w 1138238"/>
                    <a:gd name="connsiteY33" fmla="*/ 61912 h 862012"/>
                    <a:gd name="connsiteX34" fmla="*/ 747712 w 1138238"/>
                    <a:gd name="connsiteY34" fmla="*/ 92869 h 862012"/>
                    <a:gd name="connsiteX35" fmla="*/ 742950 w 1138238"/>
                    <a:gd name="connsiteY35" fmla="*/ 107156 h 862012"/>
                    <a:gd name="connsiteX36" fmla="*/ 714375 w 1138238"/>
                    <a:gd name="connsiteY36" fmla="*/ 107156 h 862012"/>
                    <a:gd name="connsiteX37" fmla="*/ 700087 w 1138238"/>
                    <a:gd name="connsiteY37" fmla="*/ 95250 h 862012"/>
                    <a:gd name="connsiteX38" fmla="*/ 700087 w 1138238"/>
                    <a:gd name="connsiteY38" fmla="*/ 66675 h 862012"/>
                    <a:gd name="connsiteX39" fmla="*/ 704850 w 1138238"/>
                    <a:gd name="connsiteY39" fmla="*/ 38100 h 862012"/>
                    <a:gd name="connsiteX40" fmla="*/ 692943 w 1138238"/>
                    <a:gd name="connsiteY40" fmla="*/ 23812 h 862012"/>
                    <a:gd name="connsiteX41" fmla="*/ 669131 w 1138238"/>
                    <a:gd name="connsiteY41" fmla="*/ 26194 h 862012"/>
                    <a:gd name="connsiteX42" fmla="*/ 640556 w 1138238"/>
                    <a:gd name="connsiteY42" fmla="*/ 19050 h 862012"/>
                    <a:gd name="connsiteX43" fmla="*/ 604837 w 1138238"/>
                    <a:gd name="connsiteY43" fmla="*/ 4762 h 862012"/>
                    <a:gd name="connsiteX44" fmla="*/ 569118 w 1138238"/>
                    <a:gd name="connsiteY44" fmla="*/ 4762 h 862012"/>
                    <a:gd name="connsiteX45" fmla="*/ 557212 w 1138238"/>
                    <a:gd name="connsiteY45" fmla="*/ 11906 h 862012"/>
                    <a:gd name="connsiteX46" fmla="*/ 438150 w 1138238"/>
                    <a:gd name="connsiteY46" fmla="*/ 69056 h 862012"/>
                    <a:gd name="connsiteX47" fmla="*/ 421481 w 1138238"/>
                    <a:gd name="connsiteY47" fmla="*/ 169069 h 862012"/>
                    <a:gd name="connsiteX48" fmla="*/ 304800 w 1138238"/>
                    <a:gd name="connsiteY48" fmla="*/ 228600 h 862012"/>
                    <a:gd name="connsiteX49" fmla="*/ 276225 w 1138238"/>
                    <a:gd name="connsiteY49" fmla="*/ 290512 h 862012"/>
                    <a:gd name="connsiteX50" fmla="*/ 228600 w 1138238"/>
                    <a:gd name="connsiteY50" fmla="*/ 285750 h 862012"/>
                    <a:gd name="connsiteX51" fmla="*/ 211931 w 1138238"/>
                    <a:gd name="connsiteY51" fmla="*/ 357187 h 862012"/>
                    <a:gd name="connsiteX52" fmla="*/ 207168 w 1138238"/>
                    <a:gd name="connsiteY52" fmla="*/ 369094 h 862012"/>
                    <a:gd name="connsiteX53" fmla="*/ 223837 w 1138238"/>
                    <a:gd name="connsiteY53" fmla="*/ 404812 h 862012"/>
                    <a:gd name="connsiteX54" fmla="*/ 219075 w 1138238"/>
                    <a:gd name="connsiteY54" fmla="*/ 511969 h 862012"/>
                    <a:gd name="connsiteX55" fmla="*/ 195262 w 1138238"/>
                    <a:gd name="connsiteY55" fmla="*/ 521494 h 862012"/>
                    <a:gd name="connsiteX56" fmla="*/ 180975 w 1138238"/>
                    <a:gd name="connsiteY56" fmla="*/ 502444 h 862012"/>
                    <a:gd name="connsiteX57" fmla="*/ 161925 w 1138238"/>
                    <a:gd name="connsiteY57" fmla="*/ 457200 h 862012"/>
                    <a:gd name="connsiteX58" fmla="*/ 128587 w 1138238"/>
                    <a:gd name="connsiteY58" fmla="*/ 433387 h 862012"/>
                    <a:gd name="connsiteX59" fmla="*/ 116681 w 1138238"/>
                    <a:gd name="connsiteY59" fmla="*/ 409575 h 862012"/>
                    <a:gd name="connsiteX60" fmla="*/ 83343 w 1138238"/>
                    <a:gd name="connsiteY60" fmla="*/ 421481 h 862012"/>
                    <a:gd name="connsiteX61" fmla="*/ 78581 w 1138238"/>
                    <a:gd name="connsiteY61" fmla="*/ 466725 h 862012"/>
                    <a:gd name="connsiteX62" fmla="*/ 116681 w 1138238"/>
                    <a:gd name="connsiteY62" fmla="*/ 514350 h 862012"/>
                    <a:gd name="connsiteX63" fmla="*/ 123825 w 1138238"/>
                    <a:gd name="connsiteY63" fmla="*/ 583406 h 862012"/>
                    <a:gd name="connsiteX64" fmla="*/ 152400 w 1138238"/>
                    <a:gd name="connsiteY64" fmla="*/ 631031 h 862012"/>
                    <a:gd name="connsiteX65" fmla="*/ 142875 w 1138238"/>
                    <a:gd name="connsiteY65" fmla="*/ 657225 h 862012"/>
                    <a:gd name="connsiteX66" fmla="*/ 107156 w 1138238"/>
                    <a:gd name="connsiteY66" fmla="*/ 697706 h 862012"/>
                    <a:gd name="connsiteX67" fmla="*/ 42862 w 1138238"/>
                    <a:gd name="connsiteY67" fmla="*/ 735806 h 862012"/>
                    <a:gd name="connsiteX68" fmla="*/ 35718 w 1138238"/>
                    <a:gd name="connsiteY68" fmla="*/ 769144 h 862012"/>
                    <a:gd name="connsiteX69" fmla="*/ 19050 w 1138238"/>
                    <a:gd name="connsiteY69" fmla="*/ 795337 h 862012"/>
                    <a:gd name="connsiteX70" fmla="*/ 0 w 1138238"/>
                    <a:gd name="connsiteY70" fmla="*/ 859631 h 862012"/>
                    <a:gd name="connsiteX71" fmla="*/ 19050 w 1138238"/>
                    <a:gd name="connsiteY71" fmla="*/ 862012 h 862012"/>
                    <a:gd name="connsiteX72" fmla="*/ 154781 w 1138238"/>
                    <a:gd name="connsiteY72" fmla="*/ 828675 h 862012"/>
                    <a:gd name="connsiteX73" fmla="*/ 171450 w 1138238"/>
                    <a:gd name="connsiteY73" fmla="*/ 757237 h 862012"/>
                    <a:gd name="connsiteX74" fmla="*/ 259556 w 1138238"/>
                    <a:gd name="connsiteY74" fmla="*/ 800100 h 862012"/>
                    <a:gd name="connsiteX75" fmla="*/ 297656 w 1138238"/>
                    <a:gd name="connsiteY75" fmla="*/ 700087 h 862012"/>
                    <a:gd name="connsiteX76" fmla="*/ 385762 w 1138238"/>
                    <a:gd name="connsiteY76" fmla="*/ 666750 h 862012"/>
                    <a:gd name="connsiteX77" fmla="*/ 435768 w 1138238"/>
                    <a:gd name="connsiteY77" fmla="*/ 681037 h 862012"/>
                    <a:gd name="connsiteX78" fmla="*/ 473868 w 1138238"/>
                    <a:gd name="connsiteY78" fmla="*/ 702469 h 862012"/>
                    <a:gd name="connsiteX79" fmla="*/ 500062 w 1138238"/>
                    <a:gd name="connsiteY79" fmla="*/ 707231 h 862012"/>
                    <a:gd name="connsiteX80" fmla="*/ 516731 w 1138238"/>
                    <a:gd name="connsiteY80" fmla="*/ 702469 h 862012"/>
                    <a:gd name="connsiteX81" fmla="*/ 545306 w 1138238"/>
                    <a:gd name="connsiteY81" fmla="*/ 671512 h 862012"/>
                    <a:gd name="connsiteX82" fmla="*/ 576262 w 1138238"/>
                    <a:gd name="connsiteY82" fmla="*/ 671512 h 862012"/>
                    <a:gd name="connsiteX83" fmla="*/ 631031 w 1138238"/>
                    <a:gd name="connsiteY83" fmla="*/ 650081 h 862012"/>
                    <a:gd name="connsiteX0" fmla="*/ 631031 w 1138238"/>
                    <a:gd name="connsiteY0" fmla="*/ 650081 h 862012"/>
                    <a:gd name="connsiteX1" fmla="*/ 678656 w 1138238"/>
                    <a:gd name="connsiteY1" fmla="*/ 585787 h 862012"/>
                    <a:gd name="connsiteX2" fmla="*/ 702468 w 1138238"/>
                    <a:gd name="connsiteY2" fmla="*/ 573881 h 862012"/>
                    <a:gd name="connsiteX3" fmla="*/ 733425 w 1138238"/>
                    <a:gd name="connsiteY3" fmla="*/ 573881 h 862012"/>
                    <a:gd name="connsiteX4" fmla="*/ 778668 w 1138238"/>
                    <a:gd name="connsiteY4" fmla="*/ 554831 h 862012"/>
                    <a:gd name="connsiteX5" fmla="*/ 833437 w 1138238"/>
                    <a:gd name="connsiteY5" fmla="*/ 528637 h 862012"/>
                    <a:gd name="connsiteX6" fmla="*/ 883443 w 1138238"/>
                    <a:gd name="connsiteY6" fmla="*/ 495300 h 862012"/>
                    <a:gd name="connsiteX7" fmla="*/ 900112 w 1138238"/>
                    <a:gd name="connsiteY7" fmla="*/ 490537 h 862012"/>
                    <a:gd name="connsiteX8" fmla="*/ 919162 w 1138238"/>
                    <a:gd name="connsiteY8" fmla="*/ 485775 h 862012"/>
                    <a:gd name="connsiteX9" fmla="*/ 916781 w 1138238"/>
                    <a:gd name="connsiteY9" fmla="*/ 447675 h 862012"/>
                    <a:gd name="connsiteX10" fmla="*/ 954881 w 1138238"/>
                    <a:gd name="connsiteY10" fmla="*/ 428625 h 862012"/>
                    <a:gd name="connsiteX11" fmla="*/ 985837 w 1138238"/>
                    <a:gd name="connsiteY11" fmla="*/ 407194 h 862012"/>
                    <a:gd name="connsiteX12" fmla="*/ 1000125 w 1138238"/>
                    <a:gd name="connsiteY12" fmla="*/ 347662 h 862012"/>
                    <a:gd name="connsiteX13" fmla="*/ 981075 w 1138238"/>
                    <a:gd name="connsiteY13" fmla="*/ 316706 h 862012"/>
                    <a:gd name="connsiteX14" fmla="*/ 997743 w 1138238"/>
                    <a:gd name="connsiteY14" fmla="*/ 271462 h 862012"/>
                    <a:gd name="connsiteX15" fmla="*/ 1033462 w 1138238"/>
                    <a:gd name="connsiteY15" fmla="*/ 233362 h 862012"/>
                    <a:gd name="connsiteX16" fmla="*/ 1097756 w 1138238"/>
                    <a:gd name="connsiteY16" fmla="*/ 209550 h 862012"/>
                    <a:gd name="connsiteX17" fmla="*/ 1138238 w 1138238"/>
                    <a:gd name="connsiteY17" fmla="*/ 185737 h 862012"/>
                    <a:gd name="connsiteX18" fmla="*/ 1107281 w 1138238"/>
                    <a:gd name="connsiteY18" fmla="*/ 154781 h 862012"/>
                    <a:gd name="connsiteX19" fmla="*/ 1052512 w 1138238"/>
                    <a:gd name="connsiteY19" fmla="*/ 97631 h 862012"/>
                    <a:gd name="connsiteX20" fmla="*/ 1009650 w 1138238"/>
                    <a:gd name="connsiteY20" fmla="*/ 73819 h 862012"/>
                    <a:gd name="connsiteX21" fmla="*/ 995362 w 1138238"/>
                    <a:gd name="connsiteY21" fmla="*/ 47625 h 862012"/>
                    <a:gd name="connsiteX22" fmla="*/ 983456 w 1138238"/>
                    <a:gd name="connsiteY22" fmla="*/ 64294 h 862012"/>
                    <a:gd name="connsiteX23" fmla="*/ 966787 w 1138238"/>
                    <a:gd name="connsiteY23" fmla="*/ 69056 h 862012"/>
                    <a:gd name="connsiteX24" fmla="*/ 935831 w 1138238"/>
                    <a:gd name="connsiteY24" fmla="*/ 59531 h 862012"/>
                    <a:gd name="connsiteX25" fmla="*/ 904875 w 1138238"/>
                    <a:gd name="connsiteY25" fmla="*/ 23812 h 862012"/>
                    <a:gd name="connsiteX26" fmla="*/ 888206 w 1138238"/>
                    <a:gd name="connsiteY26" fmla="*/ 0 h 862012"/>
                    <a:gd name="connsiteX27" fmla="*/ 869156 w 1138238"/>
                    <a:gd name="connsiteY27" fmla="*/ 28575 h 862012"/>
                    <a:gd name="connsiteX28" fmla="*/ 871537 w 1138238"/>
                    <a:gd name="connsiteY28" fmla="*/ 69056 h 862012"/>
                    <a:gd name="connsiteX29" fmla="*/ 847725 w 1138238"/>
                    <a:gd name="connsiteY29" fmla="*/ 100012 h 862012"/>
                    <a:gd name="connsiteX30" fmla="*/ 826293 w 1138238"/>
                    <a:gd name="connsiteY30" fmla="*/ 97631 h 862012"/>
                    <a:gd name="connsiteX31" fmla="*/ 800100 w 1138238"/>
                    <a:gd name="connsiteY31" fmla="*/ 71437 h 862012"/>
                    <a:gd name="connsiteX32" fmla="*/ 783431 w 1138238"/>
                    <a:gd name="connsiteY32" fmla="*/ 57150 h 862012"/>
                    <a:gd name="connsiteX33" fmla="*/ 764381 w 1138238"/>
                    <a:gd name="connsiteY33" fmla="*/ 61912 h 862012"/>
                    <a:gd name="connsiteX34" fmla="*/ 747712 w 1138238"/>
                    <a:gd name="connsiteY34" fmla="*/ 92869 h 862012"/>
                    <a:gd name="connsiteX35" fmla="*/ 742950 w 1138238"/>
                    <a:gd name="connsiteY35" fmla="*/ 107156 h 862012"/>
                    <a:gd name="connsiteX36" fmla="*/ 714375 w 1138238"/>
                    <a:gd name="connsiteY36" fmla="*/ 107156 h 862012"/>
                    <a:gd name="connsiteX37" fmla="*/ 700087 w 1138238"/>
                    <a:gd name="connsiteY37" fmla="*/ 95250 h 862012"/>
                    <a:gd name="connsiteX38" fmla="*/ 700087 w 1138238"/>
                    <a:gd name="connsiteY38" fmla="*/ 66675 h 862012"/>
                    <a:gd name="connsiteX39" fmla="*/ 704850 w 1138238"/>
                    <a:gd name="connsiteY39" fmla="*/ 38100 h 862012"/>
                    <a:gd name="connsiteX40" fmla="*/ 692943 w 1138238"/>
                    <a:gd name="connsiteY40" fmla="*/ 23812 h 862012"/>
                    <a:gd name="connsiteX41" fmla="*/ 669131 w 1138238"/>
                    <a:gd name="connsiteY41" fmla="*/ 26194 h 862012"/>
                    <a:gd name="connsiteX42" fmla="*/ 640556 w 1138238"/>
                    <a:gd name="connsiteY42" fmla="*/ 19050 h 862012"/>
                    <a:gd name="connsiteX43" fmla="*/ 604837 w 1138238"/>
                    <a:gd name="connsiteY43" fmla="*/ 4762 h 862012"/>
                    <a:gd name="connsiteX44" fmla="*/ 569118 w 1138238"/>
                    <a:gd name="connsiteY44" fmla="*/ 4762 h 862012"/>
                    <a:gd name="connsiteX45" fmla="*/ 557212 w 1138238"/>
                    <a:gd name="connsiteY45" fmla="*/ 11906 h 862012"/>
                    <a:gd name="connsiteX46" fmla="*/ 438150 w 1138238"/>
                    <a:gd name="connsiteY46" fmla="*/ 69056 h 862012"/>
                    <a:gd name="connsiteX47" fmla="*/ 421481 w 1138238"/>
                    <a:gd name="connsiteY47" fmla="*/ 169069 h 862012"/>
                    <a:gd name="connsiteX48" fmla="*/ 304800 w 1138238"/>
                    <a:gd name="connsiteY48" fmla="*/ 228600 h 862012"/>
                    <a:gd name="connsiteX49" fmla="*/ 276225 w 1138238"/>
                    <a:gd name="connsiteY49" fmla="*/ 290512 h 862012"/>
                    <a:gd name="connsiteX50" fmla="*/ 228600 w 1138238"/>
                    <a:gd name="connsiteY50" fmla="*/ 285750 h 862012"/>
                    <a:gd name="connsiteX51" fmla="*/ 211931 w 1138238"/>
                    <a:gd name="connsiteY51" fmla="*/ 357187 h 862012"/>
                    <a:gd name="connsiteX52" fmla="*/ 207168 w 1138238"/>
                    <a:gd name="connsiteY52" fmla="*/ 369094 h 862012"/>
                    <a:gd name="connsiteX53" fmla="*/ 223837 w 1138238"/>
                    <a:gd name="connsiteY53" fmla="*/ 404812 h 862012"/>
                    <a:gd name="connsiteX54" fmla="*/ 219075 w 1138238"/>
                    <a:gd name="connsiteY54" fmla="*/ 511969 h 862012"/>
                    <a:gd name="connsiteX55" fmla="*/ 195262 w 1138238"/>
                    <a:gd name="connsiteY55" fmla="*/ 521494 h 862012"/>
                    <a:gd name="connsiteX56" fmla="*/ 180975 w 1138238"/>
                    <a:gd name="connsiteY56" fmla="*/ 502444 h 862012"/>
                    <a:gd name="connsiteX57" fmla="*/ 161925 w 1138238"/>
                    <a:gd name="connsiteY57" fmla="*/ 457200 h 862012"/>
                    <a:gd name="connsiteX58" fmla="*/ 128587 w 1138238"/>
                    <a:gd name="connsiteY58" fmla="*/ 433387 h 862012"/>
                    <a:gd name="connsiteX59" fmla="*/ 116681 w 1138238"/>
                    <a:gd name="connsiteY59" fmla="*/ 409575 h 862012"/>
                    <a:gd name="connsiteX60" fmla="*/ 83343 w 1138238"/>
                    <a:gd name="connsiteY60" fmla="*/ 421481 h 862012"/>
                    <a:gd name="connsiteX61" fmla="*/ 78581 w 1138238"/>
                    <a:gd name="connsiteY61" fmla="*/ 466725 h 862012"/>
                    <a:gd name="connsiteX62" fmla="*/ 116681 w 1138238"/>
                    <a:gd name="connsiteY62" fmla="*/ 514350 h 862012"/>
                    <a:gd name="connsiteX63" fmla="*/ 123825 w 1138238"/>
                    <a:gd name="connsiteY63" fmla="*/ 583406 h 862012"/>
                    <a:gd name="connsiteX64" fmla="*/ 152400 w 1138238"/>
                    <a:gd name="connsiteY64" fmla="*/ 631031 h 862012"/>
                    <a:gd name="connsiteX65" fmla="*/ 142875 w 1138238"/>
                    <a:gd name="connsiteY65" fmla="*/ 657225 h 862012"/>
                    <a:gd name="connsiteX66" fmla="*/ 107156 w 1138238"/>
                    <a:gd name="connsiteY66" fmla="*/ 697706 h 862012"/>
                    <a:gd name="connsiteX67" fmla="*/ 42862 w 1138238"/>
                    <a:gd name="connsiteY67" fmla="*/ 735806 h 862012"/>
                    <a:gd name="connsiteX68" fmla="*/ 35718 w 1138238"/>
                    <a:gd name="connsiteY68" fmla="*/ 769144 h 862012"/>
                    <a:gd name="connsiteX69" fmla="*/ 19050 w 1138238"/>
                    <a:gd name="connsiteY69" fmla="*/ 795337 h 862012"/>
                    <a:gd name="connsiteX70" fmla="*/ 0 w 1138238"/>
                    <a:gd name="connsiteY70" fmla="*/ 859631 h 862012"/>
                    <a:gd name="connsiteX71" fmla="*/ 19050 w 1138238"/>
                    <a:gd name="connsiteY71" fmla="*/ 862012 h 862012"/>
                    <a:gd name="connsiteX72" fmla="*/ 154781 w 1138238"/>
                    <a:gd name="connsiteY72" fmla="*/ 828675 h 862012"/>
                    <a:gd name="connsiteX73" fmla="*/ 171450 w 1138238"/>
                    <a:gd name="connsiteY73" fmla="*/ 757237 h 862012"/>
                    <a:gd name="connsiteX74" fmla="*/ 259556 w 1138238"/>
                    <a:gd name="connsiteY74" fmla="*/ 800100 h 862012"/>
                    <a:gd name="connsiteX75" fmla="*/ 297656 w 1138238"/>
                    <a:gd name="connsiteY75" fmla="*/ 700087 h 862012"/>
                    <a:gd name="connsiteX76" fmla="*/ 385762 w 1138238"/>
                    <a:gd name="connsiteY76" fmla="*/ 666750 h 862012"/>
                    <a:gd name="connsiteX77" fmla="*/ 435768 w 1138238"/>
                    <a:gd name="connsiteY77" fmla="*/ 681037 h 862012"/>
                    <a:gd name="connsiteX78" fmla="*/ 473868 w 1138238"/>
                    <a:gd name="connsiteY78" fmla="*/ 702469 h 862012"/>
                    <a:gd name="connsiteX79" fmla="*/ 500062 w 1138238"/>
                    <a:gd name="connsiteY79" fmla="*/ 707231 h 862012"/>
                    <a:gd name="connsiteX80" fmla="*/ 516731 w 1138238"/>
                    <a:gd name="connsiteY80" fmla="*/ 702469 h 862012"/>
                    <a:gd name="connsiteX81" fmla="*/ 545306 w 1138238"/>
                    <a:gd name="connsiteY81" fmla="*/ 671512 h 862012"/>
                    <a:gd name="connsiteX82" fmla="*/ 576262 w 1138238"/>
                    <a:gd name="connsiteY82" fmla="*/ 671512 h 862012"/>
                    <a:gd name="connsiteX83" fmla="*/ 631031 w 1138238"/>
                    <a:gd name="connsiteY83" fmla="*/ 650081 h 862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1138238" h="862012">
                      <a:moveTo>
                        <a:pt x="631031" y="650081"/>
                      </a:moveTo>
                      <a:lnTo>
                        <a:pt x="678656" y="585787"/>
                      </a:lnTo>
                      <a:lnTo>
                        <a:pt x="702468" y="573881"/>
                      </a:lnTo>
                      <a:lnTo>
                        <a:pt x="733425" y="573881"/>
                      </a:lnTo>
                      <a:lnTo>
                        <a:pt x="778668" y="554831"/>
                      </a:lnTo>
                      <a:lnTo>
                        <a:pt x="833437" y="528637"/>
                      </a:lnTo>
                      <a:lnTo>
                        <a:pt x="883443" y="495300"/>
                      </a:lnTo>
                      <a:lnTo>
                        <a:pt x="900112" y="490537"/>
                      </a:lnTo>
                      <a:lnTo>
                        <a:pt x="919162" y="485775"/>
                      </a:lnTo>
                      <a:lnTo>
                        <a:pt x="916781" y="447675"/>
                      </a:lnTo>
                      <a:lnTo>
                        <a:pt x="954881" y="428625"/>
                      </a:lnTo>
                      <a:lnTo>
                        <a:pt x="985837" y="407194"/>
                      </a:lnTo>
                      <a:lnTo>
                        <a:pt x="1000125" y="347662"/>
                      </a:lnTo>
                      <a:lnTo>
                        <a:pt x="981075" y="316706"/>
                      </a:lnTo>
                      <a:lnTo>
                        <a:pt x="997743" y="271462"/>
                      </a:lnTo>
                      <a:lnTo>
                        <a:pt x="1033462" y="233362"/>
                      </a:lnTo>
                      <a:lnTo>
                        <a:pt x="1097756" y="209550"/>
                      </a:lnTo>
                      <a:lnTo>
                        <a:pt x="1138238" y="185737"/>
                      </a:lnTo>
                      <a:lnTo>
                        <a:pt x="1107281" y="154781"/>
                      </a:lnTo>
                      <a:lnTo>
                        <a:pt x="1052512" y="97631"/>
                      </a:lnTo>
                      <a:lnTo>
                        <a:pt x="1009650" y="73819"/>
                      </a:lnTo>
                      <a:lnTo>
                        <a:pt x="995362" y="47625"/>
                      </a:lnTo>
                      <a:lnTo>
                        <a:pt x="983456" y="64294"/>
                      </a:lnTo>
                      <a:lnTo>
                        <a:pt x="966787" y="69056"/>
                      </a:lnTo>
                      <a:lnTo>
                        <a:pt x="935831" y="59531"/>
                      </a:lnTo>
                      <a:lnTo>
                        <a:pt x="904875" y="23812"/>
                      </a:lnTo>
                      <a:lnTo>
                        <a:pt x="888206" y="0"/>
                      </a:lnTo>
                      <a:lnTo>
                        <a:pt x="869156" y="28575"/>
                      </a:lnTo>
                      <a:lnTo>
                        <a:pt x="871537" y="69056"/>
                      </a:lnTo>
                      <a:lnTo>
                        <a:pt x="847725" y="100012"/>
                      </a:lnTo>
                      <a:lnTo>
                        <a:pt x="826293" y="97631"/>
                      </a:lnTo>
                      <a:lnTo>
                        <a:pt x="800100" y="71437"/>
                      </a:lnTo>
                      <a:lnTo>
                        <a:pt x="783431" y="57150"/>
                      </a:lnTo>
                      <a:lnTo>
                        <a:pt x="764381" y="61912"/>
                      </a:lnTo>
                      <a:lnTo>
                        <a:pt x="747712" y="92869"/>
                      </a:lnTo>
                      <a:lnTo>
                        <a:pt x="742950" y="107156"/>
                      </a:lnTo>
                      <a:lnTo>
                        <a:pt x="714375" y="107156"/>
                      </a:lnTo>
                      <a:lnTo>
                        <a:pt x="700087" y="95250"/>
                      </a:lnTo>
                      <a:lnTo>
                        <a:pt x="700087" y="66675"/>
                      </a:lnTo>
                      <a:lnTo>
                        <a:pt x="704850" y="38100"/>
                      </a:lnTo>
                      <a:lnTo>
                        <a:pt x="692943" y="23812"/>
                      </a:lnTo>
                      <a:lnTo>
                        <a:pt x="669131" y="26194"/>
                      </a:lnTo>
                      <a:lnTo>
                        <a:pt x="640556" y="19050"/>
                      </a:lnTo>
                      <a:lnTo>
                        <a:pt x="604837" y="4762"/>
                      </a:lnTo>
                      <a:lnTo>
                        <a:pt x="569118" y="4762"/>
                      </a:lnTo>
                      <a:lnTo>
                        <a:pt x="557212" y="11906"/>
                      </a:lnTo>
                      <a:lnTo>
                        <a:pt x="438150" y="69056"/>
                      </a:lnTo>
                      <a:lnTo>
                        <a:pt x="421481" y="169069"/>
                      </a:lnTo>
                      <a:lnTo>
                        <a:pt x="304800" y="228600"/>
                      </a:lnTo>
                      <a:lnTo>
                        <a:pt x="276225" y="290512"/>
                      </a:lnTo>
                      <a:lnTo>
                        <a:pt x="228600" y="285750"/>
                      </a:lnTo>
                      <a:lnTo>
                        <a:pt x="211931" y="357187"/>
                      </a:lnTo>
                      <a:lnTo>
                        <a:pt x="207168" y="369094"/>
                      </a:lnTo>
                      <a:lnTo>
                        <a:pt x="223837" y="404812"/>
                      </a:lnTo>
                      <a:lnTo>
                        <a:pt x="219075" y="511969"/>
                      </a:lnTo>
                      <a:lnTo>
                        <a:pt x="195262" y="521494"/>
                      </a:lnTo>
                      <a:lnTo>
                        <a:pt x="180975" y="502444"/>
                      </a:lnTo>
                      <a:lnTo>
                        <a:pt x="161925" y="457200"/>
                      </a:lnTo>
                      <a:lnTo>
                        <a:pt x="128587" y="433387"/>
                      </a:lnTo>
                      <a:lnTo>
                        <a:pt x="116681" y="409575"/>
                      </a:lnTo>
                      <a:lnTo>
                        <a:pt x="83343" y="421481"/>
                      </a:lnTo>
                      <a:lnTo>
                        <a:pt x="78581" y="466725"/>
                      </a:lnTo>
                      <a:lnTo>
                        <a:pt x="116681" y="514350"/>
                      </a:lnTo>
                      <a:lnTo>
                        <a:pt x="123825" y="583406"/>
                      </a:lnTo>
                      <a:lnTo>
                        <a:pt x="152400" y="631031"/>
                      </a:lnTo>
                      <a:lnTo>
                        <a:pt x="142875" y="657225"/>
                      </a:lnTo>
                      <a:lnTo>
                        <a:pt x="107156" y="697706"/>
                      </a:lnTo>
                      <a:lnTo>
                        <a:pt x="42862" y="735806"/>
                      </a:lnTo>
                      <a:lnTo>
                        <a:pt x="35718" y="769144"/>
                      </a:lnTo>
                      <a:lnTo>
                        <a:pt x="19050" y="795337"/>
                      </a:lnTo>
                      <a:lnTo>
                        <a:pt x="0" y="859631"/>
                      </a:lnTo>
                      <a:lnTo>
                        <a:pt x="19050" y="862012"/>
                      </a:lnTo>
                      <a:lnTo>
                        <a:pt x="154781" y="828675"/>
                      </a:lnTo>
                      <a:lnTo>
                        <a:pt x="171450" y="757237"/>
                      </a:lnTo>
                      <a:lnTo>
                        <a:pt x="259556" y="800100"/>
                      </a:lnTo>
                      <a:lnTo>
                        <a:pt x="297656" y="700087"/>
                      </a:lnTo>
                      <a:lnTo>
                        <a:pt x="385762" y="666750"/>
                      </a:lnTo>
                      <a:lnTo>
                        <a:pt x="435768" y="681037"/>
                      </a:lnTo>
                      <a:lnTo>
                        <a:pt x="473868" y="702469"/>
                      </a:lnTo>
                      <a:lnTo>
                        <a:pt x="500062" y="707231"/>
                      </a:lnTo>
                      <a:lnTo>
                        <a:pt x="516731" y="702469"/>
                      </a:lnTo>
                      <a:lnTo>
                        <a:pt x="545306" y="671512"/>
                      </a:lnTo>
                      <a:lnTo>
                        <a:pt x="576262" y="671512"/>
                      </a:lnTo>
                      <a:lnTo>
                        <a:pt x="631031" y="650081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367">
                  <a:extLst>
                    <a:ext uri="{FF2B5EF4-FFF2-40B4-BE49-F238E27FC236}">
                      <a16:creationId xmlns:a16="http://schemas.microsoft.com/office/drawing/2014/main" id="{CD73A15B-FE42-B5D7-3836-75A718DBFD32}"/>
                    </a:ext>
                  </a:extLst>
                </p:cNvPr>
                <p:cNvSpPr/>
                <p:nvPr/>
              </p:nvSpPr>
              <p:spPr>
                <a:xfrm rot="21396613">
                  <a:off x="3461611" y="2897908"/>
                  <a:ext cx="806390" cy="656065"/>
                </a:xfrm>
                <a:custGeom>
                  <a:avLst/>
                  <a:gdLst>
                    <a:gd name="connsiteX0" fmla="*/ 123825 w 735806"/>
                    <a:gd name="connsiteY0" fmla="*/ 504825 h 611981"/>
                    <a:gd name="connsiteX1" fmla="*/ 207169 w 735806"/>
                    <a:gd name="connsiteY1" fmla="*/ 528638 h 611981"/>
                    <a:gd name="connsiteX2" fmla="*/ 235744 w 735806"/>
                    <a:gd name="connsiteY2" fmla="*/ 535781 h 611981"/>
                    <a:gd name="connsiteX3" fmla="*/ 257175 w 735806"/>
                    <a:gd name="connsiteY3" fmla="*/ 531019 h 611981"/>
                    <a:gd name="connsiteX4" fmla="*/ 259556 w 735806"/>
                    <a:gd name="connsiteY4" fmla="*/ 547688 h 611981"/>
                    <a:gd name="connsiteX5" fmla="*/ 266700 w 735806"/>
                    <a:gd name="connsiteY5" fmla="*/ 604838 h 611981"/>
                    <a:gd name="connsiteX6" fmla="*/ 276225 w 735806"/>
                    <a:gd name="connsiteY6" fmla="*/ 611981 h 611981"/>
                    <a:gd name="connsiteX7" fmla="*/ 276225 w 735806"/>
                    <a:gd name="connsiteY7" fmla="*/ 611981 h 611981"/>
                    <a:gd name="connsiteX8" fmla="*/ 311944 w 735806"/>
                    <a:gd name="connsiteY8" fmla="*/ 592931 h 611981"/>
                    <a:gd name="connsiteX9" fmla="*/ 323850 w 735806"/>
                    <a:gd name="connsiteY9" fmla="*/ 566738 h 611981"/>
                    <a:gd name="connsiteX10" fmla="*/ 340519 w 735806"/>
                    <a:gd name="connsiteY10" fmla="*/ 561975 h 611981"/>
                    <a:gd name="connsiteX11" fmla="*/ 364331 w 735806"/>
                    <a:gd name="connsiteY11" fmla="*/ 585788 h 611981"/>
                    <a:gd name="connsiteX12" fmla="*/ 381000 w 735806"/>
                    <a:gd name="connsiteY12" fmla="*/ 600075 h 611981"/>
                    <a:gd name="connsiteX13" fmla="*/ 400050 w 735806"/>
                    <a:gd name="connsiteY13" fmla="*/ 607219 h 611981"/>
                    <a:gd name="connsiteX14" fmla="*/ 426244 w 735806"/>
                    <a:gd name="connsiteY14" fmla="*/ 573881 h 611981"/>
                    <a:gd name="connsiteX15" fmla="*/ 433387 w 735806"/>
                    <a:gd name="connsiteY15" fmla="*/ 533400 h 611981"/>
                    <a:gd name="connsiteX16" fmla="*/ 447675 w 735806"/>
                    <a:gd name="connsiteY16" fmla="*/ 504825 h 611981"/>
                    <a:gd name="connsiteX17" fmla="*/ 473869 w 735806"/>
                    <a:gd name="connsiteY17" fmla="*/ 542925 h 611981"/>
                    <a:gd name="connsiteX18" fmla="*/ 495300 w 735806"/>
                    <a:gd name="connsiteY18" fmla="*/ 561975 h 611981"/>
                    <a:gd name="connsiteX19" fmla="*/ 516731 w 735806"/>
                    <a:gd name="connsiteY19" fmla="*/ 578644 h 611981"/>
                    <a:gd name="connsiteX20" fmla="*/ 550069 w 735806"/>
                    <a:gd name="connsiteY20" fmla="*/ 566738 h 611981"/>
                    <a:gd name="connsiteX21" fmla="*/ 557212 w 735806"/>
                    <a:gd name="connsiteY21" fmla="*/ 547688 h 611981"/>
                    <a:gd name="connsiteX22" fmla="*/ 557212 w 735806"/>
                    <a:gd name="connsiteY22" fmla="*/ 535781 h 611981"/>
                    <a:gd name="connsiteX23" fmla="*/ 531019 w 735806"/>
                    <a:gd name="connsiteY23" fmla="*/ 511969 h 611981"/>
                    <a:gd name="connsiteX24" fmla="*/ 514350 w 735806"/>
                    <a:gd name="connsiteY24" fmla="*/ 421481 h 611981"/>
                    <a:gd name="connsiteX25" fmla="*/ 514350 w 735806"/>
                    <a:gd name="connsiteY25" fmla="*/ 421481 h 611981"/>
                    <a:gd name="connsiteX26" fmla="*/ 464344 w 735806"/>
                    <a:gd name="connsiteY26" fmla="*/ 445294 h 611981"/>
                    <a:gd name="connsiteX27" fmla="*/ 438150 w 735806"/>
                    <a:gd name="connsiteY27" fmla="*/ 431006 h 611981"/>
                    <a:gd name="connsiteX28" fmla="*/ 426244 w 735806"/>
                    <a:gd name="connsiteY28" fmla="*/ 385763 h 611981"/>
                    <a:gd name="connsiteX29" fmla="*/ 411956 w 735806"/>
                    <a:gd name="connsiteY29" fmla="*/ 381000 h 611981"/>
                    <a:gd name="connsiteX30" fmla="*/ 388144 w 735806"/>
                    <a:gd name="connsiteY30" fmla="*/ 350044 h 611981"/>
                    <a:gd name="connsiteX31" fmla="*/ 409575 w 735806"/>
                    <a:gd name="connsiteY31" fmla="*/ 314325 h 611981"/>
                    <a:gd name="connsiteX32" fmla="*/ 507206 w 735806"/>
                    <a:gd name="connsiteY32" fmla="*/ 338138 h 611981"/>
                    <a:gd name="connsiteX33" fmla="*/ 528637 w 735806"/>
                    <a:gd name="connsiteY33" fmla="*/ 311944 h 611981"/>
                    <a:gd name="connsiteX34" fmla="*/ 626269 w 735806"/>
                    <a:gd name="connsiteY34" fmla="*/ 290513 h 611981"/>
                    <a:gd name="connsiteX35" fmla="*/ 631031 w 735806"/>
                    <a:gd name="connsiteY35" fmla="*/ 240506 h 611981"/>
                    <a:gd name="connsiteX36" fmla="*/ 714375 w 735806"/>
                    <a:gd name="connsiteY36" fmla="*/ 166688 h 611981"/>
                    <a:gd name="connsiteX37" fmla="*/ 735806 w 735806"/>
                    <a:gd name="connsiteY37" fmla="*/ 71438 h 611981"/>
                    <a:gd name="connsiteX38" fmla="*/ 707231 w 735806"/>
                    <a:gd name="connsiteY38" fmla="*/ 0 h 611981"/>
                    <a:gd name="connsiteX39" fmla="*/ 614362 w 735806"/>
                    <a:gd name="connsiteY39" fmla="*/ 47625 h 611981"/>
                    <a:gd name="connsiteX40" fmla="*/ 614362 w 735806"/>
                    <a:gd name="connsiteY40" fmla="*/ 66675 h 611981"/>
                    <a:gd name="connsiteX41" fmla="*/ 597694 w 735806"/>
                    <a:gd name="connsiteY41" fmla="*/ 135731 h 611981"/>
                    <a:gd name="connsiteX42" fmla="*/ 566737 w 735806"/>
                    <a:gd name="connsiteY42" fmla="*/ 130969 h 611981"/>
                    <a:gd name="connsiteX43" fmla="*/ 514350 w 735806"/>
                    <a:gd name="connsiteY43" fmla="*/ 164306 h 611981"/>
                    <a:gd name="connsiteX44" fmla="*/ 433387 w 735806"/>
                    <a:gd name="connsiteY44" fmla="*/ 123825 h 611981"/>
                    <a:gd name="connsiteX45" fmla="*/ 402431 w 735806"/>
                    <a:gd name="connsiteY45" fmla="*/ 128588 h 611981"/>
                    <a:gd name="connsiteX46" fmla="*/ 359569 w 735806"/>
                    <a:gd name="connsiteY46" fmla="*/ 154781 h 611981"/>
                    <a:gd name="connsiteX47" fmla="*/ 307181 w 735806"/>
                    <a:gd name="connsiteY47" fmla="*/ 154781 h 611981"/>
                    <a:gd name="connsiteX48" fmla="*/ 280987 w 735806"/>
                    <a:gd name="connsiteY48" fmla="*/ 188119 h 611981"/>
                    <a:gd name="connsiteX49" fmla="*/ 209550 w 735806"/>
                    <a:gd name="connsiteY49" fmla="*/ 171450 h 611981"/>
                    <a:gd name="connsiteX50" fmla="*/ 154781 w 735806"/>
                    <a:gd name="connsiteY50" fmla="*/ 197644 h 611981"/>
                    <a:gd name="connsiteX51" fmla="*/ 126206 w 735806"/>
                    <a:gd name="connsiteY51" fmla="*/ 176213 h 611981"/>
                    <a:gd name="connsiteX52" fmla="*/ 111919 w 735806"/>
                    <a:gd name="connsiteY52" fmla="*/ 176213 h 611981"/>
                    <a:gd name="connsiteX53" fmla="*/ 107156 w 735806"/>
                    <a:gd name="connsiteY53" fmla="*/ 164306 h 611981"/>
                    <a:gd name="connsiteX54" fmla="*/ 9525 w 735806"/>
                    <a:gd name="connsiteY54" fmla="*/ 159544 h 611981"/>
                    <a:gd name="connsiteX55" fmla="*/ 0 w 735806"/>
                    <a:gd name="connsiteY55" fmla="*/ 190500 h 611981"/>
                    <a:gd name="connsiteX56" fmla="*/ 2381 w 735806"/>
                    <a:gd name="connsiteY56" fmla="*/ 261938 h 611981"/>
                    <a:gd name="connsiteX57" fmla="*/ 30956 w 735806"/>
                    <a:gd name="connsiteY57" fmla="*/ 278606 h 611981"/>
                    <a:gd name="connsiteX58" fmla="*/ 47625 w 735806"/>
                    <a:gd name="connsiteY58" fmla="*/ 285750 h 611981"/>
                    <a:gd name="connsiteX59" fmla="*/ 69056 w 735806"/>
                    <a:gd name="connsiteY59" fmla="*/ 292894 h 611981"/>
                    <a:gd name="connsiteX60" fmla="*/ 80962 w 735806"/>
                    <a:gd name="connsiteY60" fmla="*/ 319088 h 611981"/>
                    <a:gd name="connsiteX61" fmla="*/ 109537 w 735806"/>
                    <a:gd name="connsiteY61" fmla="*/ 340519 h 611981"/>
                    <a:gd name="connsiteX62" fmla="*/ 111919 w 735806"/>
                    <a:gd name="connsiteY62" fmla="*/ 390525 h 611981"/>
                    <a:gd name="connsiteX63" fmla="*/ 128587 w 735806"/>
                    <a:gd name="connsiteY63" fmla="*/ 428625 h 611981"/>
                    <a:gd name="connsiteX64" fmla="*/ 104775 w 735806"/>
                    <a:gd name="connsiteY64" fmla="*/ 445294 h 611981"/>
                    <a:gd name="connsiteX65" fmla="*/ 123825 w 735806"/>
                    <a:gd name="connsiteY65" fmla="*/ 504825 h 611981"/>
                    <a:gd name="connsiteX0" fmla="*/ 123825 w 735806"/>
                    <a:gd name="connsiteY0" fmla="*/ 504825 h 614362"/>
                    <a:gd name="connsiteX1" fmla="*/ 207169 w 735806"/>
                    <a:gd name="connsiteY1" fmla="*/ 528638 h 614362"/>
                    <a:gd name="connsiteX2" fmla="*/ 235744 w 735806"/>
                    <a:gd name="connsiteY2" fmla="*/ 535781 h 614362"/>
                    <a:gd name="connsiteX3" fmla="*/ 257175 w 735806"/>
                    <a:gd name="connsiteY3" fmla="*/ 531019 h 614362"/>
                    <a:gd name="connsiteX4" fmla="*/ 259556 w 735806"/>
                    <a:gd name="connsiteY4" fmla="*/ 547688 h 614362"/>
                    <a:gd name="connsiteX5" fmla="*/ 266700 w 735806"/>
                    <a:gd name="connsiteY5" fmla="*/ 604838 h 614362"/>
                    <a:gd name="connsiteX6" fmla="*/ 276225 w 735806"/>
                    <a:gd name="connsiteY6" fmla="*/ 611981 h 614362"/>
                    <a:gd name="connsiteX7" fmla="*/ 276225 w 735806"/>
                    <a:gd name="connsiteY7" fmla="*/ 611981 h 614362"/>
                    <a:gd name="connsiteX8" fmla="*/ 311944 w 735806"/>
                    <a:gd name="connsiteY8" fmla="*/ 614362 h 614362"/>
                    <a:gd name="connsiteX9" fmla="*/ 323850 w 735806"/>
                    <a:gd name="connsiteY9" fmla="*/ 566738 h 614362"/>
                    <a:gd name="connsiteX10" fmla="*/ 340519 w 735806"/>
                    <a:gd name="connsiteY10" fmla="*/ 561975 h 614362"/>
                    <a:gd name="connsiteX11" fmla="*/ 364331 w 735806"/>
                    <a:gd name="connsiteY11" fmla="*/ 585788 h 614362"/>
                    <a:gd name="connsiteX12" fmla="*/ 381000 w 735806"/>
                    <a:gd name="connsiteY12" fmla="*/ 600075 h 614362"/>
                    <a:gd name="connsiteX13" fmla="*/ 400050 w 735806"/>
                    <a:gd name="connsiteY13" fmla="*/ 607219 h 614362"/>
                    <a:gd name="connsiteX14" fmla="*/ 426244 w 735806"/>
                    <a:gd name="connsiteY14" fmla="*/ 573881 h 614362"/>
                    <a:gd name="connsiteX15" fmla="*/ 433387 w 735806"/>
                    <a:gd name="connsiteY15" fmla="*/ 533400 h 614362"/>
                    <a:gd name="connsiteX16" fmla="*/ 447675 w 735806"/>
                    <a:gd name="connsiteY16" fmla="*/ 504825 h 614362"/>
                    <a:gd name="connsiteX17" fmla="*/ 473869 w 735806"/>
                    <a:gd name="connsiteY17" fmla="*/ 542925 h 614362"/>
                    <a:gd name="connsiteX18" fmla="*/ 495300 w 735806"/>
                    <a:gd name="connsiteY18" fmla="*/ 561975 h 614362"/>
                    <a:gd name="connsiteX19" fmla="*/ 516731 w 735806"/>
                    <a:gd name="connsiteY19" fmla="*/ 578644 h 614362"/>
                    <a:gd name="connsiteX20" fmla="*/ 550069 w 735806"/>
                    <a:gd name="connsiteY20" fmla="*/ 566738 h 614362"/>
                    <a:gd name="connsiteX21" fmla="*/ 557212 w 735806"/>
                    <a:gd name="connsiteY21" fmla="*/ 547688 h 614362"/>
                    <a:gd name="connsiteX22" fmla="*/ 557212 w 735806"/>
                    <a:gd name="connsiteY22" fmla="*/ 535781 h 614362"/>
                    <a:gd name="connsiteX23" fmla="*/ 531019 w 735806"/>
                    <a:gd name="connsiteY23" fmla="*/ 511969 h 614362"/>
                    <a:gd name="connsiteX24" fmla="*/ 514350 w 735806"/>
                    <a:gd name="connsiteY24" fmla="*/ 421481 h 614362"/>
                    <a:gd name="connsiteX25" fmla="*/ 514350 w 735806"/>
                    <a:gd name="connsiteY25" fmla="*/ 421481 h 614362"/>
                    <a:gd name="connsiteX26" fmla="*/ 464344 w 735806"/>
                    <a:gd name="connsiteY26" fmla="*/ 445294 h 614362"/>
                    <a:gd name="connsiteX27" fmla="*/ 438150 w 735806"/>
                    <a:gd name="connsiteY27" fmla="*/ 431006 h 614362"/>
                    <a:gd name="connsiteX28" fmla="*/ 426244 w 735806"/>
                    <a:gd name="connsiteY28" fmla="*/ 385763 h 614362"/>
                    <a:gd name="connsiteX29" fmla="*/ 411956 w 735806"/>
                    <a:gd name="connsiteY29" fmla="*/ 381000 h 614362"/>
                    <a:gd name="connsiteX30" fmla="*/ 388144 w 735806"/>
                    <a:gd name="connsiteY30" fmla="*/ 350044 h 614362"/>
                    <a:gd name="connsiteX31" fmla="*/ 409575 w 735806"/>
                    <a:gd name="connsiteY31" fmla="*/ 314325 h 614362"/>
                    <a:gd name="connsiteX32" fmla="*/ 507206 w 735806"/>
                    <a:gd name="connsiteY32" fmla="*/ 338138 h 614362"/>
                    <a:gd name="connsiteX33" fmla="*/ 528637 w 735806"/>
                    <a:gd name="connsiteY33" fmla="*/ 311944 h 614362"/>
                    <a:gd name="connsiteX34" fmla="*/ 626269 w 735806"/>
                    <a:gd name="connsiteY34" fmla="*/ 290513 h 614362"/>
                    <a:gd name="connsiteX35" fmla="*/ 631031 w 735806"/>
                    <a:gd name="connsiteY35" fmla="*/ 240506 h 614362"/>
                    <a:gd name="connsiteX36" fmla="*/ 714375 w 735806"/>
                    <a:gd name="connsiteY36" fmla="*/ 166688 h 614362"/>
                    <a:gd name="connsiteX37" fmla="*/ 735806 w 735806"/>
                    <a:gd name="connsiteY37" fmla="*/ 71438 h 614362"/>
                    <a:gd name="connsiteX38" fmla="*/ 707231 w 735806"/>
                    <a:gd name="connsiteY38" fmla="*/ 0 h 614362"/>
                    <a:gd name="connsiteX39" fmla="*/ 614362 w 735806"/>
                    <a:gd name="connsiteY39" fmla="*/ 47625 h 614362"/>
                    <a:gd name="connsiteX40" fmla="*/ 614362 w 735806"/>
                    <a:gd name="connsiteY40" fmla="*/ 66675 h 614362"/>
                    <a:gd name="connsiteX41" fmla="*/ 597694 w 735806"/>
                    <a:gd name="connsiteY41" fmla="*/ 135731 h 614362"/>
                    <a:gd name="connsiteX42" fmla="*/ 566737 w 735806"/>
                    <a:gd name="connsiteY42" fmla="*/ 130969 h 614362"/>
                    <a:gd name="connsiteX43" fmla="*/ 514350 w 735806"/>
                    <a:gd name="connsiteY43" fmla="*/ 164306 h 614362"/>
                    <a:gd name="connsiteX44" fmla="*/ 433387 w 735806"/>
                    <a:gd name="connsiteY44" fmla="*/ 123825 h 614362"/>
                    <a:gd name="connsiteX45" fmla="*/ 402431 w 735806"/>
                    <a:gd name="connsiteY45" fmla="*/ 128588 h 614362"/>
                    <a:gd name="connsiteX46" fmla="*/ 359569 w 735806"/>
                    <a:gd name="connsiteY46" fmla="*/ 154781 h 614362"/>
                    <a:gd name="connsiteX47" fmla="*/ 307181 w 735806"/>
                    <a:gd name="connsiteY47" fmla="*/ 154781 h 614362"/>
                    <a:gd name="connsiteX48" fmla="*/ 280987 w 735806"/>
                    <a:gd name="connsiteY48" fmla="*/ 188119 h 614362"/>
                    <a:gd name="connsiteX49" fmla="*/ 209550 w 735806"/>
                    <a:gd name="connsiteY49" fmla="*/ 171450 h 614362"/>
                    <a:gd name="connsiteX50" fmla="*/ 154781 w 735806"/>
                    <a:gd name="connsiteY50" fmla="*/ 197644 h 614362"/>
                    <a:gd name="connsiteX51" fmla="*/ 126206 w 735806"/>
                    <a:gd name="connsiteY51" fmla="*/ 176213 h 614362"/>
                    <a:gd name="connsiteX52" fmla="*/ 111919 w 735806"/>
                    <a:gd name="connsiteY52" fmla="*/ 176213 h 614362"/>
                    <a:gd name="connsiteX53" fmla="*/ 107156 w 735806"/>
                    <a:gd name="connsiteY53" fmla="*/ 164306 h 614362"/>
                    <a:gd name="connsiteX54" fmla="*/ 9525 w 735806"/>
                    <a:gd name="connsiteY54" fmla="*/ 159544 h 614362"/>
                    <a:gd name="connsiteX55" fmla="*/ 0 w 735806"/>
                    <a:gd name="connsiteY55" fmla="*/ 190500 h 614362"/>
                    <a:gd name="connsiteX56" fmla="*/ 2381 w 735806"/>
                    <a:gd name="connsiteY56" fmla="*/ 261938 h 614362"/>
                    <a:gd name="connsiteX57" fmla="*/ 30956 w 735806"/>
                    <a:gd name="connsiteY57" fmla="*/ 278606 h 614362"/>
                    <a:gd name="connsiteX58" fmla="*/ 47625 w 735806"/>
                    <a:gd name="connsiteY58" fmla="*/ 285750 h 614362"/>
                    <a:gd name="connsiteX59" fmla="*/ 69056 w 735806"/>
                    <a:gd name="connsiteY59" fmla="*/ 292894 h 614362"/>
                    <a:gd name="connsiteX60" fmla="*/ 80962 w 735806"/>
                    <a:gd name="connsiteY60" fmla="*/ 319088 h 614362"/>
                    <a:gd name="connsiteX61" fmla="*/ 109537 w 735806"/>
                    <a:gd name="connsiteY61" fmla="*/ 340519 h 614362"/>
                    <a:gd name="connsiteX62" fmla="*/ 111919 w 735806"/>
                    <a:gd name="connsiteY62" fmla="*/ 390525 h 614362"/>
                    <a:gd name="connsiteX63" fmla="*/ 128587 w 735806"/>
                    <a:gd name="connsiteY63" fmla="*/ 428625 h 614362"/>
                    <a:gd name="connsiteX64" fmla="*/ 104775 w 735806"/>
                    <a:gd name="connsiteY64" fmla="*/ 445294 h 614362"/>
                    <a:gd name="connsiteX65" fmla="*/ 123825 w 735806"/>
                    <a:gd name="connsiteY65" fmla="*/ 504825 h 614362"/>
                    <a:gd name="connsiteX0" fmla="*/ 123825 w 735806"/>
                    <a:gd name="connsiteY0" fmla="*/ 504825 h 614362"/>
                    <a:gd name="connsiteX1" fmla="*/ 207169 w 735806"/>
                    <a:gd name="connsiteY1" fmla="*/ 528638 h 614362"/>
                    <a:gd name="connsiteX2" fmla="*/ 235744 w 735806"/>
                    <a:gd name="connsiteY2" fmla="*/ 535781 h 614362"/>
                    <a:gd name="connsiteX3" fmla="*/ 257175 w 735806"/>
                    <a:gd name="connsiteY3" fmla="*/ 531019 h 614362"/>
                    <a:gd name="connsiteX4" fmla="*/ 259556 w 735806"/>
                    <a:gd name="connsiteY4" fmla="*/ 547688 h 614362"/>
                    <a:gd name="connsiteX5" fmla="*/ 259556 w 735806"/>
                    <a:gd name="connsiteY5" fmla="*/ 592932 h 614362"/>
                    <a:gd name="connsiteX6" fmla="*/ 276225 w 735806"/>
                    <a:gd name="connsiteY6" fmla="*/ 611981 h 614362"/>
                    <a:gd name="connsiteX7" fmla="*/ 276225 w 735806"/>
                    <a:gd name="connsiteY7" fmla="*/ 611981 h 614362"/>
                    <a:gd name="connsiteX8" fmla="*/ 311944 w 735806"/>
                    <a:gd name="connsiteY8" fmla="*/ 614362 h 614362"/>
                    <a:gd name="connsiteX9" fmla="*/ 323850 w 735806"/>
                    <a:gd name="connsiteY9" fmla="*/ 566738 h 614362"/>
                    <a:gd name="connsiteX10" fmla="*/ 340519 w 735806"/>
                    <a:gd name="connsiteY10" fmla="*/ 561975 h 614362"/>
                    <a:gd name="connsiteX11" fmla="*/ 364331 w 735806"/>
                    <a:gd name="connsiteY11" fmla="*/ 585788 h 614362"/>
                    <a:gd name="connsiteX12" fmla="*/ 381000 w 735806"/>
                    <a:gd name="connsiteY12" fmla="*/ 600075 h 614362"/>
                    <a:gd name="connsiteX13" fmla="*/ 400050 w 735806"/>
                    <a:gd name="connsiteY13" fmla="*/ 607219 h 614362"/>
                    <a:gd name="connsiteX14" fmla="*/ 426244 w 735806"/>
                    <a:gd name="connsiteY14" fmla="*/ 573881 h 614362"/>
                    <a:gd name="connsiteX15" fmla="*/ 433387 w 735806"/>
                    <a:gd name="connsiteY15" fmla="*/ 533400 h 614362"/>
                    <a:gd name="connsiteX16" fmla="*/ 447675 w 735806"/>
                    <a:gd name="connsiteY16" fmla="*/ 504825 h 614362"/>
                    <a:gd name="connsiteX17" fmla="*/ 473869 w 735806"/>
                    <a:gd name="connsiteY17" fmla="*/ 542925 h 614362"/>
                    <a:gd name="connsiteX18" fmla="*/ 495300 w 735806"/>
                    <a:gd name="connsiteY18" fmla="*/ 561975 h 614362"/>
                    <a:gd name="connsiteX19" fmla="*/ 516731 w 735806"/>
                    <a:gd name="connsiteY19" fmla="*/ 578644 h 614362"/>
                    <a:gd name="connsiteX20" fmla="*/ 550069 w 735806"/>
                    <a:gd name="connsiteY20" fmla="*/ 566738 h 614362"/>
                    <a:gd name="connsiteX21" fmla="*/ 557212 w 735806"/>
                    <a:gd name="connsiteY21" fmla="*/ 547688 h 614362"/>
                    <a:gd name="connsiteX22" fmla="*/ 557212 w 735806"/>
                    <a:gd name="connsiteY22" fmla="*/ 535781 h 614362"/>
                    <a:gd name="connsiteX23" fmla="*/ 531019 w 735806"/>
                    <a:gd name="connsiteY23" fmla="*/ 511969 h 614362"/>
                    <a:gd name="connsiteX24" fmla="*/ 514350 w 735806"/>
                    <a:gd name="connsiteY24" fmla="*/ 421481 h 614362"/>
                    <a:gd name="connsiteX25" fmla="*/ 514350 w 735806"/>
                    <a:gd name="connsiteY25" fmla="*/ 421481 h 614362"/>
                    <a:gd name="connsiteX26" fmla="*/ 464344 w 735806"/>
                    <a:gd name="connsiteY26" fmla="*/ 445294 h 614362"/>
                    <a:gd name="connsiteX27" fmla="*/ 438150 w 735806"/>
                    <a:gd name="connsiteY27" fmla="*/ 431006 h 614362"/>
                    <a:gd name="connsiteX28" fmla="*/ 426244 w 735806"/>
                    <a:gd name="connsiteY28" fmla="*/ 385763 h 614362"/>
                    <a:gd name="connsiteX29" fmla="*/ 411956 w 735806"/>
                    <a:gd name="connsiteY29" fmla="*/ 381000 h 614362"/>
                    <a:gd name="connsiteX30" fmla="*/ 388144 w 735806"/>
                    <a:gd name="connsiteY30" fmla="*/ 350044 h 614362"/>
                    <a:gd name="connsiteX31" fmla="*/ 409575 w 735806"/>
                    <a:gd name="connsiteY31" fmla="*/ 314325 h 614362"/>
                    <a:gd name="connsiteX32" fmla="*/ 507206 w 735806"/>
                    <a:gd name="connsiteY32" fmla="*/ 338138 h 614362"/>
                    <a:gd name="connsiteX33" fmla="*/ 528637 w 735806"/>
                    <a:gd name="connsiteY33" fmla="*/ 311944 h 614362"/>
                    <a:gd name="connsiteX34" fmla="*/ 626269 w 735806"/>
                    <a:gd name="connsiteY34" fmla="*/ 290513 h 614362"/>
                    <a:gd name="connsiteX35" fmla="*/ 631031 w 735806"/>
                    <a:gd name="connsiteY35" fmla="*/ 240506 h 614362"/>
                    <a:gd name="connsiteX36" fmla="*/ 714375 w 735806"/>
                    <a:gd name="connsiteY36" fmla="*/ 166688 h 614362"/>
                    <a:gd name="connsiteX37" fmla="*/ 735806 w 735806"/>
                    <a:gd name="connsiteY37" fmla="*/ 71438 h 614362"/>
                    <a:gd name="connsiteX38" fmla="*/ 707231 w 735806"/>
                    <a:gd name="connsiteY38" fmla="*/ 0 h 614362"/>
                    <a:gd name="connsiteX39" fmla="*/ 614362 w 735806"/>
                    <a:gd name="connsiteY39" fmla="*/ 47625 h 614362"/>
                    <a:gd name="connsiteX40" fmla="*/ 614362 w 735806"/>
                    <a:gd name="connsiteY40" fmla="*/ 66675 h 614362"/>
                    <a:gd name="connsiteX41" fmla="*/ 597694 w 735806"/>
                    <a:gd name="connsiteY41" fmla="*/ 135731 h 614362"/>
                    <a:gd name="connsiteX42" fmla="*/ 566737 w 735806"/>
                    <a:gd name="connsiteY42" fmla="*/ 130969 h 614362"/>
                    <a:gd name="connsiteX43" fmla="*/ 514350 w 735806"/>
                    <a:gd name="connsiteY43" fmla="*/ 164306 h 614362"/>
                    <a:gd name="connsiteX44" fmla="*/ 433387 w 735806"/>
                    <a:gd name="connsiteY44" fmla="*/ 123825 h 614362"/>
                    <a:gd name="connsiteX45" fmla="*/ 402431 w 735806"/>
                    <a:gd name="connsiteY45" fmla="*/ 128588 h 614362"/>
                    <a:gd name="connsiteX46" fmla="*/ 359569 w 735806"/>
                    <a:gd name="connsiteY46" fmla="*/ 154781 h 614362"/>
                    <a:gd name="connsiteX47" fmla="*/ 307181 w 735806"/>
                    <a:gd name="connsiteY47" fmla="*/ 154781 h 614362"/>
                    <a:gd name="connsiteX48" fmla="*/ 280987 w 735806"/>
                    <a:gd name="connsiteY48" fmla="*/ 188119 h 614362"/>
                    <a:gd name="connsiteX49" fmla="*/ 209550 w 735806"/>
                    <a:gd name="connsiteY49" fmla="*/ 171450 h 614362"/>
                    <a:gd name="connsiteX50" fmla="*/ 154781 w 735806"/>
                    <a:gd name="connsiteY50" fmla="*/ 197644 h 614362"/>
                    <a:gd name="connsiteX51" fmla="*/ 126206 w 735806"/>
                    <a:gd name="connsiteY51" fmla="*/ 176213 h 614362"/>
                    <a:gd name="connsiteX52" fmla="*/ 111919 w 735806"/>
                    <a:gd name="connsiteY52" fmla="*/ 176213 h 614362"/>
                    <a:gd name="connsiteX53" fmla="*/ 107156 w 735806"/>
                    <a:gd name="connsiteY53" fmla="*/ 164306 h 614362"/>
                    <a:gd name="connsiteX54" fmla="*/ 9525 w 735806"/>
                    <a:gd name="connsiteY54" fmla="*/ 159544 h 614362"/>
                    <a:gd name="connsiteX55" fmla="*/ 0 w 735806"/>
                    <a:gd name="connsiteY55" fmla="*/ 190500 h 614362"/>
                    <a:gd name="connsiteX56" fmla="*/ 2381 w 735806"/>
                    <a:gd name="connsiteY56" fmla="*/ 261938 h 614362"/>
                    <a:gd name="connsiteX57" fmla="*/ 30956 w 735806"/>
                    <a:gd name="connsiteY57" fmla="*/ 278606 h 614362"/>
                    <a:gd name="connsiteX58" fmla="*/ 47625 w 735806"/>
                    <a:gd name="connsiteY58" fmla="*/ 285750 h 614362"/>
                    <a:gd name="connsiteX59" fmla="*/ 69056 w 735806"/>
                    <a:gd name="connsiteY59" fmla="*/ 292894 h 614362"/>
                    <a:gd name="connsiteX60" fmla="*/ 80962 w 735806"/>
                    <a:gd name="connsiteY60" fmla="*/ 319088 h 614362"/>
                    <a:gd name="connsiteX61" fmla="*/ 109537 w 735806"/>
                    <a:gd name="connsiteY61" fmla="*/ 340519 h 614362"/>
                    <a:gd name="connsiteX62" fmla="*/ 111919 w 735806"/>
                    <a:gd name="connsiteY62" fmla="*/ 390525 h 614362"/>
                    <a:gd name="connsiteX63" fmla="*/ 128587 w 735806"/>
                    <a:gd name="connsiteY63" fmla="*/ 428625 h 614362"/>
                    <a:gd name="connsiteX64" fmla="*/ 104775 w 735806"/>
                    <a:gd name="connsiteY64" fmla="*/ 445294 h 614362"/>
                    <a:gd name="connsiteX65" fmla="*/ 123825 w 735806"/>
                    <a:gd name="connsiteY65" fmla="*/ 504825 h 614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735806" h="614362">
                      <a:moveTo>
                        <a:pt x="123825" y="504825"/>
                      </a:moveTo>
                      <a:lnTo>
                        <a:pt x="207169" y="528638"/>
                      </a:lnTo>
                      <a:lnTo>
                        <a:pt x="235744" y="535781"/>
                      </a:lnTo>
                      <a:lnTo>
                        <a:pt x="257175" y="531019"/>
                      </a:lnTo>
                      <a:lnTo>
                        <a:pt x="259556" y="547688"/>
                      </a:lnTo>
                      <a:lnTo>
                        <a:pt x="259556" y="592932"/>
                      </a:lnTo>
                      <a:lnTo>
                        <a:pt x="276225" y="611981"/>
                      </a:lnTo>
                      <a:lnTo>
                        <a:pt x="276225" y="611981"/>
                      </a:lnTo>
                      <a:lnTo>
                        <a:pt x="311944" y="614362"/>
                      </a:lnTo>
                      <a:lnTo>
                        <a:pt x="323850" y="566738"/>
                      </a:lnTo>
                      <a:lnTo>
                        <a:pt x="340519" y="561975"/>
                      </a:lnTo>
                      <a:lnTo>
                        <a:pt x="364331" y="585788"/>
                      </a:lnTo>
                      <a:lnTo>
                        <a:pt x="381000" y="600075"/>
                      </a:lnTo>
                      <a:lnTo>
                        <a:pt x="400050" y="607219"/>
                      </a:lnTo>
                      <a:lnTo>
                        <a:pt x="426244" y="573881"/>
                      </a:lnTo>
                      <a:lnTo>
                        <a:pt x="433387" y="533400"/>
                      </a:lnTo>
                      <a:lnTo>
                        <a:pt x="447675" y="504825"/>
                      </a:lnTo>
                      <a:lnTo>
                        <a:pt x="473869" y="542925"/>
                      </a:lnTo>
                      <a:lnTo>
                        <a:pt x="495300" y="561975"/>
                      </a:lnTo>
                      <a:lnTo>
                        <a:pt x="516731" y="578644"/>
                      </a:lnTo>
                      <a:lnTo>
                        <a:pt x="550069" y="566738"/>
                      </a:lnTo>
                      <a:lnTo>
                        <a:pt x="557212" y="547688"/>
                      </a:lnTo>
                      <a:lnTo>
                        <a:pt x="557212" y="535781"/>
                      </a:lnTo>
                      <a:lnTo>
                        <a:pt x="531019" y="511969"/>
                      </a:lnTo>
                      <a:lnTo>
                        <a:pt x="514350" y="421481"/>
                      </a:lnTo>
                      <a:lnTo>
                        <a:pt x="514350" y="421481"/>
                      </a:lnTo>
                      <a:lnTo>
                        <a:pt x="464344" y="445294"/>
                      </a:lnTo>
                      <a:lnTo>
                        <a:pt x="438150" y="431006"/>
                      </a:lnTo>
                      <a:lnTo>
                        <a:pt x="426244" y="385763"/>
                      </a:lnTo>
                      <a:lnTo>
                        <a:pt x="411956" y="381000"/>
                      </a:lnTo>
                      <a:lnTo>
                        <a:pt x="388144" y="350044"/>
                      </a:lnTo>
                      <a:lnTo>
                        <a:pt x="409575" y="314325"/>
                      </a:lnTo>
                      <a:lnTo>
                        <a:pt x="507206" y="338138"/>
                      </a:lnTo>
                      <a:lnTo>
                        <a:pt x="528637" y="311944"/>
                      </a:lnTo>
                      <a:lnTo>
                        <a:pt x="626269" y="290513"/>
                      </a:lnTo>
                      <a:lnTo>
                        <a:pt x="631031" y="240506"/>
                      </a:lnTo>
                      <a:lnTo>
                        <a:pt x="714375" y="166688"/>
                      </a:lnTo>
                      <a:lnTo>
                        <a:pt x="735806" y="71438"/>
                      </a:lnTo>
                      <a:lnTo>
                        <a:pt x="707231" y="0"/>
                      </a:lnTo>
                      <a:lnTo>
                        <a:pt x="614362" y="47625"/>
                      </a:lnTo>
                      <a:lnTo>
                        <a:pt x="614362" y="66675"/>
                      </a:lnTo>
                      <a:lnTo>
                        <a:pt x="597694" y="135731"/>
                      </a:lnTo>
                      <a:lnTo>
                        <a:pt x="566737" y="130969"/>
                      </a:lnTo>
                      <a:lnTo>
                        <a:pt x="514350" y="164306"/>
                      </a:lnTo>
                      <a:lnTo>
                        <a:pt x="433387" y="123825"/>
                      </a:lnTo>
                      <a:lnTo>
                        <a:pt x="402431" y="128588"/>
                      </a:lnTo>
                      <a:lnTo>
                        <a:pt x="359569" y="154781"/>
                      </a:lnTo>
                      <a:lnTo>
                        <a:pt x="307181" y="154781"/>
                      </a:lnTo>
                      <a:lnTo>
                        <a:pt x="280987" y="188119"/>
                      </a:lnTo>
                      <a:lnTo>
                        <a:pt x="209550" y="171450"/>
                      </a:lnTo>
                      <a:lnTo>
                        <a:pt x="154781" y="197644"/>
                      </a:lnTo>
                      <a:lnTo>
                        <a:pt x="126206" y="176213"/>
                      </a:lnTo>
                      <a:lnTo>
                        <a:pt x="111919" y="176213"/>
                      </a:lnTo>
                      <a:lnTo>
                        <a:pt x="107156" y="164306"/>
                      </a:lnTo>
                      <a:lnTo>
                        <a:pt x="9525" y="159544"/>
                      </a:lnTo>
                      <a:lnTo>
                        <a:pt x="0" y="190500"/>
                      </a:lnTo>
                      <a:cubicBezTo>
                        <a:pt x="794" y="214313"/>
                        <a:pt x="1587" y="238125"/>
                        <a:pt x="2381" y="261938"/>
                      </a:cubicBezTo>
                      <a:lnTo>
                        <a:pt x="30956" y="278606"/>
                      </a:lnTo>
                      <a:lnTo>
                        <a:pt x="47625" y="285750"/>
                      </a:lnTo>
                      <a:lnTo>
                        <a:pt x="69056" y="292894"/>
                      </a:lnTo>
                      <a:lnTo>
                        <a:pt x="80962" y="319088"/>
                      </a:lnTo>
                      <a:lnTo>
                        <a:pt x="109537" y="340519"/>
                      </a:lnTo>
                      <a:lnTo>
                        <a:pt x="111919" y="390525"/>
                      </a:lnTo>
                      <a:lnTo>
                        <a:pt x="128587" y="428625"/>
                      </a:lnTo>
                      <a:lnTo>
                        <a:pt x="104775" y="445294"/>
                      </a:lnTo>
                      <a:lnTo>
                        <a:pt x="123825" y="504825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368">
                  <a:extLst>
                    <a:ext uri="{FF2B5EF4-FFF2-40B4-BE49-F238E27FC236}">
                      <a16:creationId xmlns:a16="http://schemas.microsoft.com/office/drawing/2014/main" id="{0EC0F34A-6F9A-4A8A-F068-C0554057D5B9}"/>
                    </a:ext>
                  </a:extLst>
                </p:cNvPr>
                <p:cNvSpPr/>
                <p:nvPr/>
              </p:nvSpPr>
              <p:spPr>
                <a:xfrm rot="21396613">
                  <a:off x="4898376" y="3030488"/>
                  <a:ext cx="227863" cy="314365"/>
                </a:xfrm>
                <a:custGeom>
                  <a:avLst/>
                  <a:gdLst>
                    <a:gd name="connsiteX0" fmla="*/ 195262 w 207168"/>
                    <a:gd name="connsiteY0" fmla="*/ 0 h 295275"/>
                    <a:gd name="connsiteX1" fmla="*/ 64293 w 207168"/>
                    <a:gd name="connsiteY1" fmla="*/ 45244 h 295275"/>
                    <a:gd name="connsiteX2" fmla="*/ 9525 w 207168"/>
                    <a:gd name="connsiteY2" fmla="*/ 90488 h 295275"/>
                    <a:gd name="connsiteX3" fmla="*/ 2381 w 207168"/>
                    <a:gd name="connsiteY3" fmla="*/ 152400 h 295275"/>
                    <a:gd name="connsiteX4" fmla="*/ 0 w 207168"/>
                    <a:gd name="connsiteY4" fmla="*/ 197644 h 295275"/>
                    <a:gd name="connsiteX5" fmla="*/ 7143 w 207168"/>
                    <a:gd name="connsiteY5" fmla="*/ 204788 h 295275"/>
                    <a:gd name="connsiteX6" fmla="*/ 4762 w 207168"/>
                    <a:gd name="connsiteY6" fmla="*/ 228600 h 295275"/>
                    <a:gd name="connsiteX7" fmla="*/ 30956 w 207168"/>
                    <a:gd name="connsiteY7" fmla="*/ 252413 h 295275"/>
                    <a:gd name="connsiteX8" fmla="*/ 52387 w 207168"/>
                    <a:gd name="connsiteY8" fmla="*/ 295275 h 295275"/>
                    <a:gd name="connsiteX9" fmla="*/ 69056 w 207168"/>
                    <a:gd name="connsiteY9" fmla="*/ 288131 h 295275"/>
                    <a:gd name="connsiteX10" fmla="*/ 69056 w 207168"/>
                    <a:gd name="connsiteY10" fmla="*/ 259556 h 295275"/>
                    <a:gd name="connsiteX11" fmla="*/ 88106 w 207168"/>
                    <a:gd name="connsiteY11" fmla="*/ 233363 h 295275"/>
                    <a:gd name="connsiteX12" fmla="*/ 104775 w 207168"/>
                    <a:gd name="connsiteY12" fmla="*/ 228600 h 295275"/>
                    <a:gd name="connsiteX13" fmla="*/ 176212 w 207168"/>
                    <a:gd name="connsiteY13" fmla="*/ 161925 h 295275"/>
                    <a:gd name="connsiteX14" fmla="*/ 180975 w 207168"/>
                    <a:gd name="connsiteY14" fmla="*/ 128588 h 295275"/>
                    <a:gd name="connsiteX15" fmla="*/ 185737 w 207168"/>
                    <a:gd name="connsiteY15" fmla="*/ 97631 h 295275"/>
                    <a:gd name="connsiteX16" fmla="*/ 185737 w 207168"/>
                    <a:gd name="connsiteY16" fmla="*/ 88106 h 295275"/>
                    <a:gd name="connsiteX17" fmla="*/ 207168 w 207168"/>
                    <a:gd name="connsiteY17" fmla="*/ 59531 h 295275"/>
                    <a:gd name="connsiteX18" fmla="*/ 195262 w 207168"/>
                    <a:gd name="connsiteY18" fmla="*/ 0 h 29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07168" h="295275">
                      <a:moveTo>
                        <a:pt x="195262" y="0"/>
                      </a:moveTo>
                      <a:lnTo>
                        <a:pt x="64293" y="45244"/>
                      </a:lnTo>
                      <a:lnTo>
                        <a:pt x="9525" y="90488"/>
                      </a:lnTo>
                      <a:lnTo>
                        <a:pt x="2381" y="152400"/>
                      </a:lnTo>
                      <a:lnTo>
                        <a:pt x="0" y="197644"/>
                      </a:lnTo>
                      <a:lnTo>
                        <a:pt x="7143" y="204788"/>
                      </a:lnTo>
                      <a:lnTo>
                        <a:pt x="4762" y="228600"/>
                      </a:lnTo>
                      <a:lnTo>
                        <a:pt x="30956" y="252413"/>
                      </a:lnTo>
                      <a:lnTo>
                        <a:pt x="52387" y="295275"/>
                      </a:lnTo>
                      <a:lnTo>
                        <a:pt x="69056" y="288131"/>
                      </a:lnTo>
                      <a:lnTo>
                        <a:pt x="69056" y="259556"/>
                      </a:lnTo>
                      <a:lnTo>
                        <a:pt x="88106" y="233363"/>
                      </a:lnTo>
                      <a:lnTo>
                        <a:pt x="104775" y="228600"/>
                      </a:lnTo>
                      <a:lnTo>
                        <a:pt x="176212" y="161925"/>
                      </a:lnTo>
                      <a:lnTo>
                        <a:pt x="180975" y="128588"/>
                      </a:lnTo>
                      <a:lnTo>
                        <a:pt x="185737" y="97631"/>
                      </a:lnTo>
                      <a:lnTo>
                        <a:pt x="185737" y="88106"/>
                      </a:lnTo>
                      <a:lnTo>
                        <a:pt x="207168" y="59531"/>
                      </a:lnTo>
                      <a:lnTo>
                        <a:pt x="195262" y="0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369">
                  <a:extLst>
                    <a:ext uri="{FF2B5EF4-FFF2-40B4-BE49-F238E27FC236}">
                      <a16:creationId xmlns:a16="http://schemas.microsoft.com/office/drawing/2014/main" id="{8A6827BD-7DF1-A823-47D2-9C21A967783F}"/>
                    </a:ext>
                  </a:extLst>
                </p:cNvPr>
                <p:cNvSpPr/>
                <p:nvPr/>
              </p:nvSpPr>
              <p:spPr>
                <a:xfrm rot="21396613">
                  <a:off x="5088034" y="3000418"/>
                  <a:ext cx="238779" cy="442844"/>
                </a:xfrm>
                <a:custGeom>
                  <a:avLst/>
                  <a:gdLst>
                    <a:gd name="connsiteX0" fmla="*/ 0 w 216693"/>
                    <a:gd name="connsiteY0" fmla="*/ 183356 h 411956"/>
                    <a:gd name="connsiteX1" fmla="*/ 40481 w 216693"/>
                    <a:gd name="connsiteY1" fmla="*/ 254793 h 411956"/>
                    <a:gd name="connsiteX2" fmla="*/ 59531 w 216693"/>
                    <a:gd name="connsiteY2" fmla="*/ 276225 h 411956"/>
                    <a:gd name="connsiteX3" fmla="*/ 71437 w 216693"/>
                    <a:gd name="connsiteY3" fmla="*/ 309562 h 411956"/>
                    <a:gd name="connsiteX4" fmla="*/ 73818 w 216693"/>
                    <a:gd name="connsiteY4" fmla="*/ 342900 h 411956"/>
                    <a:gd name="connsiteX5" fmla="*/ 111918 w 216693"/>
                    <a:gd name="connsiteY5" fmla="*/ 392906 h 411956"/>
                    <a:gd name="connsiteX6" fmla="*/ 130968 w 216693"/>
                    <a:gd name="connsiteY6" fmla="*/ 388143 h 411956"/>
                    <a:gd name="connsiteX7" fmla="*/ 157162 w 216693"/>
                    <a:gd name="connsiteY7" fmla="*/ 411956 h 411956"/>
                    <a:gd name="connsiteX8" fmla="*/ 192881 w 216693"/>
                    <a:gd name="connsiteY8" fmla="*/ 402431 h 411956"/>
                    <a:gd name="connsiteX9" fmla="*/ 185737 w 216693"/>
                    <a:gd name="connsiteY9" fmla="*/ 309562 h 411956"/>
                    <a:gd name="connsiteX10" fmla="*/ 216693 w 216693"/>
                    <a:gd name="connsiteY10" fmla="*/ 257175 h 411956"/>
                    <a:gd name="connsiteX11" fmla="*/ 216693 w 216693"/>
                    <a:gd name="connsiteY11" fmla="*/ 128587 h 411956"/>
                    <a:gd name="connsiteX12" fmla="*/ 211931 w 216693"/>
                    <a:gd name="connsiteY12" fmla="*/ 80962 h 411956"/>
                    <a:gd name="connsiteX13" fmla="*/ 142875 w 216693"/>
                    <a:gd name="connsiteY13" fmla="*/ 28575 h 411956"/>
                    <a:gd name="connsiteX14" fmla="*/ 116681 w 216693"/>
                    <a:gd name="connsiteY14" fmla="*/ 7143 h 411956"/>
                    <a:gd name="connsiteX15" fmla="*/ 78581 w 216693"/>
                    <a:gd name="connsiteY15" fmla="*/ 4762 h 411956"/>
                    <a:gd name="connsiteX16" fmla="*/ 42862 w 216693"/>
                    <a:gd name="connsiteY16" fmla="*/ 0 h 411956"/>
                    <a:gd name="connsiteX17" fmla="*/ 35718 w 216693"/>
                    <a:gd name="connsiteY17" fmla="*/ 19050 h 411956"/>
                    <a:gd name="connsiteX18" fmla="*/ 35718 w 216693"/>
                    <a:gd name="connsiteY18" fmla="*/ 19050 h 411956"/>
                    <a:gd name="connsiteX19" fmla="*/ 38100 w 216693"/>
                    <a:gd name="connsiteY19" fmla="*/ 88106 h 411956"/>
                    <a:gd name="connsiteX20" fmla="*/ 11906 w 216693"/>
                    <a:gd name="connsiteY20" fmla="*/ 114300 h 411956"/>
                    <a:gd name="connsiteX21" fmla="*/ 0 w 216693"/>
                    <a:gd name="connsiteY21" fmla="*/ 183356 h 411956"/>
                    <a:gd name="connsiteX0" fmla="*/ 0 w 216693"/>
                    <a:gd name="connsiteY0" fmla="*/ 183356 h 411956"/>
                    <a:gd name="connsiteX1" fmla="*/ 40481 w 216693"/>
                    <a:gd name="connsiteY1" fmla="*/ 254793 h 411956"/>
                    <a:gd name="connsiteX2" fmla="*/ 59531 w 216693"/>
                    <a:gd name="connsiteY2" fmla="*/ 276225 h 411956"/>
                    <a:gd name="connsiteX3" fmla="*/ 71437 w 216693"/>
                    <a:gd name="connsiteY3" fmla="*/ 309562 h 411956"/>
                    <a:gd name="connsiteX4" fmla="*/ 73818 w 216693"/>
                    <a:gd name="connsiteY4" fmla="*/ 342900 h 411956"/>
                    <a:gd name="connsiteX5" fmla="*/ 111918 w 216693"/>
                    <a:gd name="connsiteY5" fmla="*/ 392906 h 411956"/>
                    <a:gd name="connsiteX6" fmla="*/ 130968 w 216693"/>
                    <a:gd name="connsiteY6" fmla="*/ 388143 h 411956"/>
                    <a:gd name="connsiteX7" fmla="*/ 157162 w 216693"/>
                    <a:gd name="connsiteY7" fmla="*/ 411956 h 411956"/>
                    <a:gd name="connsiteX8" fmla="*/ 192881 w 216693"/>
                    <a:gd name="connsiteY8" fmla="*/ 402431 h 411956"/>
                    <a:gd name="connsiteX9" fmla="*/ 185737 w 216693"/>
                    <a:gd name="connsiteY9" fmla="*/ 309562 h 411956"/>
                    <a:gd name="connsiteX10" fmla="*/ 216693 w 216693"/>
                    <a:gd name="connsiteY10" fmla="*/ 257175 h 411956"/>
                    <a:gd name="connsiteX11" fmla="*/ 216693 w 216693"/>
                    <a:gd name="connsiteY11" fmla="*/ 128587 h 411956"/>
                    <a:gd name="connsiteX12" fmla="*/ 211931 w 216693"/>
                    <a:gd name="connsiteY12" fmla="*/ 80962 h 411956"/>
                    <a:gd name="connsiteX13" fmla="*/ 142875 w 216693"/>
                    <a:gd name="connsiteY13" fmla="*/ 28575 h 411956"/>
                    <a:gd name="connsiteX14" fmla="*/ 116681 w 216693"/>
                    <a:gd name="connsiteY14" fmla="*/ 7143 h 411956"/>
                    <a:gd name="connsiteX15" fmla="*/ 78581 w 216693"/>
                    <a:gd name="connsiteY15" fmla="*/ 4762 h 411956"/>
                    <a:gd name="connsiteX16" fmla="*/ 42862 w 216693"/>
                    <a:gd name="connsiteY16" fmla="*/ 0 h 411956"/>
                    <a:gd name="connsiteX17" fmla="*/ 35718 w 216693"/>
                    <a:gd name="connsiteY17" fmla="*/ 19050 h 411956"/>
                    <a:gd name="connsiteX18" fmla="*/ 26193 w 216693"/>
                    <a:gd name="connsiteY18" fmla="*/ 26194 h 411956"/>
                    <a:gd name="connsiteX19" fmla="*/ 38100 w 216693"/>
                    <a:gd name="connsiteY19" fmla="*/ 88106 h 411956"/>
                    <a:gd name="connsiteX20" fmla="*/ 11906 w 216693"/>
                    <a:gd name="connsiteY20" fmla="*/ 114300 h 411956"/>
                    <a:gd name="connsiteX21" fmla="*/ 0 w 216693"/>
                    <a:gd name="connsiteY21" fmla="*/ 183356 h 411956"/>
                    <a:gd name="connsiteX0" fmla="*/ 0 w 216693"/>
                    <a:gd name="connsiteY0" fmla="*/ 185737 h 414337"/>
                    <a:gd name="connsiteX1" fmla="*/ 40481 w 216693"/>
                    <a:gd name="connsiteY1" fmla="*/ 257174 h 414337"/>
                    <a:gd name="connsiteX2" fmla="*/ 59531 w 216693"/>
                    <a:gd name="connsiteY2" fmla="*/ 278606 h 414337"/>
                    <a:gd name="connsiteX3" fmla="*/ 71437 w 216693"/>
                    <a:gd name="connsiteY3" fmla="*/ 311943 h 414337"/>
                    <a:gd name="connsiteX4" fmla="*/ 73818 w 216693"/>
                    <a:gd name="connsiteY4" fmla="*/ 345281 h 414337"/>
                    <a:gd name="connsiteX5" fmla="*/ 111918 w 216693"/>
                    <a:gd name="connsiteY5" fmla="*/ 395287 h 414337"/>
                    <a:gd name="connsiteX6" fmla="*/ 130968 w 216693"/>
                    <a:gd name="connsiteY6" fmla="*/ 390524 h 414337"/>
                    <a:gd name="connsiteX7" fmla="*/ 157162 w 216693"/>
                    <a:gd name="connsiteY7" fmla="*/ 414337 h 414337"/>
                    <a:gd name="connsiteX8" fmla="*/ 192881 w 216693"/>
                    <a:gd name="connsiteY8" fmla="*/ 404812 h 414337"/>
                    <a:gd name="connsiteX9" fmla="*/ 185737 w 216693"/>
                    <a:gd name="connsiteY9" fmla="*/ 311943 h 414337"/>
                    <a:gd name="connsiteX10" fmla="*/ 216693 w 216693"/>
                    <a:gd name="connsiteY10" fmla="*/ 259556 h 414337"/>
                    <a:gd name="connsiteX11" fmla="*/ 216693 w 216693"/>
                    <a:gd name="connsiteY11" fmla="*/ 130968 h 414337"/>
                    <a:gd name="connsiteX12" fmla="*/ 211931 w 216693"/>
                    <a:gd name="connsiteY12" fmla="*/ 83343 h 414337"/>
                    <a:gd name="connsiteX13" fmla="*/ 142875 w 216693"/>
                    <a:gd name="connsiteY13" fmla="*/ 30956 h 414337"/>
                    <a:gd name="connsiteX14" fmla="*/ 116681 w 216693"/>
                    <a:gd name="connsiteY14" fmla="*/ 9524 h 414337"/>
                    <a:gd name="connsiteX15" fmla="*/ 78581 w 216693"/>
                    <a:gd name="connsiteY15" fmla="*/ 7143 h 414337"/>
                    <a:gd name="connsiteX16" fmla="*/ 30956 w 216693"/>
                    <a:gd name="connsiteY16" fmla="*/ 0 h 414337"/>
                    <a:gd name="connsiteX17" fmla="*/ 35718 w 216693"/>
                    <a:gd name="connsiteY17" fmla="*/ 21431 h 414337"/>
                    <a:gd name="connsiteX18" fmla="*/ 26193 w 216693"/>
                    <a:gd name="connsiteY18" fmla="*/ 28575 h 414337"/>
                    <a:gd name="connsiteX19" fmla="*/ 38100 w 216693"/>
                    <a:gd name="connsiteY19" fmla="*/ 90487 h 414337"/>
                    <a:gd name="connsiteX20" fmla="*/ 11906 w 216693"/>
                    <a:gd name="connsiteY20" fmla="*/ 116681 h 414337"/>
                    <a:gd name="connsiteX21" fmla="*/ 0 w 216693"/>
                    <a:gd name="connsiteY21" fmla="*/ 185737 h 414337"/>
                    <a:gd name="connsiteX0" fmla="*/ 0 w 216693"/>
                    <a:gd name="connsiteY0" fmla="*/ 185737 h 414337"/>
                    <a:gd name="connsiteX1" fmla="*/ 40481 w 216693"/>
                    <a:gd name="connsiteY1" fmla="*/ 257174 h 414337"/>
                    <a:gd name="connsiteX2" fmla="*/ 59531 w 216693"/>
                    <a:gd name="connsiteY2" fmla="*/ 278606 h 414337"/>
                    <a:gd name="connsiteX3" fmla="*/ 71437 w 216693"/>
                    <a:gd name="connsiteY3" fmla="*/ 311943 h 414337"/>
                    <a:gd name="connsiteX4" fmla="*/ 73818 w 216693"/>
                    <a:gd name="connsiteY4" fmla="*/ 345281 h 414337"/>
                    <a:gd name="connsiteX5" fmla="*/ 111918 w 216693"/>
                    <a:gd name="connsiteY5" fmla="*/ 395287 h 414337"/>
                    <a:gd name="connsiteX6" fmla="*/ 130968 w 216693"/>
                    <a:gd name="connsiteY6" fmla="*/ 390524 h 414337"/>
                    <a:gd name="connsiteX7" fmla="*/ 157162 w 216693"/>
                    <a:gd name="connsiteY7" fmla="*/ 414337 h 414337"/>
                    <a:gd name="connsiteX8" fmla="*/ 192881 w 216693"/>
                    <a:gd name="connsiteY8" fmla="*/ 404812 h 414337"/>
                    <a:gd name="connsiteX9" fmla="*/ 185737 w 216693"/>
                    <a:gd name="connsiteY9" fmla="*/ 311943 h 414337"/>
                    <a:gd name="connsiteX10" fmla="*/ 216693 w 216693"/>
                    <a:gd name="connsiteY10" fmla="*/ 259556 h 414337"/>
                    <a:gd name="connsiteX11" fmla="*/ 216693 w 216693"/>
                    <a:gd name="connsiteY11" fmla="*/ 130968 h 414337"/>
                    <a:gd name="connsiteX12" fmla="*/ 211931 w 216693"/>
                    <a:gd name="connsiteY12" fmla="*/ 83343 h 414337"/>
                    <a:gd name="connsiteX13" fmla="*/ 142875 w 216693"/>
                    <a:gd name="connsiteY13" fmla="*/ 30956 h 414337"/>
                    <a:gd name="connsiteX14" fmla="*/ 116681 w 216693"/>
                    <a:gd name="connsiteY14" fmla="*/ 9524 h 414337"/>
                    <a:gd name="connsiteX15" fmla="*/ 78581 w 216693"/>
                    <a:gd name="connsiteY15" fmla="*/ 7143 h 414337"/>
                    <a:gd name="connsiteX16" fmla="*/ 30956 w 216693"/>
                    <a:gd name="connsiteY16" fmla="*/ 0 h 414337"/>
                    <a:gd name="connsiteX17" fmla="*/ 23812 w 216693"/>
                    <a:gd name="connsiteY17" fmla="*/ 19050 h 414337"/>
                    <a:gd name="connsiteX18" fmla="*/ 26193 w 216693"/>
                    <a:gd name="connsiteY18" fmla="*/ 28575 h 414337"/>
                    <a:gd name="connsiteX19" fmla="*/ 38100 w 216693"/>
                    <a:gd name="connsiteY19" fmla="*/ 90487 h 414337"/>
                    <a:gd name="connsiteX20" fmla="*/ 11906 w 216693"/>
                    <a:gd name="connsiteY20" fmla="*/ 116681 h 414337"/>
                    <a:gd name="connsiteX21" fmla="*/ 0 w 216693"/>
                    <a:gd name="connsiteY21" fmla="*/ 185737 h 4143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6693" h="414337">
                      <a:moveTo>
                        <a:pt x="0" y="185737"/>
                      </a:moveTo>
                      <a:lnTo>
                        <a:pt x="40481" y="257174"/>
                      </a:lnTo>
                      <a:lnTo>
                        <a:pt x="59531" y="278606"/>
                      </a:lnTo>
                      <a:lnTo>
                        <a:pt x="71437" y="311943"/>
                      </a:lnTo>
                      <a:lnTo>
                        <a:pt x="73818" y="345281"/>
                      </a:lnTo>
                      <a:lnTo>
                        <a:pt x="111918" y="395287"/>
                      </a:lnTo>
                      <a:lnTo>
                        <a:pt x="130968" y="390524"/>
                      </a:lnTo>
                      <a:lnTo>
                        <a:pt x="157162" y="414337"/>
                      </a:lnTo>
                      <a:lnTo>
                        <a:pt x="192881" y="404812"/>
                      </a:lnTo>
                      <a:lnTo>
                        <a:pt x="185737" y="311943"/>
                      </a:lnTo>
                      <a:lnTo>
                        <a:pt x="216693" y="259556"/>
                      </a:lnTo>
                      <a:lnTo>
                        <a:pt x="216693" y="130968"/>
                      </a:lnTo>
                      <a:lnTo>
                        <a:pt x="211931" y="83343"/>
                      </a:lnTo>
                      <a:lnTo>
                        <a:pt x="142875" y="30956"/>
                      </a:lnTo>
                      <a:lnTo>
                        <a:pt x="116681" y="9524"/>
                      </a:lnTo>
                      <a:lnTo>
                        <a:pt x="78581" y="7143"/>
                      </a:lnTo>
                      <a:lnTo>
                        <a:pt x="30956" y="0"/>
                      </a:lnTo>
                      <a:cubicBezTo>
                        <a:pt x="28575" y="6350"/>
                        <a:pt x="24606" y="14288"/>
                        <a:pt x="23812" y="19050"/>
                      </a:cubicBezTo>
                      <a:cubicBezTo>
                        <a:pt x="23018" y="23812"/>
                        <a:pt x="23812" y="16669"/>
                        <a:pt x="26193" y="28575"/>
                      </a:cubicBezTo>
                      <a:cubicBezTo>
                        <a:pt x="28574" y="40481"/>
                        <a:pt x="34131" y="69850"/>
                        <a:pt x="38100" y="90487"/>
                      </a:cubicBezTo>
                      <a:lnTo>
                        <a:pt x="11906" y="116681"/>
                      </a:lnTo>
                      <a:cubicBezTo>
                        <a:pt x="11112" y="139700"/>
                        <a:pt x="10319" y="162718"/>
                        <a:pt x="0" y="185737"/>
                      </a:cubicBez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370">
                  <a:extLst>
                    <a:ext uri="{FF2B5EF4-FFF2-40B4-BE49-F238E27FC236}">
                      <a16:creationId xmlns:a16="http://schemas.microsoft.com/office/drawing/2014/main" id="{013C781F-5F26-1AAB-F3EF-8B2193528B6E}"/>
                    </a:ext>
                  </a:extLst>
                </p:cNvPr>
                <p:cNvSpPr/>
                <p:nvPr/>
              </p:nvSpPr>
              <p:spPr>
                <a:xfrm rot="21396613">
                  <a:off x="5195826" y="2755760"/>
                  <a:ext cx="367036" cy="322565"/>
                </a:xfrm>
                <a:custGeom>
                  <a:avLst/>
                  <a:gdLst>
                    <a:gd name="connsiteX0" fmla="*/ 104775 w 335757"/>
                    <a:gd name="connsiteY0" fmla="*/ 302419 h 302419"/>
                    <a:gd name="connsiteX1" fmla="*/ 247650 w 335757"/>
                    <a:gd name="connsiteY1" fmla="*/ 276225 h 302419"/>
                    <a:gd name="connsiteX2" fmla="*/ 280988 w 335757"/>
                    <a:gd name="connsiteY2" fmla="*/ 209550 h 302419"/>
                    <a:gd name="connsiteX3" fmla="*/ 302419 w 335757"/>
                    <a:gd name="connsiteY3" fmla="*/ 173832 h 302419"/>
                    <a:gd name="connsiteX4" fmla="*/ 316707 w 335757"/>
                    <a:gd name="connsiteY4" fmla="*/ 138113 h 302419"/>
                    <a:gd name="connsiteX5" fmla="*/ 335757 w 335757"/>
                    <a:gd name="connsiteY5" fmla="*/ 114300 h 302419"/>
                    <a:gd name="connsiteX6" fmla="*/ 314325 w 335757"/>
                    <a:gd name="connsiteY6" fmla="*/ 66675 h 302419"/>
                    <a:gd name="connsiteX7" fmla="*/ 309563 w 335757"/>
                    <a:gd name="connsiteY7" fmla="*/ 30957 h 302419"/>
                    <a:gd name="connsiteX8" fmla="*/ 252413 w 335757"/>
                    <a:gd name="connsiteY8" fmla="*/ 7144 h 302419"/>
                    <a:gd name="connsiteX9" fmla="*/ 216694 w 335757"/>
                    <a:gd name="connsiteY9" fmla="*/ 0 h 302419"/>
                    <a:gd name="connsiteX10" fmla="*/ 169069 w 335757"/>
                    <a:gd name="connsiteY10" fmla="*/ 16669 h 302419"/>
                    <a:gd name="connsiteX11" fmla="*/ 135732 w 335757"/>
                    <a:gd name="connsiteY11" fmla="*/ 40482 h 302419"/>
                    <a:gd name="connsiteX12" fmla="*/ 66675 w 335757"/>
                    <a:gd name="connsiteY12" fmla="*/ 102394 h 302419"/>
                    <a:gd name="connsiteX13" fmla="*/ 76200 w 335757"/>
                    <a:gd name="connsiteY13" fmla="*/ 176213 h 302419"/>
                    <a:gd name="connsiteX14" fmla="*/ 0 w 335757"/>
                    <a:gd name="connsiteY14" fmla="*/ 221457 h 302419"/>
                    <a:gd name="connsiteX15" fmla="*/ 104775 w 335757"/>
                    <a:gd name="connsiteY15" fmla="*/ 302419 h 302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35757" h="302419">
                      <a:moveTo>
                        <a:pt x="104775" y="302419"/>
                      </a:moveTo>
                      <a:lnTo>
                        <a:pt x="247650" y="276225"/>
                      </a:lnTo>
                      <a:lnTo>
                        <a:pt x="280988" y="209550"/>
                      </a:lnTo>
                      <a:lnTo>
                        <a:pt x="302419" y="173832"/>
                      </a:lnTo>
                      <a:lnTo>
                        <a:pt x="316707" y="138113"/>
                      </a:lnTo>
                      <a:lnTo>
                        <a:pt x="335757" y="114300"/>
                      </a:lnTo>
                      <a:lnTo>
                        <a:pt x="314325" y="66675"/>
                      </a:lnTo>
                      <a:lnTo>
                        <a:pt x="309563" y="30957"/>
                      </a:lnTo>
                      <a:lnTo>
                        <a:pt x="252413" y="7144"/>
                      </a:lnTo>
                      <a:lnTo>
                        <a:pt x="216694" y="0"/>
                      </a:lnTo>
                      <a:lnTo>
                        <a:pt x="169069" y="16669"/>
                      </a:lnTo>
                      <a:lnTo>
                        <a:pt x="135732" y="40482"/>
                      </a:lnTo>
                      <a:lnTo>
                        <a:pt x="66675" y="102394"/>
                      </a:lnTo>
                      <a:lnTo>
                        <a:pt x="76200" y="176213"/>
                      </a:lnTo>
                      <a:lnTo>
                        <a:pt x="0" y="221457"/>
                      </a:lnTo>
                      <a:lnTo>
                        <a:pt x="104775" y="302419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371">
                  <a:extLst>
                    <a:ext uri="{FF2B5EF4-FFF2-40B4-BE49-F238E27FC236}">
                      <a16:creationId xmlns:a16="http://schemas.microsoft.com/office/drawing/2014/main" id="{CB7923A3-20F8-740D-2AAD-0925372C8C63}"/>
                    </a:ext>
                  </a:extLst>
                </p:cNvPr>
                <p:cNvSpPr/>
                <p:nvPr/>
              </p:nvSpPr>
              <p:spPr>
                <a:xfrm rot="21396613">
                  <a:off x="4637766" y="2716123"/>
                  <a:ext cx="504846" cy="228256"/>
                </a:xfrm>
                <a:custGeom>
                  <a:avLst/>
                  <a:gdLst>
                    <a:gd name="connsiteX0" fmla="*/ 0 w 459581"/>
                    <a:gd name="connsiteY0" fmla="*/ 42862 h 211931"/>
                    <a:gd name="connsiteX1" fmla="*/ 7143 w 459581"/>
                    <a:gd name="connsiteY1" fmla="*/ 104775 h 211931"/>
                    <a:gd name="connsiteX2" fmla="*/ 30956 w 459581"/>
                    <a:gd name="connsiteY2" fmla="*/ 119062 h 211931"/>
                    <a:gd name="connsiteX3" fmla="*/ 33337 w 459581"/>
                    <a:gd name="connsiteY3" fmla="*/ 171450 h 211931"/>
                    <a:gd name="connsiteX4" fmla="*/ 38100 w 459581"/>
                    <a:gd name="connsiteY4" fmla="*/ 188118 h 211931"/>
                    <a:gd name="connsiteX5" fmla="*/ 88106 w 459581"/>
                    <a:gd name="connsiteY5" fmla="*/ 204787 h 211931"/>
                    <a:gd name="connsiteX6" fmla="*/ 88106 w 459581"/>
                    <a:gd name="connsiteY6" fmla="*/ 204787 h 211931"/>
                    <a:gd name="connsiteX7" fmla="*/ 147637 w 459581"/>
                    <a:gd name="connsiteY7" fmla="*/ 211931 h 211931"/>
                    <a:gd name="connsiteX8" fmla="*/ 180975 w 459581"/>
                    <a:gd name="connsiteY8" fmla="*/ 197643 h 211931"/>
                    <a:gd name="connsiteX9" fmla="*/ 214312 w 459581"/>
                    <a:gd name="connsiteY9" fmla="*/ 192881 h 211931"/>
                    <a:gd name="connsiteX10" fmla="*/ 242887 w 459581"/>
                    <a:gd name="connsiteY10" fmla="*/ 204787 h 211931"/>
                    <a:gd name="connsiteX11" fmla="*/ 261937 w 459581"/>
                    <a:gd name="connsiteY11" fmla="*/ 204787 h 211931"/>
                    <a:gd name="connsiteX12" fmla="*/ 321468 w 459581"/>
                    <a:gd name="connsiteY12" fmla="*/ 178593 h 211931"/>
                    <a:gd name="connsiteX13" fmla="*/ 350043 w 459581"/>
                    <a:gd name="connsiteY13" fmla="*/ 180975 h 211931"/>
                    <a:gd name="connsiteX14" fmla="*/ 402431 w 459581"/>
                    <a:gd name="connsiteY14" fmla="*/ 161925 h 211931"/>
                    <a:gd name="connsiteX15" fmla="*/ 457200 w 459581"/>
                    <a:gd name="connsiteY15" fmla="*/ 173831 h 211931"/>
                    <a:gd name="connsiteX16" fmla="*/ 459581 w 459581"/>
                    <a:gd name="connsiteY16" fmla="*/ 128587 h 211931"/>
                    <a:gd name="connsiteX17" fmla="*/ 450056 w 459581"/>
                    <a:gd name="connsiteY17" fmla="*/ 83343 h 211931"/>
                    <a:gd name="connsiteX18" fmla="*/ 423862 w 459581"/>
                    <a:gd name="connsiteY18" fmla="*/ 52387 h 211931"/>
                    <a:gd name="connsiteX19" fmla="*/ 357187 w 459581"/>
                    <a:gd name="connsiteY19" fmla="*/ 19050 h 211931"/>
                    <a:gd name="connsiteX20" fmla="*/ 319087 w 459581"/>
                    <a:gd name="connsiteY20" fmla="*/ 0 h 211931"/>
                    <a:gd name="connsiteX21" fmla="*/ 295275 w 459581"/>
                    <a:gd name="connsiteY21" fmla="*/ 0 h 211931"/>
                    <a:gd name="connsiteX22" fmla="*/ 240506 w 459581"/>
                    <a:gd name="connsiteY22" fmla="*/ 33337 h 211931"/>
                    <a:gd name="connsiteX23" fmla="*/ 176212 w 459581"/>
                    <a:gd name="connsiteY23" fmla="*/ 45243 h 211931"/>
                    <a:gd name="connsiteX24" fmla="*/ 95250 w 459581"/>
                    <a:gd name="connsiteY24" fmla="*/ 19050 h 211931"/>
                    <a:gd name="connsiteX25" fmla="*/ 78581 w 459581"/>
                    <a:gd name="connsiteY25" fmla="*/ 16668 h 211931"/>
                    <a:gd name="connsiteX26" fmla="*/ 0 w 459581"/>
                    <a:gd name="connsiteY26" fmla="*/ 42862 h 211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59581" h="211931">
                      <a:moveTo>
                        <a:pt x="0" y="42862"/>
                      </a:moveTo>
                      <a:lnTo>
                        <a:pt x="7143" y="104775"/>
                      </a:lnTo>
                      <a:lnTo>
                        <a:pt x="30956" y="119062"/>
                      </a:lnTo>
                      <a:lnTo>
                        <a:pt x="33337" y="171450"/>
                      </a:lnTo>
                      <a:lnTo>
                        <a:pt x="38100" y="188118"/>
                      </a:lnTo>
                      <a:lnTo>
                        <a:pt x="88106" y="204787"/>
                      </a:lnTo>
                      <a:lnTo>
                        <a:pt x="88106" y="204787"/>
                      </a:lnTo>
                      <a:lnTo>
                        <a:pt x="147637" y="211931"/>
                      </a:lnTo>
                      <a:lnTo>
                        <a:pt x="180975" y="197643"/>
                      </a:lnTo>
                      <a:lnTo>
                        <a:pt x="214312" y="192881"/>
                      </a:lnTo>
                      <a:lnTo>
                        <a:pt x="242887" y="204787"/>
                      </a:lnTo>
                      <a:lnTo>
                        <a:pt x="261937" y="204787"/>
                      </a:lnTo>
                      <a:lnTo>
                        <a:pt x="321468" y="178593"/>
                      </a:lnTo>
                      <a:lnTo>
                        <a:pt x="350043" y="180975"/>
                      </a:lnTo>
                      <a:lnTo>
                        <a:pt x="402431" y="161925"/>
                      </a:lnTo>
                      <a:lnTo>
                        <a:pt x="457200" y="173831"/>
                      </a:lnTo>
                      <a:lnTo>
                        <a:pt x="459581" y="128587"/>
                      </a:lnTo>
                      <a:lnTo>
                        <a:pt x="450056" y="83343"/>
                      </a:lnTo>
                      <a:lnTo>
                        <a:pt x="423862" y="52387"/>
                      </a:lnTo>
                      <a:lnTo>
                        <a:pt x="357187" y="19050"/>
                      </a:lnTo>
                      <a:lnTo>
                        <a:pt x="319087" y="0"/>
                      </a:lnTo>
                      <a:lnTo>
                        <a:pt x="295275" y="0"/>
                      </a:lnTo>
                      <a:lnTo>
                        <a:pt x="240506" y="33337"/>
                      </a:lnTo>
                      <a:lnTo>
                        <a:pt x="176212" y="45243"/>
                      </a:lnTo>
                      <a:lnTo>
                        <a:pt x="95250" y="19050"/>
                      </a:lnTo>
                      <a:lnTo>
                        <a:pt x="78581" y="16668"/>
                      </a:lnTo>
                      <a:lnTo>
                        <a:pt x="0" y="42862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372">
                  <a:extLst>
                    <a:ext uri="{FF2B5EF4-FFF2-40B4-BE49-F238E27FC236}">
                      <a16:creationId xmlns:a16="http://schemas.microsoft.com/office/drawing/2014/main" id="{29CBF7B1-3F63-5CD8-29EF-80C3AF32CCCC}"/>
                    </a:ext>
                  </a:extLst>
                </p:cNvPr>
                <p:cNvSpPr/>
                <p:nvPr/>
              </p:nvSpPr>
              <p:spPr>
                <a:xfrm rot="21396613">
                  <a:off x="5299524" y="2449596"/>
                  <a:ext cx="350663" cy="352635"/>
                </a:xfrm>
                <a:custGeom>
                  <a:avLst/>
                  <a:gdLst>
                    <a:gd name="connsiteX0" fmla="*/ 190500 w 314325"/>
                    <a:gd name="connsiteY0" fmla="*/ 302419 h 330994"/>
                    <a:gd name="connsiteX1" fmla="*/ 221456 w 314325"/>
                    <a:gd name="connsiteY1" fmla="*/ 240506 h 330994"/>
                    <a:gd name="connsiteX2" fmla="*/ 250031 w 314325"/>
                    <a:gd name="connsiteY2" fmla="*/ 214312 h 330994"/>
                    <a:gd name="connsiteX3" fmla="*/ 266700 w 314325"/>
                    <a:gd name="connsiteY3" fmla="*/ 169069 h 330994"/>
                    <a:gd name="connsiteX4" fmla="*/ 273844 w 314325"/>
                    <a:gd name="connsiteY4" fmla="*/ 119062 h 330994"/>
                    <a:gd name="connsiteX5" fmla="*/ 314325 w 314325"/>
                    <a:gd name="connsiteY5" fmla="*/ 52387 h 330994"/>
                    <a:gd name="connsiteX6" fmla="*/ 295275 w 314325"/>
                    <a:gd name="connsiteY6" fmla="*/ 14287 h 330994"/>
                    <a:gd name="connsiteX7" fmla="*/ 285750 w 314325"/>
                    <a:gd name="connsiteY7" fmla="*/ 21431 h 330994"/>
                    <a:gd name="connsiteX8" fmla="*/ 273844 w 314325"/>
                    <a:gd name="connsiteY8" fmla="*/ 0 h 330994"/>
                    <a:gd name="connsiteX9" fmla="*/ 245269 w 314325"/>
                    <a:gd name="connsiteY9" fmla="*/ 33337 h 330994"/>
                    <a:gd name="connsiteX10" fmla="*/ 211931 w 314325"/>
                    <a:gd name="connsiteY10" fmla="*/ 45244 h 330994"/>
                    <a:gd name="connsiteX11" fmla="*/ 202406 w 314325"/>
                    <a:gd name="connsiteY11" fmla="*/ 85725 h 330994"/>
                    <a:gd name="connsiteX12" fmla="*/ 178594 w 314325"/>
                    <a:gd name="connsiteY12" fmla="*/ 95250 h 330994"/>
                    <a:gd name="connsiteX13" fmla="*/ 135731 w 314325"/>
                    <a:gd name="connsiteY13" fmla="*/ 47625 h 330994"/>
                    <a:gd name="connsiteX14" fmla="*/ 104775 w 314325"/>
                    <a:gd name="connsiteY14" fmla="*/ 64294 h 330994"/>
                    <a:gd name="connsiteX15" fmla="*/ 109537 w 314325"/>
                    <a:gd name="connsiteY15" fmla="*/ 154781 h 330994"/>
                    <a:gd name="connsiteX16" fmla="*/ 78581 w 314325"/>
                    <a:gd name="connsiteY16" fmla="*/ 176212 h 330994"/>
                    <a:gd name="connsiteX17" fmla="*/ 59531 w 314325"/>
                    <a:gd name="connsiteY17" fmla="*/ 195262 h 330994"/>
                    <a:gd name="connsiteX18" fmla="*/ 59531 w 314325"/>
                    <a:gd name="connsiteY18" fmla="*/ 195262 h 330994"/>
                    <a:gd name="connsiteX19" fmla="*/ 61912 w 314325"/>
                    <a:gd name="connsiteY19" fmla="*/ 240506 h 330994"/>
                    <a:gd name="connsiteX20" fmla="*/ 9525 w 314325"/>
                    <a:gd name="connsiteY20" fmla="*/ 233362 h 330994"/>
                    <a:gd name="connsiteX21" fmla="*/ 0 w 314325"/>
                    <a:gd name="connsiteY21" fmla="*/ 254794 h 330994"/>
                    <a:gd name="connsiteX22" fmla="*/ 14287 w 314325"/>
                    <a:gd name="connsiteY22" fmla="*/ 330994 h 330994"/>
                    <a:gd name="connsiteX23" fmla="*/ 59531 w 314325"/>
                    <a:gd name="connsiteY23" fmla="*/ 302419 h 330994"/>
                    <a:gd name="connsiteX24" fmla="*/ 100012 w 314325"/>
                    <a:gd name="connsiteY24" fmla="*/ 285750 h 330994"/>
                    <a:gd name="connsiteX25" fmla="*/ 126206 w 314325"/>
                    <a:gd name="connsiteY25" fmla="*/ 288131 h 330994"/>
                    <a:gd name="connsiteX26" fmla="*/ 190500 w 314325"/>
                    <a:gd name="connsiteY26" fmla="*/ 302419 h 330994"/>
                    <a:gd name="connsiteX0" fmla="*/ 190500 w 321468"/>
                    <a:gd name="connsiteY0" fmla="*/ 302419 h 330994"/>
                    <a:gd name="connsiteX1" fmla="*/ 221456 w 321468"/>
                    <a:gd name="connsiteY1" fmla="*/ 240506 h 330994"/>
                    <a:gd name="connsiteX2" fmla="*/ 250031 w 321468"/>
                    <a:gd name="connsiteY2" fmla="*/ 214312 h 330994"/>
                    <a:gd name="connsiteX3" fmla="*/ 266700 w 321468"/>
                    <a:gd name="connsiteY3" fmla="*/ 169069 h 330994"/>
                    <a:gd name="connsiteX4" fmla="*/ 273844 w 321468"/>
                    <a:gd name="connsiteY4" fmla="*/ 119062 h 330994"/>
                    <a:gd name="connsiteX5" fmla="*/ 321468 w 321468"/>
                    <a:gd name="connsiteY5" fmla="*/ 61912 h 330994"/>
                    <a:gd name="connsiteX6" fmla="*/ 295275 w 321468"/>
                    <a:gd name="connsiteY6" fmla="*/ 14287 h 330994"/>
                    <a:gd name="connsiteX7" fmla="*/ 285750 w 321468"/>
                    <a:gd name="connsiteY7" fmla="*/ 21431 h 330994"/>
                    <a:gd name="connsiteX8" fmla="*/ 273844 w 321468"/>
                    <a:gd name="connsiteY8" fmla="*/ 0 h 330994"/>
                    <a:gd name="connsiteX9" fmla="*/ 245269 w 321468"/>
                    <a:gd name="connsiteY9" fmla="*/ 33337 h 330994"/>
                    <a:gd name="connsiteX10" fmla="*/ 211931 w 321468"/>
                    <a:gd name="connsiteY10" fmla="*/ 45244 h 330994"/>
                    <a:gd name="connsiteX11" fmla="*/ 202406 w 321468"/>
                    <a:gd name="connsiteY11" fmla="*/ 85725 h 330994"/>
                    <a:gd name="connsiteX12" fmla="*/ 178594 w 321468"/>
                    <a:gd name="connsiteY12" fmla="*/ 95250 h 330994"/>
                    <a:gd name="connsiteX13" fmla="*/ 135731 w 321468"/>
                    <a:gd name="connsiteY13" fmla="*/ 47625 h 330994"/>
                    <a:gd name="connsiteX14" fmla="*/ 104775 w 321468"/>
                    <a:gd name="connsiteY14" fmla="*/ 64294 h 330994"/>
                    <a:gd name="connsiteX15" fmla="*/ 109537 w 321468"/>
                    <a:gd name="connsiteY15" fmla="*/ 154781 h 330994"/>
                    <a:gd name="connsiteX16" fmla="*/ 78581 w 321468"/>
                    <a:gd name="connsiteY16" fmla="*/ 176212 h 330994"/>
                    <a:gd name="connsiteX17" fmla="*/ 59531 w 321468"/>
                    <a:gd name="connsiteY17" fmla="*/ 195262 h 330994"/>
                    <a:gd name="connsiteX18" fmla="*/ 59531 w 321468"/>
                    <a:gd name="connsiteY18" fmla="*/ 195262 h 330994"/>
                    <a:gd name="connsiteX19" fmla="*/ 61912 w 321468"/>
                    <a:gd name="connsiteY19" fmla="*/ 240506 h 330994"/>
                    <a:gd name="connsiteX20" fmla="*/ 9525 w 321468"/>
                    <a:gd name="connsiteY20" fmla="*/ 233362 h 330994"/>
                    <a:gd name="connsiteX21" fmla="*/ 0 w 321468"/>
                    <a:gd name="connsiteY21" fmla="*/ 254794 h 330994"/>
                    <a:gd name="connsiteX22" fmla="*/ 14287 w 321468"/>
                    <a:gd name="connsiteY22" fmla="*/ 330994 h 330994"/>
                    <a:gd name="connsiteX23" fmla="*/ 59531 w 321468"/>
                    <a:gd name="connsiteY23" fmla="*/ 302419 h 330994"/>
                    <a:gd name="connsiteX24" fmla="*/ 100012 w 321468"/>
                    <a:gd name="connsiteY24" fmla="*/ 285750 h 330994"/>
                    <a:gd name="connsiteX25" fmla="*/ 126206 w 321468"/>
                    <a:gd name="connsiteY25" fmla="*/ 288131 h 330994"/>
                    <a:gd name="connsiteX26" fmla="*/ 190500 w 321468"/>
                    <a:gd name="connsiteY26" fmla="*/ 302419 h 3309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21468" h="330994">
                      <a:moveTo>
                        <a:pt x="190500" y="302419"/>
                      </a:moveTo>
                      <a:lnTo>
                        <a:pt x="221456" y="240506"/>
                      </a:lnTo>
                      <a:lnTo>
                        <a:pt x="250031" y="214312"/>
                      </a:lnTo>
                      <a:lnTo>
                        <a:pt x="266700" y="169069"/>
                      </a:lnTo>
                      <a:lnTo>
                        <a:pt x="273844" y="119062"/>
                      </a:lnTo>
                      <a:lnTo>
                        <a:pt x="321468" y="61912"/>
                      </a:lnTo>
                      <a:lnTo>
                        <a:pt x="295275" y="14287"/>
                      </a:lnTo>
                      <a:lnTo>
                        <a:pt x="285750" y="21431"/>
                      </a:lnTo>
                      <a:lnTo>
                        <a:pt x="273844" y="0"/>
                      </a:lnTo>
                      <a:lnTo>
                        <a:pt x="245269" y="33337"/>
                      </a:lnTo>
                      <a:lnTo>
                        <a:pt x="211931" y="45244"/>
                      </a:lnTo>
                      <a:lnTo>
                        <a:pt x="202406" y="85725"/>
                      </a:lnTo>
                      <a:lnTo>
                        <a:pt x="178594" y="95250"/>
                      </a:lnTo>
                      <a:lnTo>
                        <a:pt x="135731" y="47625"/>
                      </a:lnTo>
                      <a:lnTo>
                        <a:pt x="104775" y="64294"/>
                      </a:lnTo>
                      <a:lnTo>
                        <a:pt x="109537" y="154781"/>
                      </a:lnTo>
                      <a:lnTo>
                        <a:pt x="78581" y="176212"/>
                      </a:lnTo>
                      <a:lnTo>
                        <a:pt x="59531" y="195262"/>
                      </a:lnTo>
                      <a:lnTo>
                        <a:pt x="59531" y="195262"/>
                      </a:lnTo>
                      <a:lnTo>
                        <a:pt x="61912" y="240506"/>
                      </a:lnTo>
                      <a:lnTo>
                        <a:pt x="9525" y="233362"/>
                      </a:lnTo>
                      <a:lnTo>
                        <a:pt x="0" y="254794"/>
                      </a:lnTo>
                      <a:lnTo>
                        <a:pt x="14287" y="330994"/>
                      </a:lnTo>
                      <a:lnTo>
                        <a:pt x="59531" y="302419"/>
                      </a:lnTo>
                      <a:lnTo>
                        <a:pt x="100012" y="285750"/>
                      </a:lnTo>
                      <a:lnTo>
                        <a:pt x="126206" y="288131"/>
                      </a:lnTo>
                      <a:lnTo>
                        <a:pt x="190500" y="302419"/>
                      </a:lnTo>
                      <a:close/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5869" name="Group 148">
              <a:extLst>
                <a:ext uri="{FF2B5EF4-FFF2-40B4-BE49-F238E27FC236}">
                  <a16:creationId xmlns:a16="http://schemas.microsoft.com/office/drawing/2014/main" id="{9C08FC7C-1E83-9633-E38F-C4D9818AC7B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09366" y="2059466"/>
              <a:ext cx="2211735" cy="2401695"/>
              <a:chOff x="671204" y="2022524"/>
              <a:chExt cx="2698191" cy="2823065"/>
            </a:xfrm>
          </p:grpSpPr>
          <p:sp>
            <p:nvSpPr>
              <p:cNvPr id="160" name="Freeform 361">
                <a:extLst>
                  <a:ext uri="{FF2B5EF4-FFF2-40B4-BE49-F238E27FC236}">
                    <a16:creationId xmlns:a16="http://schemas.microsoft.com/office/drawing/2014/main" id="{87ECFA12-AE5B-36F8-8E18-E5B5BA3E8FD8}"/>
                  </a:ext>
                </a:extLst>
              </p:cNvPr>
              <p:cNvSpPr/>
              <p:nvPr/>
            </p:nvSpPr>
            <p:spPr>
              <a:xfrm rot="21396613">
                <a:off x="909982" y="2022733"/>
                <a:ext cx="1509082" cy="1375002"/>
              </a:xfrm>
              <a:custGeom>
                <a:avLst/>
                <a:gdLst>
                  <a:gd name="connsiteX0" fmla="*/ 783432 w 1378744"/>
                  <a:gd name="connsiteY0" fmla="*/ 0 h 1138237"/>
                  <a:gd name="connsiteX1" fmla="*/ 738188 w 1378744"/>
                  <a:gd name="connsiteY1" fmla="*/ 26193 h 1138237"/>
                  <a:gd name="connsiteX2" fmla="*/ 685800 w 1378744"/>
                  <a:gd name="connsiteY2" fmla="*/ 28575 h 1138237"/>
                  <a:gd name="connsiteX3" fmla="*/ 635794 w 1378744"/>
                  <a:gd name="connsiteY3" fmla="*/ 73818 h 1138237"/>
                  <a:gd name="connsiteX4" fmla="*/ 633413 w 1378744"/>
                  <a:gd name="connsiteY4" fmla="*/ 114300 h 1138237"/>
                  <a:gd name="connsiteX5" fmla="*/ 561975 w 1378744"/>
                  <a:gd name="connsiteY5" fmla="*/ 190500 h 1138237"/>
                  <a:gd name="connsiteX6" fmla="*/ 519113 w 1378744"/>
                  <a:gd name="connsiteY6" fmla="*/ 214312 h 1138237"/>
                  <a:gd name="connsiteX7" fmla="*/ 485775 w 1378744"/>
                  <a:gd name="connsiteY7" fmla="*/ 252412 h 1138237"/>
                  <a:gd name="connsiteX8" fmla="*/ 461963 w 1378744"/>
                  <a:gd name="connsiteY8" fmla="*/ 273843 h 1138237"/>
                  <a:gd name="connsiteX9" fmla="*/ 423863 w 1378744"/>
                  <a:gd name="connsiteY9" fmla="*/ 333375 h 1138237"/>
                  <a:gd name="connsiteX10" fmla="*/ 378619 w 1378744"/>
                  <a:gd name="connsiteY10" fmla="*/ 357187 h 1138237"/>
                  <a:gd name="connsiteX11" fmla="*/ 292894 w 1378744"/>
                  <a:gd name="connsiteY11" fmla="*/ 376237 h 1138237"/>
                  <a:gd name="connsiteX12" fmla="*/ 264319 w 1378744"/>
                  <a:gd name="connsiteY12" fmla="*/ 373856 h 1138237"/>
                  <a:gd name="connsiteX13" fmla="*/ 240507 w 1378744"/>
                  <a:gd name="connsiteY13" fmla="*/ 359568 h 1138237"/>
                  <a:gd name="connsiteX14" fmla="*/ 226219 w 1378744"/>
                  <a:gd name="connsiteY14" fmla="*/ 338137 h 1138237"/>
                  <a:gd name="connsiteX15" fmla="*/ 219075 w 1378744"/>
                  <a:gd name="connsiteY15" fmla="*/ 311943 h 1138237"/>
                  <a:gd name="connsiteX16" fmla="*/ 204788 w 1378744"/>
                  <a:gd name="connsiteY16" fmla="*/ 309562 h 1138237"/>
                  <a:gd name="connsiteX17" fmla="*/ 188119 w 1378744"/>
                  <a:gd name="connsiteY17" fmla="*/ 304800 h 1138237"/>
                  <a:gd name="connsiteX18" fmla="*/ 173832 w 1378744"/>
                  <a:gd name="connsiteY18" fmla="*/ 302418 h 1138237"/>
                  <a:gd name="connsiteX19" fmla="*/ 128588 w 1378744"/>
                  <a:gd name="connsiteY19" fmla="*/ 352425 h 1138237"/>
                  <a:gd name="connsiteX20" fmla="*/ 97632 w 1378744"/>
                  <a:gd name="connsiteY20" fmla="*/ 371475 h 1138237"/>
                  <a:gd name="connsiteX21" fmla="*/ 80963 w 1378744"/>
                  <a:gd name="connsiteY21" fmla="*/ 390525 h 1138237"/>
                  <a:gd name="connsiteX22" fmla="*/ 66675 w 1378744"/>
                  <a:gd name="connsiteY22" fmla="*/ 435768 h 1138237"/>
                  <a:gd name="connsiteX23" fmla="*/ 54769 w 1378744"/>
                  <a:gd name="connsiteY23" fmla="*/ 447675 h 1138237"/>
                  <a:gd name="connsiteX24" fmla="*/ 9525 w 1378744"/>
                  <a:gd name="connsiteY24" fmla="*/ 466725 h 1138237"/>
                  <a:gd name="connsiteX25" fmla="*/ 2382 w 1378744"/>
                  <a:gd name="connsiteY25" fmla="*/ 481012 h 1138237"/>
                  <a:gd name="connsiteX26" fmla="*/ 4763 w 1378744"/>
                  <a:gd name="connsiteY26" fmla="*/ 533400 h 1138237"/>
                  <a:gd name="connsiteX27" fmla="*/ 0 w 1378744"/>
                  <a:gd name="connsiteY27" fmla="*/ 545306 h 1138237"/>
                  <a:gd name="connsiteX28" fmla="*/ 73819 w 1378744"/>
                  <a:gd name="connsiteY28" fmla="*/ 588168 h 1138237"/>
                  <a:gd name="connsiteX29" fmla="*/ 90488 w 1378744"/>
                  <a:gd name="connsiteY29" fmla="*/ 628650 h 1138237"/>
                  <a:gd name="connsiteX30" fmla="*/ 83344 w 1378744"/>
                  <a:gd name="connsiteY30" fmla="*/ 654843 h 1138237"/>
                  <a:gd name="connsiteX31" fmla="*/ 73819 w 1378744"/>
                  <a:gd name="connsiteY31" fmla="*/ 697706 h 1138237"/>
                  <a:gd name="connsiteX32" fmla="*/ 78582 w 1378744"/>
                  <a:gd name="connsiteY32" fmla="*/ 726281 h 1138237"/>
                  <a:gd name="connsiteX33" fmla="*/ 95250 w 1378744"/>
                  <a:gd name="connsiteY33" fmla="*/ 738187 h 1138237"/>
                  <a:gd name="connsiteX34" fmla="*/ 116682 w 1378744"/>
                  <a:gd name="connsiteY34" fmla="*/ 735806 h 1138237"/>
                  <a:gd name="connsiteX35" fmla="*/ 123825 w 1378744"/>
                  <a:gd name="connsiteY35" fmla="*/ 762000 h 1138237"/>
                  <a:gd name="connsiteX36" fmla="*/ 126207 w 1378744"/>
                  <a:gd name="connsiteY36" fmla="*/ 783431 h 1138237"/>
                  <a:gd name="connsiteX37" fmla="*/ 152400 w 1378744"/>
                  <a:gd name="connsiteY37" fmla="*/ 812006 h 1138237"/>
                  <a:gd name="connsiteX38" fmla="*/ 164307 w 1378744"/>
                  <a:gd name="connsiteY38" fmla="*/ 823912 h 1138237"/>
                  <a:gd name="connsiteX39" fmla="*/ 173832 w 1378744"/>
                  <a:gd name="connsiteY39" fmla="*/ 850106 h 1138237"/>
                  <a:gd name="connsiteX40" fmla="*/ 169069 w 1378744"/>
                  <a:gd name="connsiteY40" fmla="*/ 878681 h 1138237"/>
                  <a:gd name="connsiteX41" fmla="*/ 176213 w 1378744"/>
                  <a:gd name="connsiteY41" fmla="*/ 897731 h 1138237"/>
                  <a:gd name="connsiteX42" fmla="*/ 200025 w 1378744"/>
                  <a:gd name="connsiteY42" fmla="*/ 916781 h 1138237"/>
                  <a:gd name="connsiteX43" fmla="*/ 226219 w 1378744"/>
                  <a:gd name="connsiteY43" fmla="*/ 916781 h 1138237"/>
                  <a:gd name="connsiteX44" fmla="*/ 300038 w 1378744"/>
                  <a:gd name="connsiteY44" fmla="*/ 921543 h 1138237"/>
                  <a:gd name="connsiteX45" fmla="*/ 395288 w 1378744"/>
                  <a:gd name="connsiteY45" fmla="*/ 952500 h 1138237"/>
                  <a:gd name="connsiteX46" fmla="*/ 414338 w 1378744"/>
                  <a:gd name="connsiteY46" fmla="*/ 988218 h 1138237"/>
                  <a:gd name="connsiteX47" fmla="*/ 435769 w 1378744"/>
                  <a:gd name="connsiteY47" fmla="*/ 992981 h 1138237"/>
                  <a:gd name="connsiteX48" fmla="*/ 464344 w 1378744"/>
                  <a:gd name="connsiteY48" fmla="*/ 995362 h 1138237"/>
                  <a:gd name="connsiteX49" fmla="*/ 507207 w 1378744"/>
                  <a:gd name="connsiteY49" fmla="*/ 1026318 h 1138237"/>
                  <a:gd name="connsiteX50" fmla="*/ 521494 w 1378744"/>
                  <a:gd name="connsiteY50" fmla="*/ 1069181 h 1138237"/>
                  <a:gd name="connsiteX51" fmla="*/ 545307 w 1378744"/>
                  <a:gd name="connsiteY51" fmla="*/ 1107281 h 1138237"/>
                  <a:gd name="connsiteX52" fmla="*/ 573882 w 1378744"/>
                  <a:gd name="connsiteY52" fmla="*/ 1121568 h 1138237"/>
                  <a:gd name="connsiteX53" fmla="*/ 585788 w 1378744"/>
                  <a:gd name="connsiteY53" fmla="*/ 1131093 h 1138237"/>
                  <a:gd name="connsiteX54" fmla="*/ 814388 w 1378744"/>
                  <a:gd name="connsiteY54" fmla="*/ 1138237 h 1138237"/>
                  <a:gd name="connsiteX55" fmla="*/ 828675 w 1378744"/>
                  <a:gd name="connsiteY55" fmla="*/ 1109662 h 1138237"/>
                  <a:gd name="connsiteX56" fmla="*/ 833438 w 1378744"/>
                  <a:gd name="connsiteY56" fmla="*/ 1085850 h 1138237"/>
                  <a:gd name="connsiteX57" fmla="*/ 797719 w 1378744"/>
                  <a:gd name="connsiteY57" fmla="*/ 1059656 h 1138237"/>
                  <a:gd name="connsiteX58" fmla="*/ 790575 w 1378744"/>
                  <a:gd name="connsiteY58" fmla="*/ 1038225 h 1138237"/>
                  <a:gd name="connsiteX59" fmla="*/ 790575 w 1378744"/>
                  <a:gd name="connsiteY59" fmla="*/ 1021556 h 1138237"/>
                  <a:gd name="connsiteX60" fmla="*/ 845344 w 1378744"/>
                  <a:gd name="connsiteY60" fmla="*/ 952500 h 1138237"/>
                  <a:gd name="connsiteX61" fmla="*/ 845344 w 1378744"/>
                  <a:gd name="connsiteY61" fmla="*/ 952500 h 1138237"/>
                  <a:gd name="connsiteX62" fmla="*/ 888207 w 1378744"/>
                  <a:gd name="connsiteY62" fmla="*/ 966787 h 1138237"/>
                  <a:gd name="connsiteX63" fmla="*/ 907257 w 1378744"/>
                  <a:gd name="connsiteY63" fmla="*/ 981075 h 1138237"/>
                  <a:gd name="connsiteX64" fmla="*/ 938213 w 1378744"/>
                  <a:gd name="connsiteY64" fmla="*/ 990600 h 1138237"/>
                  <a:gd name="connsiteX65" fmla="*/ 964407 w 1378744"/>
                  <a:gd name="connsiteY65" fmla="*/ 985837 h 1138237"/>
                  <a:gd name="connsiteX66" fmla="*/ 985838 w 1378744"/>
                  <a:gd name="connsiteY66" fmla="*/ 985837 h 1138237"/>
                  <a:gd name="connsiteX67" fmla="*/ 995363 w 1378744"/>
                  <a:gd name="connsiteY67" fmla="*/ 995362 h 1138237"/>
                  <a:gd name="connsiteX68" fmla="*/ 978694 w 1378744"/>
                  <a:gd name="connsiteY68" fmla="*/ 1012031 h 1138237"/>
                  <a:gd name="connsiteX69" fmla="*/ 969169 w 1378744"/>
                  <a:gd name="connsiteY69" fmla="*/ 1031081 h 1138237"/>
                  <a:gd name="connsiteX70" fmla="*/ 954882 w 1378744"/>
                  <a:gd name="connsiteY70" fmla="*/ 1054893 h 1138237"/>
                  <a:gd name="connsiteX71" fmla="*/ 950119 w 1378744"/>
                  <a:gd name="connsiteY71" fmla="*/ 1083468 h 1138237"/>
                  <a:gd name="connsiteX72" fmla="*/ 962025 w 1378744"/>
                  <a:gd name="connsiteY72" fmla="*/ 1107281 h 1138237"/>
                  <a:gd name="connsiteX73" fmla="*/ 983457 w 1378744"/>
                  <a:gd name="connsiteY73" fmla="*/ 1131093 h 1138237"/>
                  <a:gd name="connsiteX74" fmla="*/ 1002507 w 1378744"/>
                  <a:gd name="connsiteY74" fmla="*/ 1133475 h 1138237"/>
                  <a:gd name="connsiteX75" fmla="*/ 1028700 w 1378744"/>
                  <a:gd name="connsiteY75" fmla="*/ 1126331 h 1138237"/>
                  <a:gd name="connsiteX76" fmla="*/ 1031082 w 1378744"/>
                  <a:gd name="connsiteY76" fmla="*/ 1097756 h 1138237"/>
                  <a:gd name="connsiteX77" fmla="*/ 1057275 w 1378744"/>
                  <a:gd name="connsiteY77" fmla="*/ 1085850 h 1138237"/>
                  <a:gd name="connsiteX78" fmla="*/ 1076325 w 1378744"/>
                  <a:gd name="connsiteY78" fmla="*/ 1097756 h 1138237"/>
                  <a:gd name="connsiteX79" fmla="*/ 1100138 w 1378744"/>
                  <a:gd name="connsiteY79" fmla="*/ 1107281 h 1138237"/>
                  <a:gd name="connsiteX80" fmla="*/ 1123950 w 1378744"/>
                  <a:gd name="connsiteY80" fmla="*/ 1121568 h 1138237"/>
                  <a:gd name="connsiteX81" fmla="*/ 1143000 w 1378744"/>
                  <a:gd name="connsiteY81" fmla="*/ 1123950 h 1138237"/>
                  <a:gd name="connsiteX82" fmla="*/ 1157288 w 1378744"/>
                  <a:gd name="connsiteY82" fmla="*/ 1112043 h 1138237"/>
                  <a:gd name="connsiteX83" fmla="*/ 1159669 w 1378744"/>
                  <a:gd name="connsiteY83" fmla="*/ 1085850 h 1138237"/>
                  <a:gd name="connsiteX84" fmla="*/ 1166813 w 1378744"/>
                  <a:gd name="connsiteY84" fmla="*/ 1052512 h 1138237"/>
                  <a:gd name="connsiteX85" fmla="*/ 1197769 w 1378744"/>
                  <a:gd name="connsiteY85" fmla="*/ 1016793 h 1138237"/>
                  <a:gd name="connsiteX86" fmla="*/ 1195388 w 1378744"/>
                  <a:gd name="connsiteY86" fmla="*/ 954881 h 1138237"/>
                  <a:gd name="connsiteX87" fmla="*/ 1209675 w 1378744"/>
                  <a:gd name="connsiteY87" fmla="*/ 945356 h 1138237"/>
                  <a:gd name="connsiteX88" fmla="*/ 1235869 w 1378744"/>
                  <a:gd name="connsiteY88" fmla="*/ 945356 h 1138237"/>
                  <a:gd name="connsiteX89" fmla="*/ 1235869 w 1378744"/>
                  <a:gd name="connsiteY89" fmla="*/ 931068 h 1138237"/>
                  <a:gd name="connsiteX90" fmla="*/ 1212057 w 1378744"/>
                  <a:gd name="connsiteY90" fmla="*/ 912018 h 1138237"/>
                  <a:gd name="connsiteX91" fmla="*/ 1195388 w 1378744"/>
                  <a:gd name="connsiteY91" fmla="*/ 881062 h 1138237"/>
                  <a:gd name="connsiteX92" fmla="*/ 1157288 w 1378744"/>
                  <a:gd name="connsiteY92" fmla="*/ 871537 h 1138237"/>
                  <a:gd name="connsiteX93" fmla="*/ 1119188 w 1378744"/>
                  <a:gd name="connsiteY93" fmla="*/ 859631 h 1138237"/>
                  <a:gd name="connsiteX94" fmla="*/ 1119188 w 1378744"/>
                  <a:gd name="connsiteY94" fmla="*/ 831056 h 1138237"/>
                  <a:gd name="connsiteX95" fmla="*/ 1135857 w 1378744"/>
                  <a:gd name="connsiteY95" fmla="*/ 807243 h 1138237"/>
                  <a:gd name="connsiteX96" fmla="*/ 1197769 w 1378744"/>
                  <a:gd name="connsiteY96" fmla="*/ 759618 h 1138237"/>
                  <a:gd name="connsiteX97" fmla="*/ 1247775 w 1378744"/>
                  <a:gd name="connsiteY97" fmla="*/ 762000 h 1138237"/>
                  <a:gd name="connsiteX98" fmla="*/ 1278732 w 1378744"/>
                  <a:gd name="connsiteY98" fmla="*/ 762000 h 1138237"/>
                  <a:gd name="connsiteX99" fmla="*/ 1271588 w 1378744"/>
                  <a:gd name="connsiteY99" fmla="*/ 735806 h 1138237"/>
                  <a:gd name="connsiteX100" fmla="*/ 1378744 w 1378744"/>
                  <a:gd name="connsiteY100" fmla="*/ 678656 h 1138237"/>
                  <a:gd name="connsiteX101" fmla="*/ 1331119 w 1378744"/>
                  <a:gd name="connsiteY101" fmla="*/ 552450 h 1138237"/>
                  <a:gd name="connsiteX102" fmla="*/ 1278732 w 1378744"/>
                  <a:gd name="connsiteY102" fmla="*/ 514350 h 1138237"/>
                  <a:gd name="connsiteX103" fmla="*/ 1252538 w 1378744"/>
                  <a:gd name="connsiteY103" fmla="*/ 431006 h 1138237"/>
                  <a:gd name="connsiteX104" fmla="*/ 1181100 w 1378744"/>
                  <a:gd name="connsiteY104" fmla="*/ 431006 h 1138237"/>
                  <a:gd name="connsiteX105" fmla="*/ 1166813 w 1378744"/>
                  <a:gd name="connsiteY105" fmla="*/ 395287 h 1138237"/>
                  <a:gd name="connsiteX106" fmla="*/ 1107282 w 1378744"/>
                  <a:gd name="connsiteY106" fmla="*/ 421481 h 1138237"/>
                  <a:gd name="connsiteX107" fmla="*/ 1054894 w 1378744"/>
                  <a:gd name="connsiteY107" fmla="*/ 414337 h 1138237"/>
                  <a:gd name="connsiteX108" fmla="*/ 1028700 w 1378744"/>
                  <a:gd name="connsiteY108" fmla="*/ 371475 h 1138237"/>
                  <a:gd name="connsiteX109" fmla="*/ 1023938 w 1378744"/>
                  <a:gd name="connsiteY109" fmla="*/ 288131 h 1138237"/>
                  <a:gd name="connsiteX110" fmla="*/ 1012032 w 1378744"/>
                  <a:gd name="connsiteY110" fmla="*/ 269081 h 1138237"/>
                  <a:gd name="connsiteX111" fmla="*/ 1012032 w 1378744"/>
                  <a:gd name="connsiteY111" fmla="*/ 211931 h 1138237"/>
                  <a:gd name="connsiteX112" fmla="*/ 959644 w 1378744"/>
                  <a:gd name="connsiteY112" fmla="*/ 190500 h 1138237"/>
                  <a:gd name="connsiteX113" fmla="*/ 914400 w 1378744"/>
                  <a:gd name="connsiteY113" fmla="*/ 111918 h 1138237"/>
                  <a:gd name="connsiteX114" fmla="*/ 854869 w 1378744"/>
                  <a:gd name="connsiteY114" fmla="*/ 76200 h 1138237"/>
                  <a:gd name="connsiteX115" fmla="*/ 873919 w 1378744"/>
                  <a:gd name="connsiteY115" fmla="*/ 16668 h 1138237"/>
                  <a:gd name="connsiteX116" fmla="*/ 783432 w 1378744"/>
                  <a:gd name="connsiteY116" fmla="*/ 0 h 1138237"/>
                  <a:gd name="connsiteX0" fmla="*/ 783432 w 1378744"/>
                  <a:gd name="connsiteY0" fmla="*/ 0 h 1138237"/>
                  <a:gd name="connsiteX1" fmla="*/ 738188 w 1378744"/>
                  <a:gd name="connsiteY1" fmla="*/ 26193 h 1138237"/>
                  <a:gd name="connsiteX2" fmla="*/ 685800 w 1378744"/>
                  <a:gd name="connsiteY2" fmla="*/ 28575 h 1138237"/>
                  <a:gd name="connsiteX3" fmla="*/ 635794 w 1378744"/>
                  <a:gd name="connsiteY3" fmla="*/ 73818 h 1138237"/>
                  <a:gd name="connsiteX4" fmla="*/ 633413 w 1378744"/>
                  <a:gd name="connsiteY4" fmla="*/ 114300 h 1138237"/>
                  <a:gd name="connsiteX5" fmla="*/ 561975 w 1378744"/>
                  <a:gd name="connsiteY5" fmla="*/ 190500 h 1138237"/>
                  <a:gd name="connsiteX6" fmla="*/ 519113 w 1378744"/>
                  <a:gd name="connsiteY6" fmla="*/ 214312 h 1138237"/>
                  <a:gd name="connsiteX7" fmla="*/ 485775 w 1378744"/>
                  <a:gd name="connsiteY7" fmla="*/ 252412 h 1138237"/>
                  <a:gd name="connsiteX8" fmla="*/ 461963 w 1378744"/>
                  <a:gd name="connsiteY8" fmla="*/ 273843 h 1138237"/>
                  <a:gd name="connsiteX9" fmla="*/ 423863 w 1378744"/>
                  <a:gd name="connsiteY9" fmla="*/ 333375 h 1138237"/>
                  <a:gd name="connsiteX10" fmla="*/ 378619 w 1378744"/>
                  <a:gd name="connsiteY10" fmla="*/ 357187 h 1138237"/>
                  <a:gd name="connsiteX11" fmla="*/ 292894 w 1378744"/>
                  <a:gd name="connsiteY11" fmla="*/ 376237 h 1138237"/>
                  <a:gd name="connsiteX12" fmla="*/ 264319 w 1378744"/>
                  <a:gd name="connsiteY12" fmla="*/ 373856 h 1138237"/>
                  <a:gd name="connsiteX13" fmla="*/ 240507 w 1378744"/>
                  <a:gd name="connsiteY13" fmla="*/ 359568 h 1138237"/>
                  <a:gd name="connsiteX14" fmla="*/ 226219 w 1378744"/>
                  <a:gd name="connsiteY14" fmla="*/ 338137 h 1138237"/>
                  <a:gd name="connsiteX15" fmla="*/ 219075 w 1378744"/>
                  <a:gd name="connsiteY15" fmla="*/ 311943 h 1138237"/>
                  <a:gd name="connsiteX16" fmla="*/ 204788 w 1378744"/>
                  <a:gd name="connsiteY16" fmla="*/ 309562 h 1138237"/>
                  <a:gd name="connsiteX17" fmla="*/ 188119 w 1378744"/>
                  <a:gd name="connsiteY17" fmla="*/ 304800 h 1138237"/>
                  <a:gd name="connsiteX18" fmla="*/ 173832 w 1378744"/>
                  <a:gd name="connsiteY18" fmla="*/ 302418 h 1138237"/>
                  <a:gd name="connsiteX19" fmla="*/ 128588 w 1378744"/>
                  <a:gd name="connsiteY19" fmla="*/ 352425 h 1138237"/>
                  <a:gd name="connsiteX20" fmla="*/ 97632 w 1378744"/>
                  <a:gd name="connsiteY20" fmla="*/ 371475 h 1138237"/>
                  <a:gd name="connsiteX21" fmla="*/ 80963 w 1378744"/>
                  <a:gd name="connsiteY21" fmla="*/ 390525 h 1138237"/>
                  <a:gd name="connsiteX22" fmla="*/ 66675 w 1378744"/>
                  <a:gd name="connsiteY22" fmla="*/ 435768 h 1138237"/>
                  <a:gd name="connsiteX23" fmla="*/ 54769 w 1378744"/>
                  <a:gd name="connsiteY23" fmla="*/ 447675 h 1138237"/>
                  <a:gd name="connsiteX24" fmla="*/ 9525 w 1378744"/>
                  <a:gd name="connsiteY24" fmla="*/ 466725 h 1138237"/>
                  <a:gd name="connsiteX25" fmla="*/ 2382 w 1378744"/>
                  <a:gd name="connsiteY25" fmla="*/ 481012 h 1138237"/>
                  <a:gd name="connsiteX26" fmla="*/ 4763 w 1378744"/>
                  <a:gd name="connsiteY26" fmla="*/ 533400 h 1138237"/>
                  <a:gd name="connsiteX27" fmla="*/ 0 w 1378744"/>
                  <a:gd name="connsiteY27" fmla="*/ 545306 h 1138237"/>
                  <a:gd name="connsiteX28" fmla="*/ 73819 w 1378744"/>
                  <a:gd name="connsiteY28" fmla="*/ 588168 h 1138237"/>
                  <a:gd name="connsiteX29" fmla="*/ 90488 w 1378744"/>
                  <a:gd name="connsiteY29" fmla="*/ 628650 h 1138237"/>
                  <a:gd name="connsiteX30" fmla="*/ 83344 w 1378744"/>
                  <a:gd name="connsiteY30" fmla="*/ 654843 h 1138237"/>
                  <a:gd name="connsiteX31" fmla="*/ 73819 w 1378744"/>
                  <a:gd name="connsiteY31" fmla="*/ 697706 h 1138237"/>
                  <a:gd name="connsiteX32" fmla="*/ 78582 w 1378744"/>
                  <a:gd name="connsiteY32" fmla="*/ 726281 h 1138237"/>
                  <a:gd name="connsiteX33" fmla="*/ 95250 w 1378744"/>
                  <a:gd name="connsiteY33" fmla="*/ 738187 h 1138237"/>
                  <a:gd name="connsiteX34" fmla="*/ 116682 w 1378744"/>
                  <a:gd name="connsiteY34" fmla="*/ 735806 h 1138237"/>
                  <a:gd name="connsiteX35" fmla="*/ 123825 w 1378744"/>
                  <a:gd name="connsiteY35" fmla="*/ 762000 h 1138237"/>
                  <a:gd name="connsiteX36" fmla="*/ 126207 w 1378744"/>
                  <a:gd name="connsiteY36" fmla="*/ 783431 h 1138237"/>
                  <a:gd name="connsiteX37" fmla="*/ 152400 w 1378744"/>
                  <a:gd name="connsiteY37" fmla="*/ 812006 h 1138237"/>
                  <a:gd name="connsiteX38" fmla="*/ 164307 w 1378744"/>
                  <a:gd name="connsiteY38" fmla="*/ 823912 h 1138237"/>
                  <a:gd name="connsiteX39" fmla="*/ 173832 w 1378744"/>
                  <a:gd name="connsiteY39" fmla="*/ 850106 h 1138237"/>
                  <a:gd name="connsiteX40" fmla="*/ 169069 w 1378744"/>
                  <a:gd name="connsiteY40" fmla="*/ 878681 h 1138237"/>
                  <a:gd name="connsiteX41" fmla="*/ 176213 w 1378744"/>
                  <a:gd name="connsiteY41" fmla="*/ 897731 h 1138237"/>
                  <a:gd name="connsiteX42" fmla="*/ 200025 w 1378744"/>
                  <a:gd name="connsiteY42" fmla="*/ 916781 h 1138237"/>
                  <a:gd name="connsiteX43" fmla="*/ 226219 w 1378744"/>
                  <a:gd name="connsiteY43" fmla="*/ 916781 h 1138237"/>
                  <a:gd name="connsiteX44" fmla="*/ 300038 w 1378744"/>
                  <a:gd name="connsiteY44" fmla="*/ 921543 h 1138237"/>
                  <a:gd name="connsiteX45" fmla="*/ 395288 w 1378744"/>
                  <a:gd name="connsiteY45" fmla="*/ 952500 h 1138237"/>
                  <a:gd name="connsiteX46" fmla="*/ 414338 w 1378744"/>
                  <a:gd name="connsiteY46" fmla="*/ 988218 h 1138237"/>
                  <a:gd name="connsiteX47" fmla="*/ 435769 w 1378744"/>
                  <a:gd name="connsiteY47" fmla="*/ 992981 h 1138237"/>
                  <a:gd name="connsiteX48" fmla="*/ 464344 w 1378744"/>
                  <a:gd name="connsiteY48" fmla="*/ 995362 h 1138237"/>
                  <a:gd name="connsiteX49" fmla="*/ 507207 w 1378744"/>
                  <a:gd name="connsiteY49" fmla="*/ 1026318 h 1138237"/>
                  <a:gd name="connsiteX50" fmla="*/ 521494 w 1378744"/>
                  <a:gd name="connsiteY50" fmla="*/ 1069181 h 1138237"/>
                  <a:gd name="connsiteX51" fmla="*/ 545307 w 1378744"/>
                  <a:gd name="connsiteY51" fmla="*/ 1107281 h 1138237"/>
                  <a:gd name="connsiteX52" fmla="*/ 573882 w 1378744"/>
                  <a:gd name="connsiteY52" fmla="*/ 1121568 h 1138237"/>
                  <a:gd name="connsiteX53" fmla="*/ 585788 w 1378744"/>
                  <a:gd name="connsiteY53" fmla="*/ 1131093 h 1138237"/>
                  <a:gd name="connsiteX54" fmla="*/ 638175 w 1378744"/>
                  <a:gd name="connsiteY54" fmla="*/ 1131093 h 1138237"/>
                  <a:gd name="connsiteX55" fmla="*/ 814388 w 1378744"/>
                  <a:gd name="connsiteY55" fmla="*/ 1138237 h 1138237"/>
                  <a:gd name="connsiteX56" fmla="*/ 828675 w 1378744"/>
                  <a:gd name="connsiteY56" fmla="*/ 1109662 h 1138237"/>
                  <a:gd name="connsiteX57" fmla="*/ 833438 w 1378744"/>
                  <a:gd name="connsiteY57" fmla="*/ 1085850 h 1138237"/>
                  <a:gd name="connsiteX58" fmla="*/ 797719 w 1378744"/>
                  <a:gd name="connsiteY58" fmla="*/ 1059656 h 1138237"/>
                  <a:gd name="connsiteX59" fmla="*/ 790575 w 1378744"/>
                  <a:gd name="connsiteY59" fmla="*/ 1038225 h 1138237"/>
                  <a:gd name="connsiteX60" fmla="*/ 790575 w 1378744"/>
                  <a:gd name="connsiteY60" fmla="*/ 1021556 h 1138237"/>
                  <a:gd name="connsiteX61" fmla="*/ 845344 w 1378744"/>
                  <a:gd name="connsiteY61" fmla="*/ 952500 h 1138237"/>
                  <a:gd name="connsiteX62" fmla="*/ 845344 w 1378744"/>
                  <a:gd name="connsiteY62" fmla="*/ 952500 h 1138237"/>
                  <a:gd name="connsiteX63" fmla="*/ 888207 w 1378744"/>
                  <a:gd name="connsiteY63" fmla="*/ 966787 h 1138237"/>
                  <a:gd name="connsiteX64" fmla="*/ 907257 w 1378744"/>
                  <a:gd name="connsiteY64" fmla="*/ 981075 h 1138237"/>
                  <a:gd name="connsiteX65" fmla="*/ 938213 w 1378744"/>
                  <a:gd name="connsiteY65" fmla="*/ 990600 h 1138237"/>
                  <a:gd name="connsiteX66" fmla="*/ 964407 w 1378744"/>
                  <a:gd name="connsiteY66" fmla="*/ 985837 h 1138237"/>
                  <a:gd name="connsiteX67" fmla="*/ 985838 w 1378744"/>
                  <a:gd name="connsiteY67" fmla="*/ 985837 h 1138237"/>
                  <a:gd name="connsiteX68" fmla="*/ 995363 w 1378744"/>
                  <a:gd name="connsiteY68" fmla="*/ 995362 h 1138237"/>
                  <a:gd name="connsiteX69" fmla="*/ 978694 w 1378744"/>
                  <a:gd name="connsiteY69" fmla="*/ 1012031 h 1138237"/>
                  <a:gd name="connsiteX70" fmla="*/ 969169 w 1378744"/>
                  <a:gd name="connsiteY70" fmla="*/ 1031081 h 1138237"/>
                  <a:gd name="connsiteX71" fmla="*/ 954882 w 1378744"/>
                  <a:gd name="connsiteY71" fmla="*/ 1054893 h 1138237"/>
                  <a:gd name="connsiteX72" fmla="*/ 950119 w 1378744"/>
                  <a:gd name="connsiteY72" fmla="*/ 1083468 h 1138237"/>
                  <a:gd name="connsiteX73" fmla="*/ 962025 w 1378744"/>
                  <a:gd name="connsiteY73" fmla="*/ 1107281 h 1138237"/>
                  <a:gd name="connsiteX74" fmla="*/ 983457 w 1378744"/>
                  <a:gd name="connsiteY74" fmla="*/ 1131093 h 1138237"/>
                  <a:gd name="connsiteX75" fmla="*/ 1002507 w 1378744"/>
                  <a:gd name="connsiteY75" fmla="*/ 1133475 h 1138237"/>
                  <a:gd name="connsiteX76" fmla="*/ 1028700 w 1378744"/>
                  <a:gd name="connsiteY76" fmla="*/ 1126331 h 1138237"/>
                  <a:gd name="connsiteX77" fmla="*/ 1031082 w 1378744"/>
                  <a:gd name="connsiteY77" fmla="*/ 1097756 h 1138237"/>
                  <a:gd name="connsiteX78" fmla="*/ 1057275 w 1378744"/>
                  <a:gd name="connsiteY78" fmla="*/ 1085850 h 1138237"/>
                  <a:gd name="connsiteX79" fmla="*/ 1076325 w 1378744"/>
                  <a:gd name="connsiteY79" fmla="*/ 1097756 h 1138237"/>
                  <a:gd name="connsiteX80" fmla="*/ 1100138 w 1378744"/>
                  <a:gd name="connsiteY80" fmla="*/ 1107281 h 1138237"/>
                  <a:gd name="connsiteX81" fmla="*/ 1123950 w 1378744"/>
                  <a:gd name="connsiteY81" fmla="*/ 1121568 h 1138237"/>
                  <a:gd name="connsiteX82" fmla="*/ 1143000 w 1378744"/>
                  <a:gd name="connsiteY82" fmla="*/ 1123950 h 1138237"/>
                  <a:gd name="connsiteX83" fmla="*/ 1157288 w 1378744"/>
                  <a:gd name="connsiteY83" fmla="*/ 1112043 h 1138237"/>
                  <a:gd name="connsiteX84" fmla="*/ 1159669 w 1378744"/>
                  <a:gd name="connsiteY84" fmla="*/ 1085850 h 1138237"/>
                  <a:gd name="connsiteX85" fmla="*/ 1166813 w 1378744"/>
                  <a:gd name="connsiteY85" fmla="*/ 1052512 h 1138237"/>
                  <a:gd name="connsiteX86" fmla="*/ 1197769 w 1378744"/>
                  <a:gd name="connsiteY86" fmla="*/ 1016793 h 1138237"/>
                  <a:gd name="connsiteX87" fmla="*/ 1195388 w 1378744"/>
                  <a:gd name="connsiteY87" fmla="*/ 954881 h 1138237"/>
                  <a:gd name="connsiteX88" fmla="*/ 1209675 w 1378744"/>
                  <a:gd name="connsiteY88" fmla="*/ 945356 h 1138237"/>
                  <a:gd name="connsiteX89" fmla="*/ 1235869 w 1378744"/>
                  <a:gd name="connsiteY89" fmla="*/ 945356 h 1138237"/>
                  <a:gd name="connsiteX90" fmla="*/ 1235869 w 1378744"/>
                  <a:gd name="connsiteY90" fmla="*/ 931068 h 1138237"/>
                  <a:gd name="connsiteX91" fmla="*/ 1212057 w 1378744"/>
                  <a:gd name="connsiteY91" fmla="*/ 912018 h 1138237"/>
                  <a:gd name="connsiteX92" fmla="*/ 1195388 w 1378744"/>
                  <a:gd name="connsiteY92" fmla="*/ 881062 h 1138237"/>
                  <a:gd name="connsiteX93" fmla="*/ 1157288 w 1378744"/>
                  <a:gd name="connsiteY93" fmla="*/ 871537 h 1138237"/>
                  <a:gd name="connsiteX94" fmla="*/ 1119188 w 1378744"/>
                  <a:gd name="connsiteY94" fmla="*/ 859631 h 1138237"/>
                  <a:gd name="connsiteX95" fmla="*/ 1119188 w 1378744"/>
                  <a:gd name="connsiteY95" fmla="*/ 831056 h 1138237"/>
                  <a:gd name="connsiteX96" fmla="*/ 1135857 w 1378744"/>
                  <a:gd name="connsiteY96" fmla="*/ 807243 h 1138237"/>
                  <a:gd name="connsiteX97" fmla="*/ 1197769 w 1378744"/>
                  <a:gd name="connsiteY97" fmla="*/ 759618 h 1138237"/>
                  <a:gd name="connsiteX98" fmla="*/ 1247775 w 1378744"/>
                  <a:gd name="connsiteY98" fmla="*/ 762000 h 1138237"/>
                  <a:gd name="connsiteX99" fmla="*/ 1278732 w 1378744"/>
                  <a:gd name="connsiteY99" fmla="*/ 762000 h 1138237"/>
                  <a:gd name="connsiteX100" fmla="*/ 1271588 w 1378744"/>
                  <a:gd name="connsiteY100" fmla="*/ 735806 h 1138237"/>
                  <a:gd name="connsiteX101" fmla="*/ 1378744 w 1378744"/>
                  <a:gd name="connsiteY101" fmla="*/ 678656 h 1138237"/>
                  <a:gd name="connsiteX102" fmla="*/ 1331119 w 1378744"/>
                  <a:gd name="connsiteY102" fmla="*/ 552450 h 1138237"/>
                  <a:gd name="connsiteX103" fmla="*/ 1278732 w 1378744"/>
                  <a:gd name="connsiteY103" fmla="*/ 514350 h 1138237"/>
                  <a:gd name="connsiteX104" fmla="*/ 1252538 w 1378744"/>
                  <a:gd name="connsiteY104" fmla="*/ 431006 h 1138237"/>
                  <a:gd name="connsiteX105" fmla="*/ 1181100 w 1378744"/>
                  <a:gd name="connsiteY105" fmla="*/ 431006 h 1138237"/>
                  <a:gd name="connsiteX106" fmla="*/ 1166813 w 1378744"/>
                  <a:gd name="connsiteY106" fmla="*/ 395287 h 1138237"/>
                  <a:gd name="connsiteX107" fmla="*/ 1107282 w 1378744"/>
                  <a:gd name="connsiteY107" fmla="*/ 421481 h 1138237"/>
                  <a:gd name="connsiteX108" fmla="*/ 1054894 w 1378744"/>
                  <a:gd name="connsiteY108" fmla="*/ 414337 h 1138237"/>
                  <a:gd name="connsiteX109" fmla="*/ 1028700 w 1378744"/>
                  <a:gd name="connsiteY109" fmla="*/ 371475 h 1138237"/>
                  <a:gd name="connsiteX110" fmla="*/ 1023938 w 1378744"/>
                  <a:gd name="connsiteY110" fmla="*/ 288131 h 1138237"/>
                  <a:gd name="connsiteX111" fmla="*/ 1012032 w 1378744"/>
                  <a:gd name="connsiteY111" fmla="*/ 269081 h 1138237"/>
                  <a:gd name="connsiteX112" fmla="*/ 1012032 w 1378744"/>
                  <a:gd name="connsiteY112" fmla="*/ 211931 h 1138237"/>
                  <a:gd name="connsiteX113" fmla="*/ 959644 w 1378744"/>
                  <a:gd name="connsiteY113" fmla="*/ 190500 h 1138237"/>
                  <a:gd name="connsiteX114" fmla="*/ 914400 w 1378744"/>
                  <a:gd name="connsiteY114" fmla="*/ 111918 h 1138237"/>
                  <a:gd name="connsiteX115" fmla="*/ 854869 w 1378744"/>
                  <a:gd name="connsiteY115" fmla="*/ 76200 h 1138237"/>
                  <a:gd name="connsiteX116" fmla="*/ 873919 w 1378744"/>
                  <a:gd name="connsiteY116" fmla="*/ 16668 h 1138237"/>
                  <a:gd name="connsiteX117" fmla="*/ 783432 w 1378744"/>
                  <a:gd name="connsiteY117" fmla="*/ 0 h 1138237"/>
                  <a:gd name="connsiteX0" fmla="*/ 783432 w 1378744"/>
                  <a:gd name="connsiteY0" fmla="*/ 0 h 1181100"/>
                  <a:gd name="connsiteX1" fmla="*/ 738188 w 1378744"/>
                  <a:gd name="connsiteY1" fmla="*/ 26193 h 1181100"/>
                  <a:gd name="connsiteX2" fmla="*/ 685800 w 1378744"/>
                  <a:gd name="connsiteY2" fmla="*/ 28575 h 1181100"/>
                  <a:gd name="connsiteX3" fmla="*/ 635794 w 1378744"/>
                  <a:gd name="connsiteY3" fmla="*/ 73818 h 1181100"/>
                  <a:gd name="connsiteX4" fmla="*/ 633413 w 1378744"/>
                  <a:gd name="connsiteY4" fmla="*/ 114300 h 1181100"/>
                  <a:gd name="connsiteX5" fmla="*/ 561975 w 1378744"/>
                  <a:gd name="connsiteY5" fmla="*/ 190500 h 1181100"/>
                  <a:gd name="connsiteX6" fmla="*/ 519113 w 1378744"/>
                  <a:gd name="connsiteY6" fmla="*/ 214312 h 1181100"/>
                  <a:gd name="connsiteX7" fmla="*/ 485775 w 1378744"/>
                  <a:gd name="connsiteY7" fmla="*/ 252412 h 1181100"/>
                  <a:gd name="connsiteX8" fmla="*/ 461963 w 1378744"/>
                  <a:gd name="connsiteY8" fmla="*/ 273843 h 1181100"/>
                  <a:gd name="connsiteX9" fmla="*/ 423863 w 1378744"/>
                  <a:gd name="connsiteY9" fmla="*/ 333375 h 1181100"/>
                  <a:gd name="connsiteX10" fmla="*/ 378619 w 1378744"/>
                  <a:gd name="connsiteY10" fmla="*/ 357187 h 1181100"/>
                  <a:gd name="connsiteX11" fmla="*/ 292894 w 1378744"/>
                  <a:gd name="connsiteY11" fmla="*/ 376237 h 1181100"/>
                  <a:gd name="connsiteX12" fmla="*/ 264319 w 1378744"/>
                  <a:gd name="connsiteY12" fmla="*/ 373856 h 1181100"/>
                  <a:gd name="connsiteX13" fmla="*/ 240507 w 1378744"/>
                  <a:gd name="connsiteY13" fmla="*/ 359568 h 1181100"/>
                  <a:gd name="connsiteX14" fmla="*/ 226219 w 1378744"/>
                  <a:gd name="connsiteY14" fmla="*/ 338137 h 1181100"/>
                  <a:gd name="connsiteX15" fmla="*/ 219075 w 1378744"/>
                  <a:gd name="connsiteY15" fmla="*/ 311943 h 1181100"/>
                  <a:gd name="connsiteX16" fmla="*/ 204788 w 1378744"/>
                  <a:gd name="connsiteY16" fmla="*/ 309562 h 1181100"/>
                  <a:gd name="connsiteX17" fmla="*/ 188119 w 1378744"/>
                  <a:gd name="connsiteY17" fmla="*/ 304800 h 1181100"/>
                  <a:gd name="connsiteX18" fmla="*/ 173832 w 1378744"/>
                  <a:gd name="connsiteY18" fmla="*/ 302418 h 1181100"/>
                  <a:gd name="connsiteX19" fmla="*/ 128588 w 1378744"/>
                  <a:gd name="connsiteY19" fmla="*/ 352425 h 1181100"/>
                  <a:gd name="connsiteX20" fmla="*/ 97632 w 1378744"/>
                  <a:gd name="connsiteY20" fmla="*/ 371475 h 1181100"/>
                  <a:gd name="connsiteX21" fmla="*/ 80963 w 1378744"/>
                  <a:gd name="connsiteY21" fmla="*/ 390525 h 1181100"/>
                  <a:gd name="connsiteX22" fmla="*/ 66675 w 1378744"/>
                  <a:gd name="connsiteY22" fmla="*/ 435768 h 1181100"/>
                  <a:gd name="connsiteX23" fmla="*/ 54769 w 1378744"/>
                  <a:gd name="connsiteY23" fmla="*/ 447675 h 1181100"/>
                  <a:gd name="connsiteX24" fmla="*/ 9525 w 1378744"/>
                  <a:gd name="connsiteY24" fmla="*/ 466725 h 1181100"/>
                  <a:gd name="connsiteX25" fmla="*/ 2382 w 1378744"/>
                  <a:gd name="connsiteY25" fmla="*/ 481012 h 1181100"/>
                  <a:gd name="connsiteX26" fmla="*/ 4763 w 1378744"/>
                  <a:gd name="connsiteY26" fmla="*/ 533400 h 1181100"/>
                  <a:gd name="connsiteX27" fmla="*/ 0 w 1378744"/>
                  <a:gd name="connsiteY27" fmla="*/ 545306 h 1181100"/>
                  <a:gd name="connsiteX28" fmla="*/ 73819 w 1378744"/>
                  <a:gd name="connsiteY28" fmla="*/ 588168 h 1181100"/>
                  <a:gd name="connsiteX29" fmla="*/ 90488 w 1378744"/>
                  <a:gd name="connsiteY29" fmla="*/ 628650 h 1181100"/>
                  <a:gd name="connsiteX30" fmla="*/ 83344 w 1378744"/>
                  <a:gd name="connsiteY30" fmla="*/ 654843 h 1181100"/>
                  <a:gd name="connsiteX31" fmla="*/ 73819 w 1378744"/>
                  <a:gd name="connsiteY31" fmla="*/ 697706 h 1181100"/>
                  <a:gd name="connsiteX32" fmla="*/ 78582 w 1378744"/>
                  <a:gd name="connsiteY32" fmla="*/ 726281 h 1181100"/>
                  <a:gd name="connsiteX33" fmla="*/ 95250 w 1378744"/>
                  <a:gd name="connsiteY33" fmla="*/ 738187 h 1181100"/>
                  <a:gd name="connsiteX34" fmla="*/ 116682 w 1378744"/>
                  <a:gd name="connsiteY34" fmla="*/ 735806 h 1181100"/>
                  <a:gd name="connsiteX35" fmla="*/ 123825 w 1378744"/>
                  <a:gd name="connsiteY35" fmla="*/ 762000 h 1181100"/>
                  <a:gd name="connsiteX36" fmla="*/ 126207 w 1378744"/>
                  <a:gd name="connsiteY36" fmla="*/ 783431 h 1181100"/>
                  <a:gd name="connsiteX37" fmla="*/ 152400 w 1378744"/>
                  <a:gd name="connsiteY37" fmla="*/ 812006 h 1181100"/>
                  <a:gd name="connsiteX38" fmla="*/ 164307 w 1378744"/>
                  <a:gd name="connsiteY38" fmla="*/ 823912 h 1181100"/>
                  <a:gd name="connsiteX39" fmla="*/ 173832 w 1378744"/>
                  <a:gd name="connsiteY39" fmla="*/ 850106 h 1181100"/>
                  <a:gd name="connsiteX40" fmla="*/ 169069 w 1378744"/>
                  <a:gd name="connsiteY40" fmla="*/ 878681 h 1181100"/>
                  <a:gd name="connsiteX41" fmla="*/ 176213 w 1378744"/>
                  <a:gd name="connsiteY41" fmla="*/ 897731 h 1181100"/>
                  <a:gd name="connsiteX42" fmla="*/ 200025 w 1378744"/>
                  <a:gd name="connsiteY42" fmla="*/ 916781 h 1181100"/>
                  <a:gd name="connsiteX43" fmla="*/ 226219 w 1378744"/>
                  <a:gd name="connsiteY43" fmla="*/ 916781 h 1181100"/>
                  <a:gd name="connsiteX44" fmla="*/ 300038 w 1378744"/>
                  <a:gd name="connsiteY44" fmla="*/ 921543 h 1181100"/>
                  <a:gd name="connsiteX45" fmla="*/ 395288 w 1378744"/>
                  <a:gd name="connsiteY45" fmla="*/ 952500 h 1181100"/>
                  <a:gd name="connsiteX46" fmla="*/ 414338 w 1378744"/>
                  <a:gd name="connsiteY46" fmla="*/ 988218 h 1181100"/>
                  <a:gd name="connsiteX47" fmla="*/ 435769 w 1378744"/>
                  <a:gd name="connsiteY47" fmla="*/ 992981 h 1181100"/>
                  <a:gd name="connsiteX48" fmla="*/ 464344 w 1378744"/>
                  <a:gd name="connsiteY48" fmla="*/ 995362 h 1181100"/>
                  <a:gd name="connsiteX49" fmla="*/ 507207 w 1378744"/>
                  <a:gd name="connsiteY49" fmla="*/ 1026318 h 1181100"/>
                  <a:gd name="connsiteX50" fmla="*/ 521494 w 1378744"/>
                  <a:gd name="connsiteY50" fmla="*/ 1069181 h 1181100"/>
                  <a:gd name="connsiteX51" fmla="*/ 545307 w 1378744"/>
                  <a:gd name="connsiteY51" fmla="*/ 1107281 h 1181100"/>
                  <a:gd name="connsiteX52" fmla="*/ 573882 w 1378744"/>
                  <a:gd name="connsiteY52" fmla="*/ 1121568 h 1181100"/>
                  <a:gd name="connsiteX53" fmla="*/ 585788 w 1378744"/>
                  <a:gd name="connsiteY53" fmla="*/ 1131093 h 1181100"/>
                  <a:gd name="connsiteX54" fmla="*/ 597694 w 1378744"/>
                  <a:gd name="connsiteY54" fmla="*/ 1181100 h 1181100"/>
                  <a:gd name="connsiteX55" fmla="*/ 814388 w 1378744"/>
                  <a:gd name="connsiteY55" fmla="*/ 1138237 h 1181100"/>
                  <a:gd name="connsiteX56" fmla="*/ 828675 w 1378744"/>
                  <a:gd name="connsiteY56" fmla="*/ 1109662 h 1181100"/>
                  <a:gd name="connsiteX57" fmla="*/ 833438 w 1378744"/>
                  <a:gd name="connsiteY57" fmla="*/ 1085850 h 1181100"/>
                  <a:gd name="connsiteX58" fmla="*/ 797719 w 1378744"/>
                  <a:gd name="connsiteY58" fmla="*/ 1059656 h 1181100"/>
                  <a:gd name="connsiteX59" fmla="*/ 790575 w 1378744"/>
                  <a:gd name="connsiteY59" fmla="*/ 1038225 h 1181100"/>
                  <a:gd name="connsiteX60" fmla="*/ 790575 w 1378744"/>
                  <a:gd name="connsiteY60" fmla="*/ 1021556 h 1181100"/>
                  <a:gd name="connsiteX61" fmla="*/ 845344 w 1378744"/>
                  <a:gd name="connsiteY61" fmla="*/ 952500 h 1181100"/>
                  <a:gd name="connsiteX62" fmla="*/ 845344 w 1378744"/>
                  <a:gd name="connsiteY62" fmla="*/ 952500 h 1181100"/>
                  <a:gd name="connsiteX63" fmla="*/ 888207 w 1378744"/>
                  <a:gd name="connsiteY63" fmla="*/ 966787 h 1181100"/>
                  <a:gd name="connsiteX64" fmla="*/ 907257 w 1378744"/>
                  <a:gd name="connsiteY64" fmla="*/ 981075 h 1181100"/>
                  <a:gd name="connsiteX65" fmla="*/ 938213 w 1378744"/>
                  <a:gd name="connsiteY65" fmla="*/ 990600 h 1181100"/>
                  <a:gd name="connsiteX66" fmla="*/ 964407 w 1378744"/>
                  <a:gd name="connsiteY66" fmla="*/ 985837 h 1181100"/>
                  <a:gd name="connsiteX67" fmla="*/ 985838 w 1378744"/>
                  <a:gd name="connsiteY67" fmla="*/ 985837 h 1181100"/>
                  <a:gd name="connsiteX68" fmla="*/ 995363 w 1378744"/>
                  <a:gd name="connsiteY68" fmla="*/ 995362 h 1181100"/>
                  <a:gd name="connsiteX69" fmla="*/ 978694 w 1378744"/>
                  <a:gd name="connsiteY69" fmla="*/ 1012031 h 1181100"/>
                  <a:gd name="connsiteX70" fmla="*/ 969169 w 1378744"/>
                  <a:gd name="connsiteY70" fmla="*/ 1031081 h 1181100"/>
                  <a:gd name="connsiteX71" fmla="*/ 954882 w 1378744"/>
                  <a:gd name="connsiteY71" fmla="*/ 1054893 h 1181100"/>
                  <a:gd name="connsiteX72" fmla="*/ 950119 w 1378744"/>
                  <a:gd name="connsiteY72" fmla="*/ 1083468 h 1181100"/>
                  <a:gd name="connsiteX73" fmla="*/ 962025 w 1378744"/>
                  <a:gd name="connsiteY73" fmla="*/ 1107281 h 1181100"/>
                  <a:gd name="connsiteX74" fmla="*/ 983457 w 1378744"/>
                  <a:gd name="connsiteY74" fmla="*/ 1131093 h 1181100"/>
                  <a:gd name="connsiteX75" fmla="*/ 1002507 w 1378744"/>
                  <a:gd name="connsiteY75" fmla="*/ 1133475 h 1181100"/>
                  <a:gd name="connsiteX76" fmla="*/ 1028700 w 1378744"/>
                  <a:gd name="connsiteY76" fmla="*/ 1126331 h 1181100"/>
                  <a:gd name="connsiteX77" fmla="*/ 1031082 w 1378744"/>
                  <a:gd name="connsiteY77" fmla="*/ 1097756 h 1181100"/>
                  <a:gd name="connsiteX78" fmla="*/ 1057275 w 1378744"/>
                  <a:gd name="connsiteY78" fmla="*/ 1085850 h 1181100"/>
                  <a:gd name="connsiteX79" fmla="*/ 1076325 w 1378744"/>
                  <a:gd name="connsiteY79" fmla="*/ 1097756 h 1181100"/>
                  <a:gd name="connsiteX80" fmla="*/ 1100138 w 1378744"/>
                  <a:gd name="connsiteY80" fmla="*/ 1107281 h 1181100"/>
                  <a:gd name="connsiteX81" fmla="*/ 1123950 w 1378744"/>
                  <a:gd name="connsiteY81" fmla="*/ 1121568 h 1181100"/>
                  <a:gd name="connsiteX82" fmla="*/ 1143000 w 1378744"/>
                  <a:gd name="connsiteY82" fmla="*/ 1123950 h 1181100"/>
                  <a:gd name="connsiteX83" fmla="*/ 1157288 w 1378744"/>
                  <a:gd name="connsiteY83" fmla="*/ 1112043 h 1181100"/>
                  <a:gd name="connsiteX84" fmla="*/ 1159669 w 1378744"/>
                  <a:gd name="connsiteY84" fmla="*/ 1085850 h 1181100"/>
                  <a:gd name="connsiteX85" fmla="*/ 1166813 w 1378744"/>
                  <a:gd name="connsiteY85" fmla="*/ 1052512 h 1181100"/>
                  <a:gd name="connsiteX86" fmla="*/ 1197769 w 1378744"/>
                  <a:gd name="connsiteY86" fmla="*/ 1016793 h 1181100"/>
                  <a:gd name="connsiteX87" fmla="*/ 1195388 w 1378744"/>
                  <a:gd name="connsiteY87" fmla="*/ 954881 h 1181100"/>
                  <a:gd name="connsiteX88" fmla="*/ 1209675 w 1378744"/>
                  <a:gd name="connsiteY88" fmla="*/ 945356 h 1181100"/>
                  <a:gd name="connsiteX89" fmla="*/ 1235869 w 1378744"/>
                  <a:gd name="connsiteY89" fmla="*/ 945356 h 1181100"/>
                  <a:gd name="connsiteX90" fmla="*/ 1235869 w 1378744"/>
                  <a:gd name="connsiteY90" fmla="*/ 931068 h 1181100"/>
                  <a:gd name="connsiteX91" fmla="*/ 1212057 w 1378744"/>
                  <a:gd name="connsiteY91" fmla="*/ 912018 h 1181100"/>
                  <a:gd name="connsiteX92" fmla="*/ 1195388 w 1378744"/>
                  <a:gd name="connsiteY92" fmla="*/ 881062 h 1181100"/>
                  <a:gd name="connsiteX93" fmla="*/ 1157288 w 1378744"/>
                  <a:gd name="connsiteY93" fmla="*/ 871537 h 1181100"/>
                  <a:gd name="connsiteX94" fmla="*/ 1119188 w 1378744"/>
                  <a:gd name="connsiteY94" fmla="*/ 859631 h 1181100"/>
                  <a:gd name="connsiteX95" fmla="*/ 1119188 w 1378744"/>
                  <a:gd name="connsiteY95" fmla="*/ 831056 h 1181100"/>
                  <a:gd name="connsiteX96" fmla="*/ 1135857 w 1378744"/>
                  <a:gd name="connsiteY96" fmla="*/ 807243 h 1181100"/>
                  <a:gd name="connsiteX97" fmla="*/ 1197769 w 1378744"/>
                  <a:gd name="connsiteY97" fmla="*/ 759618 h 1181100"/>
                  <a:gd name="connsiteX98" fmla="*/ 1247775 w 1378744"/>
                  <a:gd name="connsiteY98" fmla="*/ 762000 h 1181100"/>
                  <a:gd name="connsiteX99" fmla="*/ 1278732 w 1378744"/>
                  <a:gd name="connsiteY99" fmla="*/ 762000 h 1181100"/>
                  <a:gd name="connsiteX100" fmla="*/ 1271588 w 1378744"/>
                  <a:gd name="connsiteY100" fmla="*/ 735806 h 1181100"/>
                  <a:gd name="connsiteX101" fmla="*/ 1378744 w 1378744"/>
                  <a:gd name="connsiteY101" fmla="*/ 678656 h 1181100"/>
                  <a:gd name="connsiteX102" fmla="*/ 1331119 w 1378744"/>
                  <a:gd name="connsiteY102" fmla="*/ 552450 h 1181100"/>
                  <a:gd name="connsiteX103" fmla="*/ 1278732 w 1378744"/>
                  <a:gd name="connsiteY103" fmla="*/ 514350 h 1181100"/>
                  <a:gd name="connsiteX104" fmla="*/ 1252538 w 1378744"/>
                  <a:gd name="connsiteY104" fmla="*/ 431006 h 1181100"/>
                  <a:gd name="connsiteX105" fmla="*/ 1181100 w 1378744"/>
                  <a:gd name="connsiteY105" fmla="*/ 431006 h 1181100"/>
                  <a:gd name="connsiteX106" fmla="*/ 1166813 w 1378744"/>
                  <a:gd name="connsiteY106" fmla="*/ 395287 h 1181100"/>
                  <a:gd name="connsiteX107" fmla="*/ 1107282 w 1378744"/>
                  <a:gd name="connsiteY107" fmla="*/ 421481 h 1181100"/>
                  <a:gd name="connsiteX108" fmla="*/ 1054894 w 1378744"/>
                  <a:gd name="connsiteY108" fmla="*/ 414337 h 1181100"/>
                  <a:gd name="connsiteX109" fmla="*/ 1028700 w 1378744"/>
                  <a:gd name="connsiteY109" fmla="*/ 371475 h 1181100"/>
                  <a:gd name="connsiteX110" fmla="*/ 1023938 w 1378744"/>
                  <a:gd name="connsiteY110" fmla="*/ 288131 h 1181100"/>
                  <a:gd name="connsiteX111" fmla="*/ 1012032 w 1378744"/>
                  <a:gd name="connsiteY111" fmla="*/ 269081 h 1181100"/>
                  <a:gd name="connsiteX112" fmla="*/ 1012032 w 1378744"/>
                  <a:gd name="connsiteY112" fmla="*/ 211931 h 1181100"/>
                  <a:gd name="connsiteX113" fmla="*/ 959644 w 1378744"/>
                  <a:gd name="connsiteY113" fmla="*/ 190500 h 1181100"/>
                  <a:gd name="connsiteX114" fmla="*/ 914400 w 1378744"/>
                  <a:gd name="connsiteY114" fmla="*/ 111918 h 1181100"/>
                  <a:gd name="connsiteX115" fmla="*/ 854869 w 1378744"/>
                  <a:gd name="connsiteY115" fmla="*/ 76200 h 1181100"/>
                  <a:gd name="connsiteX116" fmla="*/ 873919 w 1378744"/>
                  <a:gd name="connsiteY116" fmla="*/ 16668 h 1181100"/>
                  <a:gd name="connsiteX117" fmla="*/ 783432 w 1378744"/>
                  <a:gd name="connsiteY117" fmla="*/ 0 h 1181100"/>
                  <a:gd name="connsiteX0" fmla="*/ 783432 w 1378744"/>
                  <a:gd name="connsiteY0" fmla="*/ 0 h 1181100"/>
                  <a:gd name="connsiteX1" fmla="*/ 738188 w 1378744"/>
                  <a:gd name="connsiteY1" fmla="*/ 26193 h 1181100"/>
                  <a:gd name="connsiteX2" fmla="*/ 685800 w 1378744"/>
                  <a:gd name="connsiteY2" fmla="*/ 28575 h 1181100"/>
                  <a:gd name="connsiteX3" fmla="*/ 635794 w 1378744"/>
                  <a:gd name="connsiteY3" fmla="*/ 73818 h 1181100"/>
                  <a:gd name="connsiteX4" fmla="*/ 633413 w 1378744"/>
                  <a:gd name="connsiteY4" fmla="*/ 114300 h 1181100"/>
                  <a:gd name="connsiteX5" fmla="*/ 561975 w 1378744"/>
                  <a:gd name="connsiteY5" fmla="*/ 190500 h 1181100"/>
                  <a:gd name="connsiteX6" fmla="*/ 519113 w 1378744"/>
                  <a:gd name="connsiteY6" fmla="*/ 214312 h 1181100"/>
                  <a:gd name="connsiteX7" fmla="*/ 485775 w 1378744"/>
                  <a:gd name="connsiteY7" fmla="*/ 252412 h 1181100"/>
                  <a:gd name="connsiteX8" fmla="*/ 461963 w 1378744"/>
                  <a:gd name="connsiteY8" fmla="*/ 273843 h 1181100"/>
                  <a:gd name="connsiteX9" fmla="*/ 423863 w 1378744"/>
                  <a:gd name="connsiteY9" fmla="*/ 333375 h 1181100"/>
                  <a:gd name="connsiteX10" fmla="*/ 378619 w 1378744"/>
                  <a:gd name="connsiteY10" fmla="*/ 357187 h 1181100"/>
                  <a:gd name="connsiteX11" fmla="*/ 292894 w 1378744"/>
                  <a:gd name="connsiteY11" fmla="*/ 376237 h 1181100"/>
                  <a:gd name="connsiteX12" fmla="*/ 264319 w 1378744"/>
                  <a:gd name="connsiteY12" fmla="*/ 373856 h 1181100"/>
                  <a:gd name="connsiteX13" fmla="*/ 240507 w 1378744"/>
                  <a:gd name="connsiteY13" fmla="*/ 359568 h 1181100"/>
                  <a:gd name="connsiteX14" fmla="*/ 226219 w 1378744"/>
                  <a:gd name="connsiteY14" fmla="*/ 338137 h 1181100"/>
                  <a:gd name="connsiteX15" fmla="*/ 219075 w 1378744"/>
                  <a:gd name="connsiteY15" fmla="*/ 311943 h 1181100"/>
                  <a:gd name="connsiteX16" fmla="*/ 204788 w 1378744"/>
                  <a:gd name="connsiteY16" fmla="*/ 309562 h 1181100"/>
                  <a:gd name="connsiteX17" fmla="*/ 188119 w 1378744"/>
                  <a:gd name="connsiteY17" fmla="*/ 304800 h 1181100"/>
                  <a:gd name="connsiteX18" fmla="*/ 173832 w 1378744"/>
                  <a:gd name="connsiteY18" fmla="*/ 302418 h 1181100"/>
                  <a:gd name="connsiteX19" fmla="*/ 128588 w 1378744"/>
                  <a:gd name="connsiteY19" fmla="*/ 352425 h 1181100"/>
                  <a:gd name="connsiteX20" fmla="*/ 97632 w 1378744"/>
                  <a:gd name="connsiteY20" fmla="*/ 371475 h 1181100"/>
                  <a:gd name="connsiteX21" fmla="*/ 80963 w 1378744"/>
                  <a:gd name="connsiteY21" fmla="*/ 390525 h 1181100"/>
                  <a:gd name="connsiteX22" fmla="*/ 66675 w 1378744"/>
                  <a:gd name="connsiteY22" fmla="*/ 435768 h 1181100"/>
                  <a:gd name="connsiteX23" fmla="*/ 54769 w 1378744"/>
                  <a:gd name="connsiteY23" fmla="*/ 447675 h 1181100"/>
                  <a:gd name="connsiteX24" fmla="*/ 9525 w 1378744"/>
                  <a:gd name="connsiteY24" fmla="*/ 466725 h 1181100"/>
                  <a:gd name="connsiteX25" fmla="*/ 2382 w 1378744"/>
                  <a:gd name="connsiteY25" fmla="*/ 481012 h 1181100"/>
                  <a:gd name="connsiteX26" fmla="*/ 4763 w 1378744"/>
                  <a:gd name="connsiteY26" fmla="*/ 533400 h 1181100"/>
                  <a:gd name="connsiteX27" fmla="*/ 0 w 1378744"/>
                  <a:gd name="connsiteY27" fmla="*/ 545306 h 1181100"/>
                  <a:gd name="connsiteX28" fmla="*/ 73819 w 1378744"/>
                  <a:gd name="connsiteY28" fmla="*/ 588168 h 1181100"/>
                  <a:gd name="connsiteX29" fmla="*/ 90488 w 1378744"/>
                  <a:gd name="connsiteY29" fmla="*/ 628650 h 1181100"/>
                  <a:gd name="connsiteX30" fmla="*/ 83344 w 1378744"/>
                  <a:gd name="connsiteY30" fmla="*/ 654843 h 1181100"/>
                  <a:gd name="connsiteX31" fmla="*/ 73819 w 1378744"/>
                  <a:gd name="connsiteY31" fmla="*/ 697706 h 1181100"/>
                  <a:gd name="connsiteX32" fmla="*/ 78582 w 1378744"/>
                  <a:gd name="connsiteY32" fmla="*/ 726281 h 1181100"/>
                  <a:gd name="connsiteX33" fmla="*/ 95250 w 1378744"/>
                  <a:gd name="connsiteY33" fmla="*/ 738187 h 1181100"/>
                  <a:gd name="connsiteX34" fmla="*/ 116682 w 1378744"/>
                  <a:gd name="connsiteY34" fmla="*/ 735806 h 1181100"/>
                  <a:gd name="connsiteX35" fmla="*/ 123825 w 1378744"/>
                  <a:gd name="connsiteY35" fmla="*/ 762000 h 1181100"/>
                  <a:gd name="connsiteX36" fmla="*/ 126207 w 1378744"/>
                  <a:gd name="connsiteY36" fmla="*/ 783431 h 1181100"/>
                  <a:gd name="connsiteX37" fmla="*/ 152400 w 1378744"/>
                  <a:gd name="connsiteY37" fmla="*/ 812006 h 1181100"/>
                  <a:gd name="connsiteX38" fmla="*/ 164307 w 1378744"/>
                  <a:gd name="connsiteY38" fmla="*/ 823912 h 1181100"/>
                  <a:gd name="connsiteX39" fmla="*/ 173832 w 1378744"/>
                  <a:gd name="connsiteY39" fmla="*/ 850106 h 1181100"/>
                  <a:gd name="connsiteX40" fmla="*/ 169069 w 1378744"/>
                  <a:gd name="connsiteY40" fmla="*/ 878681 h 1181100"/>
                  <a:gd name="connsiteX41" fmla="*/ 176213 w 1378744"/>
                  <a:gd name="connsiteY41" fmla="*/ 897731 h 1181100"/>
                  <a:gd name="connsiteX42" fmla="*/ 200025 w 1378744"/>
                  <a:gd name="connsiteY42" fmla="*/ 916781 h 1181100"/>
                  <a:gd name="connsiteX43" fmla="*/ 226219 w 1378744"/>
                  <a:gd name="connsiteY43" fmla="*/ 916781 h 1181100"/>
                  <a:gd name="connsiteX44" fmla="*/ 300038 w 1378744"/>
                  <a:gd name="connsiteY44" fmla="*/ 921543 h 1181100"/>
                  <a:gd name="connsiteX45" fmla="*/ 395288 w 1378744"/>
                  <a:gd name="connsiteY45" fmla="*/ 952500 h 1181100"/>
                  <a:gd name="connsiteX46" fmla="*/ 414338 w 1378744"/>
                  <a:gd name="connsiteY46" fmla="*/ 988218 h 1181100"/>
                  <a:gd name="connsiteX47" fmla="*/ 435769 w 1378744"/>
                  <a:gd name="connsiteY47" fmla="*/ 992981 h 1181100"/>
                  <a:gd name="connsiteX48" fmla="*/ 464344 w 1378744"/>
                  <a:gd name="connsiteY48" fmla="*/ 995362 h 1181100"/>
                  <a:gd name="connsiteX49" fmla="*/ 507207 w 1378744"/>
                  <a:gd name="connsiteY49" fmla="*/ 1026318 h 1181100"/>
                  <a:gd name="connsiteX50" fmla="*/ 521494 w 1378744"/>
                  <a:gd name="connsiteY50" fmla="*/ 1069181 h 1181100"/>
                  <a:gd name="connsiteX51" fmla="*/ 545307 w 1378744"/>
                  <a:gd name="connsiteY51" fmla="*/ 1107281 h 1181100"/>
                  <a:gd name="connsiteX52" fmla="*/ 573882 w 1378744"/>
                  <a:gd name="connsiteY52" fmla="*/ 1121568 h 1181100"/>
                  <a:gd name="connsiteX53" fmla="*/ 585788 w 1378744"/>
                  <a:gd name="connsiteY53" fmla="*/ 1131093 h 1181100"/>
                  <a:gd name="connsiteX54" fmla="*/ 597694 w 1378744"/>
                  <a:gd name="connsiteY54" fmla="*/ 1181100 h 1181100"/>
                  <a:gd name="connsiteX55" fmla="*/ 626269 w 1378744"/>
                  <a:gd name="connsiteY55" fmla="*/ 1171574 h 1181100"/>
                  <a:gd name="connsiteX56" fmla="*/ 814388 w 1378744"/>
                  <a:gd name="connsiteY56" fmla="*/ 1138237 h 1181100"/>
                  <a:gd name="connsiteX57" fmla="*/ 828675 w 1378744"/>
                  <a:gd name="connsiteY57" fmla="*/ 1109662 h 1181100"/>
                  <a:gd name="connsiteX58" fmla="*/ 833438 w 1378744"/>
                  <a:gd name="connsiteY58" fmla="*/ 1085850 h 1181100"/>
                  <a:gd name="connsiteX59" fmla="*/ 797719 w 1378744"/>
                  <a:gd name="connsiteY59" fmla="*/ 1059656 h 1181100"/>
                  <a:gd name="connsiteX60" fmla="*/ 790575 w 1378744"/>
                  <a:gd name="connsiteY60" fmla="*/ 1038225 h 1181100"/>
                  <a:gd name="connsiteX61" fmla="*/ 790575 w 1378744"/>
                  <a:gd name="connsiteY61" fmla="*/ 1021556 h 1181100"/>
                  <a:gd name="connsiteX62" fmla="*/ 845344 w 1378744"/>
                  <a:gd name="connsiteY62" fmla="*/ 952500 h 1181100"/>
                  <a:gd name="connsiteX63" fmla="*/ 845344 w 1378744"/>
                  <a:gd name="connsiteY63" fmla="*/ 952500 h 1181100"/>
                  <a:gd name="connsiteX64" fmla="*/ 888207 w 1378744"/>
                  <a:gd name="connsiteY64" fmla="*/ 966787 h 1181100"/>
                  <a:gd name="connsiteX65" fmla="*/ 907257 w 1378744"/>
                  <a:gd name="connsiteY65" fmla="*/ 981075 h 1181100"/>
                  <a:gd name="connsiteX66" fmla="*/ 938213 w 1378744"/>
                  <a:gd name="connsiteY66" fmla="*/ 990600 h 1181100"/>
                  <a:gd name="connsiteX67" fmla="*/ 964407 w 1378744"/>
                  <a:gd name="connsiteY67" fmla="*/ 985837 h 1181100"/>
                  <a:gd name="connsiteX68" fmla="*/ 985838 w 1378744"/>
                  <a:gd name="connsiteY68" fmla="*/ 985837 h 1181100"/>
                  <a:gd name="connsiteX69" fmla="*/ 995363 w 1378744"/>
                  <a:gd name="connsiteY69" fmla="*/ 995362 h 1181100"/>
                  <a:gd name="connsiteX70" fmla="*/ 978694 w 1378744"/>
                  <a:gd name="connsiteY70" fmla="*/ 1012031 h 1181100"/>
                  <a:gd name="connsiteX71" fmla="*/ 969169 w 1378744"/>
                  <a:gd name="connsiteY71" fmla="*/ 1031081 h 1181100"/>
                  <a:gd name="connsiteX72" fmla="*/ 954882 w 1378744"/>
                  <a:gd name="connsiteY72" fmla="*/ 1054893 h 1181100"/>
                  <a:gd name="connsiteX73" fmla="*/ 950119 w 1378744"/>
                  <a:gd name="connsiteY73" fmla="*/ 1083468 h 1181100"/>
                  <a:gd name="connsiteX74" fmla="*/ 962025 w 1378744"/>
                  <a:gd name="connsiteY74" fmla="*/ 1107281 h 1181100"/>
                  <a:gd name="connsiteX75" fmla="*/ 983457 w 1378744"/>
                  <a:gd name="connsiteY75" fmla="*/ 1131093 h 1181100"/>
                  <a:gd name="connsiteX76" fmla="*/ 1002507 w 1378744"/>
                  <a:gd name="connsiteY76" fmla="*/ 1133475 h 1181100"/>
                  <a:gd name="connsiteX77" fmla="*/ 1028700 w 1378744"/>
                  <a:gd name="connsiteY77" fmla="*/ 1126331 h 1181100"/>
                  <a:gd name="connsiteX78" fmla="*/ 1031082 w 1378744"/>
                  <a:gd name="connsiteY78" fmla="*/ 1097756 h 1181100"/>
                  <a:gd name="connsiteX79" fmla="*/ 1057275 w 1378744"/>
                  <a:gd name="connsiteY79" fmla="*/ 1085850 h 1181100"/>
                  <a:gd name="connsiteX80" fmla="*/ 1076325 w 1378744"/>
                  <a:gd name="connsiteY80" fmla="*/ 1097756 h 1181100"/>
                  <a:gd name="connsiteX81" fmla="*/ 1100138 w 1378744"/>
                  <a:gd name="connsiteY81" fmla="*/ 1107281 h 1181100"/>
                  <a:gd name="connsiteX82" fmla="*/ 1123950 w 1378744"/>
                  <a:gd name="connsiteY82" fmla="*/ 1121568 h 1181100"/>
                  <a:gd name="connsiteX83" fmla="*/ 1143000 w 1378744"/>
                  <a:gd name="connsiteY83" fmla="*/ 1123950 h 1181100"/>
                  <a:gd name="connsiteX84" fmla="*/ 1157288 w 1378744"/>
                  <a:gd name="connsiteY84" fmla="*/ 1112043 h 1181100"/>
                  <a:gd name="connsiteX85" fmla="*/ 1159669 w 1378744"/>
                  <a:gd name="connsiteY85" fmla="*/ 1085850 h 1181100"/>
                  <a:gd name="connsiteX86" fmla="*/ 1166813 w 1378744"/>
                  <a:gd name="connsiteY86" fmla="*/ 1052512 h 1181100"/>
                  <a:gd name="connsiteX87" fmla="*/ 1197769 w 1378744"/>
                  <a:gd name="connsiteY87" fmla="*/ 1016793 h 1181100"/>
                  <a:gd name="connsiteX88" fmla="*/ 1195388 w 1378744"/>
                  <a:gd name="connsiteY88" fmla="*/ 954881 h 1181100"/>
                  <a:gd name="connsiteX89" fmla="*/ 1209675 w 1378744"/>
                  <a:gd name="connsiteY89" fmla="*/ 945356 h 1181100"/>
                  <a:gd name="connsiteX90" fmla="*/ 1235869 w 1378744"/>
                  <a:gd name="connsiteY90" fmla="*/ 945356 h 1181100"/>
                  <a:gd name="connsiteX91" fmla="*/ 1235869 w 1378744"/>
                  <a:gd name="connsiteY91" fmla="*/ 931068 h 1181100"/>
                  <a:gd name="connsiteX92" fmla="*/ 1212057 w 1378744"/>
                  <a:gd name="connsiteY92" fmla="*/ 912018 h 1181100"/>
                  <a:gd name="connsiteX93" fmla="*/ 1195388 w 1378744"/>
                  <a:gd name="connsiteY93" fmla="*/ 881062 h 1181100"/>
                  <a:gd name="connsiteX94" fmla="*/ 1157288 w 1378744"/>
                  <a:gd name="connsiteY94" fmla="*/ 871537 h 1181100"/>
                  <a:gd name="connsiteX95" fmla="*/ 1119188 w 1378744"/>
                  <a:gd name="connsiteY95" fmla="*/ 859631 h 1181100"/>
                  <a:gd name="connsiteX96" fmla="*/ 1119188 w 1378744"/>
                  <a:gd name="connsiteY96" fmla="*/ 831056 h 1181100"/>
                  <a:gd name="connsiteX97" fmla="*/ 1135857 w 1378744"/>
                  <a:gd name="connsiteY97" fmla="*/ 807243 h 1181100"/>
                  <a:gd name="connsiteX98" fmla="*/ 1197769 w 1378744"/>
                  <a:gd name="connsiteY98" fmla="*/ 759618 h 1181100"/>
                  <a:gd name="connsiteX99" fmla="*/ 1247775 w 1378744"/>
                  <a:gd name="connsiteY99" fmla="*/ 762000 h 1181100"/>
                  <a:gd name="connsiteX100" fmla="*/ 1278732 w 1378744"/>
                  <a:gd name="connsiteY100" fmla="*/ 762000 h 1181100"/>
                  <a:gd name="connsiteX101" fmla="*/ 1271588 w 1378744"/>
                  <a:gd name="connsiteY101" fmla="*/ 735806 h 1181100"/>
                  <a:gd name="connsiteX102" fmla="*/ 1378744 w 1378744"/>
                  <a:gd name="connsiteY102" fmla="*/ 678656 h 1181100"/>
                  <a:gd name="connsiteX103" fmla="*/ 1331119 w 1378744"/>
                  <a:gd name="connsiteY103" fmla="*/ 552450 h 1181100"/>
                  <a:gd name="connsiteX104" fmla="*/ 1278732 w 1378744"/>
                  <a:gd name="connsiteY104" fmla="*/ 514350 h 1181100"/>
                  <a:gd name="connsiteX105" fmla="*/ 1252538 w 1378744"/>
                  <a:gd name="connsiteY105" fmla="*/ 431006 h 1181100"/>
                  <a:gd name="connsiteX106" fmla="*/ 1181100 w 1378744"/>
                  <a:gd name="connsiteY106" fmla="*/ 431006 h 1181100"/>
                  <a:gd name="connsiteX107" fmla="*/ 1166813 w 1378744"/>
                  <a:gd name="connsiteY107" fmla="*/ 395287 h 1181100"/>
                  <a:gd name="connsiteX108" fmla="*/ 1107282 w 1378744"/>
                  <a:gd name="connsiteY108" fmla="*/ 421481 h 1181100"/>
                  <a:gd name="connsiteX109" fmla="*/ 1054894 w 1378744"/>
                  <a:gd name="connsiteY109" fmla="*/ 414337 h 1181100"/>
                  <a:gd name="connsiteX110" fmla="*/ 1028700 w 1378744"/>
                  <a:gd name="connsiteY110" fmla="*/ 371475 h 1181100"/>
                  <a:gd name="connsiteX111" fmla="*/ 1023938 w 1378744"/>
                  <a:gd name="connsiteY111" fmla="*/ 288131 h 1181100"/>
                  <a:gd name="connsiteX112" fmla="*/ 1012032 w 1378744"/>
                  <a:gd name="connsiteY112" fmla="*/ 269081 h 1181100"/>
                  <a:gd name="connsiteX113" fmla="*/ 1012032 w 1378744"/>
                  <a:gd name="connsiteY113" fmla="*/ 211931 h 1181100"/>
                  <a:gd name="connsiteX114" fmla="*/ 959644 w 1378744"/>
                  <a:gd name="connsiteY114" fmla="*/ 190500 h 1181100"/>
                  <a:gd name="connsiteX115" fmla="*/ 914400 w 1378744"/>
                  <a:gd name="connsiteY115" fmla="*/ 111918 h 1181100"/>
                  <a:gd name="connsiteX116" fmla="*/ 854869 w 1378744"/>
                  <a:gd name="connsiteY116" fmla="*/ 76200 h 1181100"/>
                  <a:gd name="connsiteX117" fmla="*/ 873919 w 1378744"/>
                  <a:gd name="connsiteY117" fmla="*/ 16668 h 1181100"/>
                  <a:gd name="connsiteX118" fmla="*/ 783432 w 1378744"/>
                  <a:gd name="connsiteY118" fmla="*/ 0 h 1181100"/>
                  <a:gd name="connsiteX0" fmla="*/ 783432 w 1378744"/>
                  <a:gd name="connsiteY0" fmla="*/ 0 h 1250156"/>
                  <a:gd name="connsiteX1" fmla="*/ 738188 w 1378744"/>
                  <a:gd name="connsiteY1" fmla="*/ 26193 h 1250156"/>
                  <a:gd name="connsiteX2" fmla="*/ 685800 w 1378744"/>
                  <a:gd name="connsiteY2" fmla="*/ 28575 h 1250156"/>
                  <a:gd name="connsiteX3" fmla="*/ 635794 w 1378744"/>
                  <a:gd name="connsiteY3" fmla="*/ 73818 h 1250156"/>
                  <a:gd name="connsiteX4" fmla="*/ 633413 w 1378744"/>
                  <a:gd name="connsiteY4" fmla="*/ 114300 h 1250156"/>
                  <a:gd name="connsiteX5" fmla="*/ 561975 w 1378744"/>
                  <a:gd name="connsiteY5" fmla="*/ 190500 h 1250156"/>
                  <a:gd name="connsiteX6" fmla="*/ 519113 w 1378744"/>
                  <a:gd name="connsiteY6" fmla="*/ 214312 h 1250156"/>
                  <a:gd name="connsiteX7" fmla="*/ 485775 w 1378744"/>
                  <a:gd name="connsiteY7" fmla="*/ 252412 h 1250156"/>
                  <a:gd name="connsiteX8" fmla="*/ 461963 w 1378744"/>
                  <a:gd name="connsiteY8" fmla="*/ 273843 h 1250156"/>
                  <a:gd name="connsiteX9" fmla="*/ 423863 w 1378744"/>
                  <a:gd name="connsiteY9" fmla="*/ 333375 h 1250156"/>
                  <a:gd name="connsiteX10" fmla="*/ 378619 w 1378744"/>
                  <a:gd name="connsiteY10" fmla="*/ 357187 h 1250156"/>
                  <a:gd name="connsiteX11" fmla="*/ 292894 w 1378744"/>
                  <a:gd name="connsiteY11" fmla="*/ 376237 h 1250156"/>
                  <a:gd name="connsiteX12" fmla="*/ 264319 w 1378744"/>
                  <a:gd name="connsiteY12" fmla="*/ 373856 h 1250156"/>
                  <a:gd name="connsiteX13" fmla="*/ 240507 w 1378744"/>
                  <a:gd name="connsiteY13" fmla="*/ 359568 h 1250156"/>
                  <a:gd name="connsiteX14" fmla="*/ 226219 w 1378744"/>
                  <a:gd name="connsiteY14" fmla="*/ 338137 h 1250156"/>
                  <a:gd name="connsiteX15" fmla="*/ 219075 w 1378744"/>
                  <a:gd name="connsiteY15" fmla="*/ 311943 h 1250156"/>
                  <a:gd name="connsiteX16" fmla="*/ 204788 w 1378744"/>
                  <a:gd name="connsiteY16" fmla="*/ 309562 h 1250156"/>
                  <a:gd name="connsiteX17" fmla="*/ 188119 w 1378744"/>
                  <a:gd name="connsiteY17" fmla="*/ 304800 h 1250156"/>
                  <a:gd name="connsiteX18" fmla="*/ 173832 w 1378744"/>
                  <a:gd name="connsiteY18" fmla="*/ 302418 h 1250156"/>
                  <a:gd name="connsiteX19" fmla="*/ 128588 w 1378744"/>
                  <a:gd name="connsiteY19" fmla="*/ 352425 h 1250156"/>
                  <a:gd name="connsiteX20" fmla="*/ 97632 w 1378744"/>
                  <a:gd name="connsiteY20" fmla="*/ 371475 h 1250156"/>
                  <a:gd name="connsiteX21" fmla="*/ 80963 w 1378744"/>
                  <a:gd name="connsiteY21" fmla="*/ 390525 h 1250156"/>
                  <a:gd name="connsiteX22" fmla="*/ 66675 w 1378744"/>
                  <a:gd name="connsiteY22" fmla="*/ 435768 h 1250156"/>
                  <a:gd name="connsiteX23" fmla="*/ 54769 w 1378744"/>
                  <a:gd name="connsiteY23" fmla="*/ 447675 h 1250156"/>
                  <a:gd name="connsiteX24" fmla="*/ 9525 w 1378744"/>
                  <a:gd name="connsiteY24" fmla="*/ 466725 h 1250156"/>
                  <a:gd name="connsiteX25" fmla="*/ 2382 w 1378744"/>
                  <a:gd name="connsiteY25" fmla="*/ 481012 h 1250156"/>
                  <a:gd name="connsiteX26" fmla="*/ 4763 w 1378744"/>
                  <a:gd name="connsiteY26" fmla="*/ 533400 h 1250156"/>
                  <a:gd name="connsiteX27" fmla="*/ 0 w 1378744"/>
                  <a:gd name="connsiteY27" fmla="*/ 545306 h 1250156"/>
                  <a:gd name="connsiteX28" fmla="*/ 73819 w 1378744"/>
                  <a:gd name="connsiteY28" fmla="*/ 588168 h 1250156"/>
                  <a:gd name="connsiteX29" fmla="*/ 90488 w 1378744"/>
                  <a:gd name="connsiteY29" fmla="*/ 628650 h 1250156"/>
                  <a:gd name="connsiteX30" fmla="*/ 83344 w 1378744"/>
                  <a:gd name="connsiteY30" fmla="*/ 654843 h 1250156"/>
                  <a:gd name="connsiteX31" fmla="*/ 73819 w 1378744"/>
                  <a:gd name="connsiteY31" fmla="*/ 697706 h 1250156"/>
                  <a:gd name="connsiteX32" fmla="*/ 78582 w 1378744"/>
                  <a:gd name="connsiteY32" fmla="*/ 726281 h 1250156"/>
                  <a:gd name="connsiteX33" fmla="*/ 95250 w 1378744"/>
                  <a:gd name="connsiteY33" fmla="*/ 738187 h 1250156"/>
                  <a:gd name="connsiteX34" fmla="*/ 116682 w 1378744"/>
                  <a:gd name="connsiteY34" fmla="*/ 735806 h 1250156"/>
                  <a:gd name="connsiteX35" fmla="*/ 123825 w 1378744"/>
                  <a:gd name="connsiteY35" fmla="*/ 762000 h 1250156"/>
                  <a:gd name="connsiteX36" fmla="*/ 126207 w 1378744"/>
                  <a:gd name="connsiteY36" fmla="*/ 783431 h 1250156"/>
                  <a:gd name="connsiteX37" fmla="*/ 152400 w 1378744"/>
                  <a:gd name="connsiteY37" fmla="*/ 812006 h 1250156"/>
                  <a:gd name="connsiteX38" fmla="*/ 164307 w 1378744"/>
                  <a:gd name="connsiteY38" fmla="*/ 823912 h 1250156"/>
                  <a:gd name="connsiteX39" fmla="*/ 173832 w 1378744"/>
                  <a:gd name="connsiteY39" fmla="*/ 850106 h 1250156"/>
                  <a:gd name="connsiteX40" fmla="*/ 169069 w 1378744"/>
                  <a:gd name="connsiteY40" fmla="*/ 878681 h 1250156"/>
                  <a:gd name="connsiteX41" fmla="*/ 176213 w 1378744"/>
                  <a:gd name="connsiteY41" fmla="*/ 897731 h 1250156"/>
                  <a:gd name="connsiteX42" fmla="*/ 200025 w 1378744"/>
                  <a:gd name="connsiteY42" fmla="*/ 916781 h 1250156"/>
                  <a:gd name="connsiteX43" fmla="*/ 226219 w 1378744"/>
                  <a:gd name="connsiteY43" fmla="*/ 916781 h 1250156"/>
                  <a:gd name="connsiteX44" fmla="*/ 300038 w 1378744"/>
                  <a:gd name="connsiteY44" fmla="*/ 921543 h 1250156"/>
                  <a:gd name="connsiteX45" fmla="*/ 395288 w 1378744"/>
                  <a:gd name="connsiteY45" fmla="*/ 952500 h 1250156"/>
                  <a:gd name="connsiteX46" fmla="*/ 414338 w 1378744"/>
                  <a:gd name="connsiteY46" fmla="*/ 988218 h 1250156"/>
                  <a:gd name="connsiteX47" fmla="*/ 435769 w 1378744"/>
                  <a:gd name="connsiteY47" fmla="*/ 992981 h 1250156"/>
                  <a:gd name="connsiteX48" fmla="*/ 464344 w 1378744"/>
                  <a:gd name="connsiteY48" fmla="*/ 995362 h 1250156"/>
                  <a:gd name="connsiteX49" fmla="*/ 507207 w 1378744"/>
                  <a:gd name="connsiteY49" fmla="*/ 1026318 h 1250156"/>
                  <a:gd name="connsiteX50" fmla="*/ 521494 w 1378744"/>
                  <a:gd name="connsiteY50" fmla="*/ 1069181 h 1250156"/>
                  <a:gd name="connsiteX51" fmla="*/ 545307 w 1378744"/>
                  <a:gd name="connsiteY51" fmla="*/ 1107281 h 1250156"/>
                  <a:gd name="connsiteX52" fmla="*/ 573882 w 1378744"/>
                  <a:gd name="connsiteY52" fmla="*/ 1121568 h 1250156"/>
                  <a:gd name="connsiteX53" fmla="*/ 585788 w 1378744"/>
                  <a:gd name="connsiteY53" fmla="*/ 1131093 h 1250156"/>
                  <a:gd name="connsiteX54" fmla="*/ 597694 w 1378744"/>
                  <a:gd name="connsiteY54" fmla="*/ 1181100 h 1250156"/>
                  <a:gd name="connsiteX55" fmla="*/ 633413 w 1378744"/>
                  <a:gd name="connsiteY55" fmla="*/ 1250156 h 1250156"/>
                  <a:gd name="connsiteX56" fmla="*/ 814388 w 1378744"/>
                  <a:gd name="connsiteY56" fmla="*/ 1138237 h 1250156"/>
                  <a:gd name="connsiteX57" fmla="*/ 828675 w 1378744"/>
                  <a:gd name="connsiteY57" fmla="*/ 1109662 h 1250156"/>
                  <a:gd name="connsiteX58" fmla="*/ 833438 w 1378744"/>
                  <a:gd name="connsiteY58" fmla="*/ 1085850 h 1250156"/>
                  <a:gd name="connsiteX59" fmla="*/ 797719 w 1378744"/>
                  <a:gd name="connsiteY59" fmla="*/ 1059656 h 1250156"/>
                  <a:gd name="connsiteX60" fmla="*/ 790575 w 1378744"/>
                  <a:gd name="connsiteY60" fmla="*/ 1038225 h 1250156"/>
                  <a:gd name="connsiteX61" fmla="*/ 790575 w 1378744"/>
                  <a:gd name="connsiteY61" fmla="*/ 1021556 h 1250156"/>
                  <a:gd name="connsiteX62" fmla="*/ 845344 w 1378744"/>
                  <a:gd name="connsiteY62" fmla="*/ 952500 h 1250156"/>
                  <a:gd name="connsiteX63" fmla="*/ 845344 w 1378744"/>
                  <a:gd name="connsiteY63" fmla="*/ 952500 h 1250156"/>
                  <a:gd name="connsiteX64" fmla="*/ 888207 w 1378744"/>
                  <a:gd name="connsiteY64" fmla="*/ 966787 h 1250156"/>
                  <a:gd name="connsiteX65" fmla="*/ 907257 w 1378744"/>
                  <a:gd name="connsiteY65" fmla="*/ 981075 h 1250156"/>
                  <a:gd name="connsiteX66" fmla="*/ 938213 w 1378744"/>
                  <a:gd name="connsiteY66" fmla="*/ 990600 h 1250156"/>
                  <a:gd name="connsiteX67" fmla="*/ 964407 w 1378744"/>
                  <a:gd name="connsiteY67" fmla="*/ 985837 h 1250156"/>
                  <a:gd name="connsiteX68" fmla="*/ 985838 w 1378744"/>
                  <a:gd name="connsiteY68" fmla="*/ 985837 h 1250156"/>
                  <a:gd name="connsiteX69" fmla="*/ 995363 w 1378744"/>
                  <a:gd name="connsiteY69" fmla="*/ 995362 h 1250156"/>
                  <a:gd name="connsiteX70" fmla="*/ 978694 w 1378744"/>
                  <a:gd name="connsiteY70" fmla="*/ 1012031 h 1250156"/>
                  <a:gd name="connsiteX71" fmla="*/ 969169 w 1378744"/>
                  <a:gd name="connsiteY71" fmla="*/ 1031081 h 1250156"/>
                  <a:gd name="connsiteX72" fmla="*/ 954882 w 1378744"/>
                  <a:gd name="connsiteY72" fmla="*/ 1054893 h 1250156"/>
                  <a:gd name="connsiteX73" fmla="*/ 950119 w 1378744"/>
                  <a:gd name="connsiteY73" fmla="*/ 1083468 h 1250156"/>
                  <a:gd name="connsiteX74" fmla="*/ 962025 w 1378744"/>
                  <a:gd name="connsiteY74" fmla="*/ 1107281 h 1250156"/>
                  <a:gd name="connsiteX75" fmla="*/ 983457 w 1378744"/>
                  <a:gd name="connsiteY75" fmla="*/ 1131093 h 1250156"/>
                  <a:gd name="connsiteX76" fmla="*/ 1002507 w 1378744"/>
                  <a:gd name="connsiteY76" fmla="*/ 1133475 h 1250156"/>
                  <a:gd name="connsiteX77" fmla="*/ 1028700 w 1378744"/>
                  <a:gd name="connsiteY77" fmla="*/ 1126331 h 1250156"/>
                  <a:gd name="connsiteX78" fmla="*/ 1031082 w 1378744"/>
                  <a:gd name="connsiteY78" fmla="*/ 1097756 h 1250156"/>
                  <a:gd name="connsiteX79" fmla="*/ 1057275 w 1378744"/>
                  <a:gd name="connsiteY79" fmla="*/ 1085850 h 1250156"/>
                  <a:gd name="connsiteX80" fmla="*/ 1076325 w 1378744"/>
                  <a:gd name="connsiteY80" fmla="*/ 1097756 h 1250156"/>
                  <a:gd name="connsiteX81" fmla="*/ 1100138 w 1378744"/>
                  <a:gd name="connsiteY81" fmla="*/ 1107281 h 1250156"/>
                  <a:gd name="connsiteX82" fmla="*/ 1123950 w 1378744"/>
                  <a:gd name="connsiteY82" fmla="*/ 1121568 h 1250156"/>
                  <a:gd name="connsiteX83" fmla="*/ 1143000 w 1378744"/>
                  <a:gd name="connsiteY83" fmla="*/ 1123950 h 1250156"/>
                  <a:gd name="connsiteX84" fmla="*/ 1157288 w 1378744"/>
                  <a:gd name="connsiteY84" fmla="*/ 1112043 h 1250156"/>
                  <a:gd name="connsiteX85" fmla="*/ 1159669 w 1378744"/>
                  <a:gd name="connsiteY85" fmla="*/ 1085850 h 1250156"/>
                  <a:gd name="connsiteX86" fmla="*/ 1166813 w 1378744"/>
                  <a:gd name="connsiteY86" fmla="*/ 1052512 h 1250156"/>
                  <a:gd name="connsiteX87" fmla="*/ 1197769 w 1378744"/>
                  <a:gd name="connsiteY87" fmla="*/ 1016793 h 1250156"/>
                  <a:gd name="connsiteX88" fmla="*/ 1195388 w 1378744"/>
                  <a:gd name="connsiteY88" fmla="*/ 954881 h 1250156"/>
                  <a:gd name="connsiteX89" fmla="*/ 1209675 w 1378744"/>
                  <a:gd name="connsiteY89" fmla="*/ 945356 h 1250156"/>
                  <a:gd name="connsiteX90" fmla="*/ 1235869 w 1378744"/>
                  <a:gd name="connsiteY90" fmla="*/ 945356 h 1250156"/>
                  <a:gd name="connsiteX91" fmla="*/ 1235869 w 1378744"/>
                  <a:gd name="connsiteY91" fmla="*/ 931068 h 1250156"/>
                  <a:gd name="connsiteX92" fmla="*/ 1212057 w 1378744"/>
                  <a:gd name="connsiteY92" fmla="*/ 912018 h 1250156"/>
                  <a:gd name="connsiteX93" fmla="*/ 1195388 w 1378744"/>
                  <a:gd name="connsiteY93" fmla="*/ 881062 h 1250156"/>
                  <a:gd name="connsiteX94" fmla="*/ 1157288 w 1378744"/>
                  <a:gd name="connsiteY94" fmla="*/ 871537 h 1250156"/>
                  <a:gd name="connsiteX95" fmla="*/ 1119188 w 1378744"/>
                  <a:gd name="connsiteY95" fmla="*/ 859631 h 1250156"/>
                  <a:gd name="connsiteX96" fmla="*/ 1119188 w 1378744"/>
                  <a:gd name="connsiteY96" fmla="*/ 831056 h 1250156"/>
                  <a:gd name="connsiteX97" fmla="*/ 1135857 w 1378744"/>
                  <a:gd name="connsiteY97" fmla="*/ 807243 h 1250156"/>
                  <a:gd name="connsiteX98" fmla="*/ 1197769 w 1378744"/>
                  <a:gd name="connsiteY98" fmla="*/ 759618 h 1250156"/>
                  <a:gd name="connsiteX99" fmla="*/ 1247775 w 1378744"/>
                  <a:gd name="connsiteY99" fmla="*/ 762000 h 1250156"/>
                  <a:gd name="connsiteX100" fmla="*/ 1278732 w 1378744"/>
                  <a:gd name="connsiteY100" fmla="*/ 762000 h 1250156"/>
                  <a:gd name="connsiteX101" fmla="*/ 1271588 w 1378744"/>
                  <a:gd name="connsiteY101" fmla="*/ 735806 h 1250156"/>
                  <a:gd name="connsiteX102" fmla="*/ 1378744 w 1378744"/>
                  <a:gd name="connsiteY102" fmla="*/ 678656 h 1250156"/>
                  <a:gd name="connsiteX103" fmla="*/ 1331119 w 1378744"/>
                  <a:gd name="connsiteY103" fmla="*/ 552450 h 1250156"/>
                  <a:gd name="connsiteX104" fmla="*/ 1278732 w 1378744"/>
                  <a:gd name="connsiteY104" fmla="*/ 514350 h 1250156"/>
                  <a:gd name="connsiteX105" fmla="*/ 1252538 w 1378744"/>
                  <a:gd name="connsiteY105" fmla="*/ 431006 h 1250156"/>
                  <a:gd name="connsiteX106" fmla="*/ 1181100 w 1378744"/>
                  <a:gd name="connsiteY106" fmla="*/ 431006 h 1250156"/>
                  <a:gd name="connsiteX107" fmla="*/ 1166813 w 1378744"/>
                  <a:gd name="connsiteY107" fmla="*/ 395287 h 1250156"/>
                  <a:gd name="connsiteX108" fmla="*/ 1107282 w 1378744"/>
                  <a:gd name="connsiteY108" fmla="*/ 421481 h 1250156"/>
                  <a:gd name="connsiteX109" fmla="*/ 1054894 w 1378744"/>
                  <a:gd name="connsiteY109" fmla="*/ 414337 h 1250156"/>
                  <a:gd name="connsiteX110" fmla="*/ 1028700 w 1378744"/>
                  <a:gd name="connsiteY110" fmla="*/ 371475 h 1250156"/>
                  <a:gd name="connsiteX111" fmla="*/ 1023938 w 1378744"/>
                  <a:gd name="connsiteY111" fmla="*/ 288131 h 1250156"/>
                  <a:gd name="connsiteX112" fmla="*/ 1012032 w 1378744"/>
                  <a:gd name="connsiteY112" fmla="*/ 269081 h 1250156"/>
                  <a:gd name="connsiteX113" fmla="*/ 1012032 w 1378744"/>
                  <a:gd name="connsiteY113" fmla="*/ 211931 h 1250156"/>
                  <a:gd name="connsiteX114" fmla="*/ 959644 w 1378744"/>
                  <a:gd name="connsiteY114" fmla="*/ 190500 h 1250156"/>
                  <a:gd name="connsiteX115" fmla="*/ 914400 w 1378744"/>
                  <a:gd name="connsiteY115" fmla="*/ 111918 h 1250156"/>
                  <a:gd name="connsiteX116" fmla="*/ 854869 w 1378744"/>
                  <a:gd name="connsiteY116" fmla="*/ 76200 h 1250156"/>
                  <a:gd name="connsiteX117" fmla="*/ 873919 w 1378744"/>
                  <a:gd name="connsiteY117" fmla="*/ 16668 h 1250156"/>
                  <a:gd name="connsiteX118" fmla="*/ 783432 w 1378744"/>
                  <a:gd name="connsiteY118" fmla="*/ 0 h 1250156"/>
                  <a:gd name="connsiteX0" fmla="*/ 783432 w 1378744"/>
                  <a:gd name="connsiteY0" fmla="*/ 0 h 1250156"/>
                  <a:gd name="connsiteX1" fmla="*/ 738188 w 1378744"/>
                  <a:gd name="connsiteY1" fmla="*/ 26193 h 1250156"/>
                  <a:gd name="connsiteX2" fmla="*/ 685800 w 1378744"/>
                  <a:gd name="connsiteY2" fmla="*/ 28575 h 1250156"/>
                  <a:gd name="connsiteX3" fmla="*/ 635794 w 1378744"/>
                  <a:gd name="connsiteY3" fmla="*/ 73818 h 1250156"/>
                  <a:gd name="connsiteX4" fmla="*/ 633413 w 1378744"/>
                  <a:gd name="connsiteY4" fmla="*/ 114300 h 1250156"/>
                  <a:gd name="connsiteX5" fmla="*/ 561975 w 1378744"/>
                  <a:gd name="connsiteY5" fmla="*/ 190500 h 1250156"/>
                  <a:gd name="connsiteX6" fmla="*/ 519113 w 1378744"/>
                  <a:gd name="connsiteY6" fmla="*/ 214312 h 1250156"/>
                  <a:gd name="connsiteX7" fmla="*/ 485775 w 1378744"/>
                  <a:gd name="connsiteY7" fmla="*/ 252412 h 1250156"/>
                  <a:gd name="connsiteX8" fmla="*/ 461963 w 1378744"/>
                  <a:gd name="connsiteY8" fmla="*/ 273843 h 1250156"/>
                  <a:gd name="connsiteX9" fmla="*/ 423863 w 1378744"/>
                  <a:gd name="connsiteY9" fmla="*/ 333375 h 1250156"/>
                  <a:gd name="connsiteX10" fmla="*/ 378619 w 1378744"/>
                  <a:gd name="connsiteY10" fmla="*/ 357187 h 1250156"/>
                  <a:gd name="connsiteX11" fmla="*/ 292894 w 1378744"/>
                  <a:gd name="connsiteY11" fmla="*/ 376237 h 1250156"/>
                  <a:gd name="connsiteX12" fmla="*/ 264319 w 1378744"/>
                  <a:gd name="connsiteY12" fmla="*/ 373856 h 1250156"/>
                  <a:gd name="connsiteX13" fmla="*/ 240507 w 1378744"/>
                  <a:gd name="connsiteY13" fmla="*/ 359568 h 1250156"/>
                  <a:gd name="connsiteX14" fmla="*/ 226219 w 1378744"/>
                  <a:gd name="connsiteY14" fmla="*/ 338137 h 1250156"/>
                  <a:gd name="connsiteX15" fmla="*/ 219075 w 1378744"/>
                  <a:gd name="connsiteY15" fmla="*/ 311943 h 1250156"/>
                  <a:gd name="connsiteX16" fmla="*/ 204788 w 1378744"/>
                  <a:gd name="connsiteY16" fmla="*/ 309562 h 1250156"/>
                  <a:gd name="connsiteX17" fmla="*/ 188119 w 1378744"/>
                  <a:gd name="connsiteY17" fmla="*/ 304800 h 1250156"/>
                  <a:gd name="connsiteX18" fmla="*/ 173832 w 1378744"/>
                  <a:gd name="connsiteY18" fmla="*/ 302418 h 1250156"/>
                  <a:gd name="connsiteX19" fmla="*/ 128588 w 1378744"/>
                  <a:gd name="connsiteY19" fmla="*/ 352425 h 1250156"/>
                  <a:gd name="connsiteX20" fmla="*/ 97632 w 1378744"/>
                  <a:gd name="connsiteY20" fmla="*/ 371475 h 1250156"/>
                  <a:gd name="connsiteX21" fmla="*/ 80963 w 1378744"/>
                  <a:gd name="connsiteY21" fmla="*/ 390525 h 1250156"/>
                  <a:gd name="connsiteX22" fmla="*/ 66675 w 1378744"/>
                  <a:gd name="connsiteY22" fmla="*/ 435768 h 1250156"/>
                  <a:gd name="connsiteX23" fmla="*/ 54769 w 1378744"/>
                  <a:gd name="connsiteY23" fmla="*/ 447675 h 1250156"/>
                  <a:gd name="connsiteX24" fmla="*/ 9525 w 1378744"/>
                  <a:gd name="connsiteY24" fmla="*/ 466725 h 1250156"/>
                  <a:gd name="connsiteX25" fmla="*/ 2382 w 1378744"/>
                  <a:gd name="connsiteY25" fmla="*/ 481012 h 1250156"/>
                  <a:gd name="connsiteX26" fmla="*/ 4763 w 1378744"/>
                  <a:gd name="connsiteY26" fmla="*/ 533400 h 1250156"/>
                  <a:gd name="connsiteX27" fmla="*/ 0 w 1378744"/>
                  <a:gd name="connsiteY27" fmla="*/ 545306 h 1250156"/>
                  <a:gd name="connsiteX28" fmla="*/ 73819 w 1378744"/>
                  <a:gd name="connsiteY28" fmla="*/ 588168 h 1250156"/>
                  <a:gd name="connsiteX29" fmla="*/ 90488 w 1378744"/>
                  <a:gd name="connsiteY29" fmla="*/ 628650 h 1250156"/>
                  <a:gd name="connsiteX30" fmla="*/ 83344 w 1378744"/>
                  <a:gd name="connsiteY30" fmla="*/ 654843 h 1250156"/>
                  <a:gd name="connsiteX31" fmla="*/ 73819 w 1378744"/>
                  <a:gd name="connsiteY31" fmla="*/ 697706 h 1250156"/>
                  <a:gd name="connsiteX32" fmla="*/ 78582 w 1378744"/>
                  <a:gd name="connsiteY32" fmla="*/ 726281 h 1250156"/>
                  <a:gd name="connsiteX33" fmla="*/ 95250 w 1378744"/>
                  <a:gd name="connsiteY33" fmla="*/ 738187 h 1250156"/>
                  <a:gd name="connsiteX34" fmla="*/ 116682 w 1378744"/>
                  <a:gd name="connsiteY34" fmla="*/ 735806 h 1250156"/>
                  <a:gd name="connsiteX35" fmla="*/ 123825 w 1378744"/>
                  <a:gd name="connsiteY35" fmla="*/ 762000 h 1250156"/>
                  <a:gd name="connsiteX36" fmla="*/ 126207 w 1378744"/>
                  <a:gd name="connsiteY36" fmla="*/ 783431 h 1250156"/>
                  <a:gd name="connsiteX37" fmla="*/ 152400 w 1378744"/>
                  <a:gd name="connsiteY37" fmla="*/ 812006 h 1250156"/>
                  <a:gd name="connsiteX38" fmla="*/ 164307 w 1378744"/>
                  <a:gd name="connsiteY38" fmla="*/ 823912 h 1250156"/>
                  <a:gd name="connsiteX39" fmla="*/ 173832 w 1378744"/>
                  <a:gd name="connsiteY39" fmla="*/ 850106 h 1250156"/>
                  <a:gd name="connsiteX40" fmla="*/ 169069 w 1378744"/>
                  <a:gd name="connsiteY40" fmla="*/ 878681 h 1250156"/>
                  <a:gd name="connsiteX41" fmla="*/ 176213 w 1378744"/>
                  <a:gd name="connsiteY41" fmla="*/ 897731 h 1250156"/>
                  <a:gd name="connsiteX42" fmla="*/ 200025 w 1378744"/>
                  <a:gd name="connsiteY42" fmla="*/ 916781 h 1250156"/>
                  <a:gd name="connsiteX43" fmla="*/ 226219 w 1378744"/>
                  <a:gd name="connsiteY43" fmla="*/ 916781 h 1250156"/>
                  <a:gd name="connsiteX44" fmla="*/ 300038 w 1378744"/>
                  <a:gd name="connsiteY44" fmla="*/ 921543 h 1250156"/>
                  <a:gd name="connsiteX45" fmla="*/ 395288 w 1378744"/>
                  <a:gd name="connsiteY45" fmla="*/ 952500 h 1250156"/>
                  <a:gd name="connsiteX46" fmla="*/ 414338 w 1378744"/>
                  <a:gd name="connsiteY46" fmla="*/ 988218 h 1250156"/>
                  <a:gd name="connsiteX47" fmla="*/ 435769 w 1378744"/>
                  <a:gd name="connsiteY47" fmla="*/ 992981 h 1250156"/>
                  <a:gd name="connsiteX48" fmla="*/ 464344 w 1378744"/>
                  <a:gd name="connsiteY48" fmla="*/ 995362 h 1250156"/>
                  <a:gd name="connsiteX49" fmla="*/ 507207 w 1378744"/>
                  <a:gd name="connsiteY49" fmla="*/ 1026318 h 1250156"/>
                  <a:gd name="connsiteX50" fmla="*/ 521494 w 1378744"/>
                  <a:gd name="connsiteY50" fmla="*/ 1069181 h 1250156"/>
                  <a:gd name="connsiteX51" fmla="*/ 545307 w 1378744"/>
                  <a:gd name="connsiteY51" fmla="*/ 1107281 h 1250156"/>
                  <a:gd name="connsiteX52" fmla="*/ 573882 w 1378744"/>
                  <a:gd name="connsiteY52" fmla="*/ 1121568 h 1250156"/>
                  <a:gd name="connsiteX53" fmla="*/ 585788 w 1378744"/>
                  <a:gd name="connsiteY53" fmla="*/ 1131093 h 1250156"/>
                  <a:gd name="connsiteX54" fmla="*/ 597694 w 1378744"/>
                  <a:gd name="connsiteY54" fmla="*/ 1181100 h 1250156"/>
                  <a:gd name="connsiteX55" fmla="*/ 633413 w 1378744"/>
                  <a:gd name="connsiteY55" fmla="*/ 1250156 h 1250156"/>
                  <a:gd name="connsiteX56" fmla="*/ 681038 w 1378744"/>
                  <a:gd name="connsiteY56" fmla="*/ 1216817 h 1250156"/>
                  <a:gd name="connsiteX57" fmla="*/ 814388 w 1378744"/>
                  <a:gd name="connsiteY57" fmla="*/ 1138237 h 1250156"/>
                  <a:gd name="connsiteX58" fmla="*/ 828675 w 1378744"/>
                  <a:gd name="connsiteY58" fmla="*/ 1109662 h 1250156"/>
                  <a:gd name="connsiteX59" fmla="*/ 833438 w 1378744"/>
                  <a:gd name="connsiteY59" fmla="*/ 1085850 h 1250156"/>
                  <a:gd name="connsiteX60" fmla="*/ 797719 w 1378744"/>
                  <a:gd name="connsiteY60" fmla="*/ 1059656 h 1250156"/>
                  <a:gd name="connsiteX61" fmla="*/ 790575 w 1378744"/>
                  <a:gd name="connsiteY61" fmla="*/ 1038225 h 1250156"/>
                  <a:gd name="connsiteX62" fmla="*/ 790575 w 1378744"/>
                  <a:gd name="connsiteY62" fmla="*/ 1021556 h 1250156"/>
                  <a:gd name="connsiteX63" fmla="*/ 845344 w 1378744"/>
                  <a:gd name="connsiteY63" fmla="*/ 952500 h 1250156"/>
                  <a:gd name="connsiteX64" fmla="*/ 845344 w 1378744"/>
                  <a:gd name="connsiteY64" fmla="*/ 952500 h 1250156"/>
                  <a:gd name="connsiteX65" fmla="*/ 888207 w 1378744"/>
                  <a:gd name="connsiteY65" fmla="*/ 966787 h 1250156"/>
                  <a:gd name="connsiteX66" fmla="*/ 907257 w 1378744"/>
                  <a:gd name="connsiteY66" fmla="*/ 981075 h 1250156"/>
                  <a:gd name="connsiteX67" fmla="*/ 938213 w 1378744"/>
                  <a:gd name="connsiteY67" fmla="*/ 990600 h 1250156"/>
                  <a:gd name="connsiteX68" fmla="*/ 964407 w 1378744"/>
                  <a:gd name="connsiteY68" fmla="*/ 985837 h 1250156"/>
                  <a:gd name="connsiteX69" fmla="*/ 985838 w 1378744"/>
                  <a:gd name="connsiteY69" fmla="*/ 985837 h 1250156"/>
                  <a:gd name="connsiteX70" fmla="*/ 995363 w 1378744"/>
                  <a:gd name="connsiteY70" fmla="*/ 995362 h 1250156"/>
                  <a:gd name="connsiteX71" fmla="*/ 978694 w 1378744"/>
                  <a:gd name="connsiteY71" fmla="*/ 1012031 h 1250156"/>
                  <a:gd name="connsiteX72" fmla="*/ 969169 w 1378744"/>
                  <a:gd name="connsiteY72" fmla="*/ 1031081 h 1250156"/>
                  <a:gd name="connsiteX73" fmla="*/ 954882 w 1378744"/>
                  <a:gd name="connsiteY73" fmla="*/ 1054893 h 1250156"/>
                  <a:gd name="connsiteX74" fmla="*/ 950119 w 1378744"/>
                  <a:gd name="connsiteY74" fmla="*/ 1083468 h 1250156"/>
                  <a:gd name="connsiteX75" fmla="*/ 962025 w 1378744"/>
                  <a:gd name="connsiteY75" fmla="*/ 1107281 h 1250156"/>
                  <a:gd name="connsiteX76" fmla="*/ 983457 w 1378744"/>
                  <a:gd name="connsiteY76" fmla="*/ 1131093 h 1250156"/>
                  <a:gd name="connsiteX77" fmla="*/ 1002507 w 1378744"/>
                  <a:gd name="connsiteY77" fmla="*/ 1133475 h 1250156"/>
                  <a:gd name="connsiteX78" fmla="*/ 1028700 w 1378744"/>
                  <a:gd name="connsiteY78" fmla="*/ 1126331 h 1250156"/>
                  <a:gd name="connsiteX79" fmla="*/ 1031082 w 1378744"/>
                  <a:gd name="connsiteY79" fmla="*/ 1097756 h 1250156"/>
                  <a:gd name="connsiteX80" fmla="*/ 1057275 w 1378744"/>
                  <a:gd name="connsiteY80" fmla="*/ 1085850 h 1250156"/>
                  <a:gd name="connsiteX81" fmla="*/ 1076325 w 1378744"/>
                  <a:gd name="connsiteY81" fmla="*/ 1097756 h 1250156"/>
                  <a:gd name="connsiteX82" fmla="*/ 1100138 w 1378744"/>
                  <a:gd name="connsiteY82" fmla="*/ 1107281 h 1250156"/>
                  <a:gd name="connsiteX83" fmla="*/ 1123950 w 1378744"/>
                  <a:gd name="connsiteY83" fmla="*/ 1121568 h 1250156"/>
                  <a:gd name="connsiteX84" fmla="*/ 1143000 w 1378744"/>
                  <a:gd name="connsiteY84" fmla="*/ 1123950 h 1250156"/>
                  <a:gd name="connsiteX85" fmla="*/ 1157288 w 1378744"/>
                  <a:gd name="connsiteY85" fmla="*/ 1112043 h 1250156"/>
                  <a:gd name="connsiteX86" fmla="*/ 1159669 w 1378744"/>
                  <a:gd name="connsiteY86" fmla="*/ 1085850 h 1250156"/>
                  <a:gd name="connsiteX87" fmla="*/ 1166813 w 1378744"/>
                  <a:gd name="connsiteY87" fmla="*/ 1052512 h 1250156"/>
                  <a:gd name="connsiteX88" fmla="*/ 1197769 w 1378744"/>
                  <a:gd name="connsiteY88" fmla="*/ 1016793 h 1250156"/>
                  <a:gd name="connsiteX89" fmla="*/ 1195388 w 1378744"/>
                  <a:gd name="connsiteY89" fmla="*/ 954881 h 1250156"/>
                  <a:gd name="connsiteX90" fmla="*/ 1209675 w 1378744"/>
                  <a:gd name="connsiteY90" fmla="*/ 945356 h 1250156"/>
                  <a:gd name="connsiteX91" fmla="*/ 1235869 w 1378744"/>
                  <a:gd name="connsiteY91" fmla="*/ 945356 h 1250156"/>
                  <a:gd name="connsiteX92" fmla="*/ 1235869 w 1378744"/>
                  <a:gd name="connsiteY92" fmla="*/ 931068 h 1250156"/>
                  <a:gd name="connsiteX93" fmla="*/ 1212057 w 1378744"/>
                  <a:gd name="connsiteY93" fmla="*/ 912018 h 1250156"/>
                  <a:gd name="connsiteX94" fmla="*/ 1195388 w 1378744"/>
                  <a:gd name="connsiteY94" fmla="*/ 881062 h 1250156"/>
                  <a:gd name="connsiteX95" fmla="*/ 1157288 w 1378744"/>
                  <a:gd name="connsiteY95" fmla="*/ 871537 h 1250156"/>
                  <a:gd name="connsiteX96" fmla="*/ 1119188 w 1378744"/>
                  <a:gd name="connsiteY96" fmla="*/ 859631 h 1250156"/>
                  <a:gd name="connsiteX97" fmla="*/ 1119188 w 1378744"/>
                  <a:gd name="connsiteY97" fmla="*/ 831056 h 1250156"/>
                  <a:gd name="connsiteX98" fmla="*/ 1135857 w 1378744"/>
                  <a:gd name="connsiteY98" fmla="*/ 807243 h 1250156"/>
                  <a:gd name="connsiteX99" fmla="*/ 1197769 w 1378744"/>
                  <a:gd name="connsiteY99" fmla="*/ 759618 h 1250156"/>
                  <a:gd name="connsiteX100" fmla="*/ 1247775 w 1378744"/>
                  <a:gd name="connsiteY100" fmla="*/ 762000 h 1250156"/>
                  <a:gd name="connsiteX101" fmla="*/ 1278732 w 1378744"/>
                  <a:gd name="connsiteY101" fmla="*/ 762000 h 1250156"/>
                  <a:gd name="connsiteX102" fmla="*/ 1271588 w 1378744"/>
                  <a:gd name="connsiteY102" fmla="*/ 735806 h 1250156"/>
                  <a:gd name="connsiteX103" fmla="*/ 1378744 w 1378744"/>
                  <a:gd name="connsiteY103" fmla="*/ 678656 h 1250156"/>
                  <a:gd name="connsiteX104" fmla="*/ 1331119 w 1378744"/>
                  <a:gd name="connsiteY104" fmla="*/ 552450 h 1250156"/>
                  <a:gd name="connsiteX105" fmla="*/ 1278732 w 1378744"/>
                  <a:gd name="connsiteY105" fmla="*/ 514350 h 1250156"/>
                  <a:gd name="connsiteX106" fmla="*/ 1252538 w 1378744"/>
                  <a:gd name="connsiteY106" fmla="*/ 431006 h 1250156"/>
                  <a:gd name="connsiteX107" fmla="*/ 1181100 w 1378744"/>
                  <a:gd name="connsiteY107" fmla="*/ 431006 h 1250156"/>
                  <a:gd name="connsiteX108" fmla="*/ 1166813 w 1378744"/>
                  <a:gd name="connsiteY108" fmla="*/ 395287 h 1250156"/>
                  <a:gd name="connsiteX109" fmla="*/ 1107282 w 1378744"/>
                  <a:gd name="connsiteY109" fmla="*/ 421481 h 1250156"/>
                  <a:gd name="connsiteX110" fmla="*/ 1054894 w 1378744"/>
                  <a:gd name="connsiteY110" fmla="*/ 414337 h 1250156"/>
                  <a:gd name="connsiteX111" fmla="*/ 1028700 w 1378744"/>
                  <a:gd name="connsiteY111" fmla="*/ 371475 h 1250156"/>
                  <a:gd name="connsiteX112" fmla="*/ 1023938 w 1378744"/>
                  <a:gd name="connsiteY112" fmla="*/ 288131 h 1250156"/>
                  <a:gd name="connsiteX113" fmla="*/ 1012032 w 1378744"/>
                  <a:gd name="connsiteY113" fmla="*/ 269081 h 1250156"/>
                  <a:gd name="connsiteX114" fmla="*/ 1012032 w 1378744"/>
                  <a:gd name="connsiteY114" fmla="*/ 211931 h 1250156"/>
                  <a:gd name="connsiteX115" fmla="*/ 959644 w 1378744"/>
                  <a:gd name="connsiteY115" fmla="*/ 190500 h 1250156"/>
                  <a:gd name="connsiteX116" fmla="*/ 914400 w 1378744"/>
                  <a:gd name="connsiteY116" fmla="*/ 111918 h 1250156"/>
                  <a:gd name="connsiteX117" fmla="*/ 854869 w 1378744"/>
                  <a:gd name="connsiteY117" fmla="*/ 76200 h 1250156"/>
                  <a:gd name="connsiteX118" fmla="*/ 873919 w 1378744"/>
                  <a:gd name="connsiteY118" fmla="*/ 16668 h 1250156"/>
                  <a:gd name="connsiteX119" fmla="*/ 783432 w 1378744"/>
                  <a:gd name="connsiteY119" fmla="*/ 0 h 1250156"/>
                  <a:gd name="connsiteX0" fmla="*/ 783432 w 1378744"/>
                  <a:gd name="connsiteY0" fmla="*/ 0 h 1278730"/>
                  <a:gd name="connsiteX1" fmla="*/ 738188 w 1378744"/>
                  <a:gd name="connsiteY1" fmla="*/ 26193 h 1278730"/>
                  <a:gd name="connsiteX2" fmla="*/ 685800 w 1378744"/>
                  <a:gd name="connsiteY2" fmla="*/ 28575 h 1278730"/>
                  <a:gd name="connsiteX3" fmla="*/ 635794 w 1378744"/>
                  <a:gd name="connsiteY3" fmla="*/ 73818 h 1278730"/>
                  <a:gd name="connsiteX4" fmla="*/ 633413 w 1378744"/>
                  <a:gd name="connsiteY4" fmla="*/ 114300 h 1278730"/>
                  <a:gd name="connsiteX5" fmla="*/ 561975 w 1378744"/>
                  <a:gd name="connsiteY5" fmla="*/ 190500 h 1278730"/>
                  <a:gd name="connsiteX6" fmla="*/ 519113 w 1378744"/>
                  <a:gd name="connsiteY6" fmla="*/ 214312 h 1278730"/>
                  <a:gd name="connsiteX7" fmla="*/ 485775 w 1378744"/>
                  <a:gd name="connsiteY7" fmla="*/ 252412 h 1278730"/>
                  <a:gd name="connsiteX8" fmla="*/ 461963 w 1378744"/>
                  <a:gd name="connsiteY8" fmla="*/ 273843 h 1278730"/>
                  <a:gd name="connsiteX9" fmla="*/ 423863 w 1378744"/>
                  <a:gd name="connsiteY9" fmla="*/ 333375 h 1278730"/>
                  <a:gd name="connsiteX10" fmla="*/ 378619 w 1378744"/>
                  <a:gd name="connsiteY10" fmla="*/ 357187 h 1278730"/>
                  <a:gd name="connsiteX11" fmla="*/ 292894 w 1378744"/>
                  <a:gd name="connsiteY11" fmla="*/ 376237 h 1278730"/>
                  <a:gd name="connsiteX12" fmla="*/ 264319 w 1378744"/>
                  <a:gd name="connsiteY12" fmla="*/ 373856 h 1278730"/>
                  <a:gd name="connsiteX13" fmla="*/ 240507 w 1378744"/>
                  <a:gd name="connsiteY13" fmla="*/ 359568 h 1278730"/>
                  <a:gd name="connsiteX14" fmla="*/ 226219 w 1378744"/>
                  <a:gd name="connsiteY14" fmla="*/ 338137 h 1278730"/>
                  <a:gd name="connsiteX15" fmla="*/ 219075 w 1378744"/>
                  <a:gd name="connsiteY15" fmla="*/ 311943 h 1278730"/>
                  <a:gd name="connsiteX16" fmla="*/ 204788 w 1378744"/>
                  <a:gd name="connsiteY16" fmla="*/ 309562 h 1278730"/>
                  <a:gd name="connsiteX17" fmla="*/ 188119 w 1378744"/>
                  <a:gd name="connsiteY17" fmla="*/ 304800 h 1278730"/>
                  <a:gd name="connsiteX18" fmla="*/ 173832 w 1378744"/>
                  <a:gd name="connsiteY18" fmla="*/ 302418 h 1278730"/>
                  <a:gd name="connsiteX19" fmla="*/ 128588 w 1378744"/>
                  <a:gd name="connsiteY19" fmla="*/ 352425 h 1278730"/>
                  <a:gd name="connsiteX20" fmla="*/ 97632 w 1378744"/>
                  <a:gd name="connsiteY20" fmla="*/ 371475 h 1278730"/>
                  <a:gd name="connsiteX21" fmla="*/ 80963 w 1378744"/>
                  <a:gd name="connsiteY21" fmla="*/ 390525 h 1278730"/>
                  <a:gd name="connsiteX22" fmla="*/ 66675 w 1378744"/>
                  <a:gd name="connsiteY22" fmla="*/ 435768 h 1278730"/>
                  <a:gd name="connsiteX23" fmla="*/ 54769 w 1378744"/>
                  <a:gd name="connsiteY23" fmla="*/ 447675 h 1278730"/>
                  <a:gd name="connsiteX24" fmla="*/ 9525 w 1378744"/>
                  <a:gd name="connsiteY24" fmla="*/ 466725 h 1278730"/>
                  <a:gd name="connsiteX25" fmla="*/ 2382 w 1378744"/>
                  <a:gd name="connsiteY25" fmla="*/ 481012 h 1278730"/>
                  <a:gd name="connsiteX26" fmla="*/ 4763 w 1378744"/>
                  <a:gd name="connsiteY26" fmla="*/ 533400 h 1278730"/>
                  <a:gd name="connsiteX27" fmla="*/ 0 w 1378744"/>
                  <a:gd name="connsiteY27" fmla="*/ 545306 h 1278730"/>
                  <a:gd name="connsiteX28" fmla="*/ 73819 w 1378744"/>
                  <a:gd name="connsiteY28" fmla="*/ 588168 h 1278730"/>
                  <a:gd name="connsiteX29" fmla="*/ 90488 w 1378744"/>
                  <a:gd name="connsiteY29" fmla="*/ 628650 h 1278730"/>
                  <a:gd name="connsiteX30" fmla="*/ 83344 w 1378744"/>
                  <a:gd name="connsiteY30" fmla="*/ 654843 h 1278730"/>
                  <a:gd name="connsiteX31" fmla="*/ 73819 w 1378744"/>
                  <a:gd name="connsiteY31" fmla="*/ 697706 h 1278730"/>
                  <a:gd name="connsiteX32" fmla="*/ 78582 w 1378744"/>
                  <a:gd name="connsiteY32" fmla="*/ 726281 h 1278730"/>
                  <a:gd name="connsiteX33" fmla="*/ 95250 w 1378744"/>
                  <a:gd name="connsiteY33" fmla="*/ 738187 h 1278730"/>
                  <a:gd name="connsiteX34" fmla="*/ 116682 w 1378744"/>
                  <a:gd name="connsiteY34" fmla="*/ 735806 h 1278730"/>
                  <a:gd name="connsiteX35" fmla="*/ 123825 w 1378744"/>
                  <a:gd name="connsiteY35" fmla="*/ 762000 h 1278730"/>
                  <a:gd name="connsiteX36" fmla="*/ 126207 w 1378744"/>
                  <a:gd name="connsiteY36" fmla="*/ 783431 h 1278730"/>
                  <a:gd name="connsiteX37" fmla="*/ 152400 w 1378744"/>
                  <a:gd name="connsiteY37" fmla="*/ 812006 h 1278730"/>
                  <a:gd name="connsiteX38" fmla="*/ 164307 w 1378744"/>
                  <a:gd name="connsiteY38" fmla="*/ 823912 h 1278730"/>
                  <a:gd name="connsiteX39" fmla="*/ 173832 w 1378744"/>
                  <a:gd name="connsiteY39" fmla="*/ 850106 h 1278730"/>
                  <a:gd name="connsiteX40" fmla="*/ 169069 w 1378744"/>
                  <a:gd name="connsiteY40" fmla="*/ 878681 h 1278730"/>
                  <a:gd name="connsiteX41" fmla="*/ 176213 w 1378744"/>
                  <a:gd name="connsiteY41" fmla="*/ 897731 h 1278730"/>
                  <a:gd name="connsiteX42" fmla="*/ 200025 w 1378744"/>
                  <a:gd name="connsiteY42" fmla="*/ 916781 h 1278730"/>
                  <a:gd name="connsiteX43" fmla="*/ 226219 w 1378744"/>
                  <a:gd name="connsiteY43" fmla="*/ 916781 h 1278730"/>
                  <a:gd name="connsiteX44" fmla="*/ 300038 w 1378744"/>
                  <a:gd name="connsiteY44" fmla="*/ 921543 h 1278730"/>
                  <a:gd name="connsiteX45" fmla="*/ 395288 w 1378744"/>
                  <a:gd name="connsiteY45" fmla="*/ 952500 h 1278730"/>
                  <a:gd name="connsiteX46" fmla="*/ 414338 w 1378744"/>
                  <a:gd name="connsiteY46" fmla="*/ 988218 h 1278730"/>
                  <a:gd name="connsiteX47" fmla="*/ 435769 w 1378744"/>
                  <a:gd name="connsiteY47" fmla="*/ 992981 h 1278730"/>
                  <a:gd name="connsiteX48" fmla="*/ 464344 w 1378744"/>
                  <a:gd name="connsiteY48" fmla="*/ 995362 h 1278730"/>
                  <a:gd name="connsiteX49" fmla="*/ 507207 w 1378744"/>
                  <a:gd name="connsiteY49" fmla="*/ 1026318 h 1278730"/>
                  <a:gd name="connsiteX50" fmla="*/ 521494 w 1378744"/>
                  <a:gd name="connsiteY50" fmla="*/ 1069181 h 1278730"/>
                  <a:gd name="connsiteX51" fmla="*/ 545307 w 1378744"/>
                  <a:gd name="connsiteY51" fmla="*/ 1107281 h 1278730"/>
                  <a:gd name="connsiteX52" fmla="*/ 573882 w 1378744"/>
                  <a:gd name="connsiteY52" fmla="*/ 1121568 h 1278730"/>
                  <a:gd name="connsiteX53" fmla="*/ 585788 w 1378744"/>
                  <a:gd name="connsiteY53" fmla="*/ 1131093 h 1278730"/>
                  <a:gd name="connsiteX54" fmla="*/ 597694 w 1378744"/>
                  <a:gd name="connsiteY54" fmla="*/ 1181100 h 1278730"/>
                  <a:gd name="connsiteX55" fmla="*/ 633413 w 1378744"/>
                  <a:gd name="connsiteY55" fmla="*/ 1250156 h 1278730"/>
                  <a:gd name="connsiteX56" fmla="*/ 692944 w 1378744"/>
                  <a:gd name="connsiteY56" fmla="*/ 1278730 h 1278730"/>
                  <a:gd name="connsiteX57" fmla="*/ 814388 w 1378744"/>
                  <a:gd name="connsiteY57" fmla="*/ 1138237 h 1278730"/>
                  <a:gd name="connsiteX58" fmla="*/ 828675 w 1378744"/>
                  <a:gd name="connsiteY58" fmla="*/ 1109662 h 1278730"/>
                  <a:gd name="connsiteX59" fmla="*/ 833438 w 1378744"/>
                  <a:gd name="connsiteY59" fmla="*/ 1085850 h 1278730"/>
                  <a:gd name="connsiteX60" fmla="*/ 797719 w 1378744"/>
                  <a:gd name="connsiteY60" fmla="*/ 1059656 h 1278730"/>
                  <a:gd name="connsiteX61" fmla="*/ 790575 w 1378744"/>
                  <a:gd name="connsiteY61" fmla="*/ 1038225 h 1278730"/>
                  <a:gd name="connsiteX62" fmla="*/ 790575 w 1378744"/>
                  <a:gd name="connsiteY62" fmla="*/ 1021556 h 1278730"/>
                  <a:gd name="connsiteX63" fmla="*/ 845344 w 1378744"/>
                  <a:gd name="connsiteY63" fmla="*/ 952500 h 1278730"/>
                  <a:gd name="connsiteX64" fmla="*/ 845344 w 1378744"/>
                  <a:gd name="connsiteY64" fmla="*/ 952500 h 1278730"/>
                  <a:gd name="connsiteX65" fmla="*/ 888207 w 1378744"/>
                  <a:gd name="connsiteY65" fmla="*/ 966787 h 1278730"/>
                  <a:gd name="connsiteX66" fmla="*/ 907257 w 1378744"/>
                  <a:gd name="connsiteY66" fmla="*/ 981075 h 1278730"/>
                  <a:gd name="connsiteX67" fmla="*/ 938213 w 1378744"/>
                  <a:gd name="connsiteY67" fmla="*/ 990600 h 1278730"/>
                  <a:gd name="connsiteX68" fmla="*/ 964407 w 1378744"/>
                  <a:gd name="connsiteY68" fmla="*/ 985837 h 1278730"/>
                  <a:gd name="connsiteX69" fmla="*/ 985838 w 1378744"/>
                  <a:gd name="connsiteY69" fmla="*/ 985837 h 1278730"/>
                  <a:gd name="connsiteX70" fmla="*/ 995363 w 1378744"/>
                  <a:gd name="connsiteY70" fmla="*/ 995362 h 1278730"/>
                  <a:gd name="connsiteX71" fmla="*/ 978694 w 1378744"/>
                  <a:gd name="connsiteY71" fmla="*/ 1012031 h 1278730"/>
                  <a:gd name="connsiteX72" fmla="*/ 969169 w 1378744"/>
                  <a:gd name="connsiteY72" fmla="*/ 1031081 h 1278730"/>
                  <a:gd name="connsiteX73" fmla="*/ 954882 w 1378744"/>
                  <a:gd name="connsiteY73" fmla="*/ 1054893 h 1278730"/>
                  <a:gd name="connsiteX74" fmla="*/ 950119 w 1378744"/>
                  <a:gd name="connsiteY74" fmla="*/ 1083468 h 1278730"/>
                  <a:gd name="connsiteX75" fmla="*/ 962025 w 1378744"/>
                  <a:gd name="connsiteY75" fmla="*/ 1107281 h 1278730"/>
                  <a:gd name="connsiteX76" fmla="*/ 983457 w 1378744"/>
                  <a:gd name="connsiteY76" fmla="*/ 1131093 h 1278730"/>
                  <a:gd name="connsiteX77" fmla="*/ 1002507 w 1378744"/>
                  <a:gd name="connsiteY77" fmla="*/ 1133475 h 1278730"/>
                  <a:gd name="connsiteX78" fmla="*/ 1028700 w 1378744"/>
                  <a:gd name="connsiteY78" fmla="*/ 1126331 h 1278730"/>
                  <a:gd name="connsiteX79" fmla="*/ 1031082 w 1378744"/>
                  <a:gd name="connsiteY79" fmla="*/ 1097756 h 1278730"/>
                  <a:gd name="connsiteX80" fmla="*/ 1057275 w 1378744"/>
                  <a:gd name="connsiteY80" fmla="*/ 1085850 h 1278730"/>
                  <a:gd name="connsiteX81" fmla="*/ 1076325 w 1378744"/>
                  <a:gd name="connsiteY81" fmla="*/ 1097756 h 1278730"/>
                  <a:gd name="connsiteX82" fmla="*/ 1100138 w 1378744"/>
                  <a:gd name="connsiteY82" fmla="*/ 1107281 h 1278730"/>
                  <a:gd name="connsiteX83" fmla="*/ 1123950 w 1378744"/>
                  <a:gd name="connsiteY83" fmla="*/ 1121568 h 1278730"/>
                  <a:gd name="connsiteX84" fmla="*/ 1143000 w 1378744"/>
                  <a:gd name="connsiteY84" fmla="*/ 1123950 h 1278730"/>
                  <a:gd name="connsiteX85" fmla="*/ 1157288 w 1378744"/>
                  <a:gd name="connsiteY85" fmla="*/ 1112043 h 1278730"/>
                  <a:gd name="connsiteX86" fmla="*/ 1159669 w 1378744"/>
                  <a:gd name="connsiteY86" fmla="*/ 1085850 h 1278730"/>
                  <a:gd name="connsiteX87" fmla="*/ 1166813 w 1378744"/>
                  <a:gd name="connsiteY87" fmla="*/ 1052512 h 1278730"/>
                  <a:gd name="connsiteX88" fmla="*/ 1197769 w 1378744"/>
                  <a:gd name="connsiteY88" fmla="*/ 1016793 h 1278730"/>
                  <a:gd name="connsiteX89" fmla="*/ 1195388 w 1378744"/>
                  <a:gd name="connsiteY89" fmla="*/ 954881 h 1278730"/>
                  <a:gd name="connsiteX90" fmla="*/ 1209675 w 1378744"/>
                  <a:gd name="connsiteY90" fmla="*/ 945356 h 1278730"/>
                  <a:gd name="connsiteX91" fmla="*/ 1235869 w 1378744"/>
                  <a:gd name="connsiteY91" fmla="*/ 945356 h 1278730"/>
                  <a:gd name="connsiteX92" fmla="*/ 1235869 w 1378744"/>
                  <a:gd name="connsiteY92" fmla="*/ 931068 h 1278730"/>
                  <a:gd name="connsiteX93" fmla="*/ 1212057 w 1378744"/>
                  <a:gd name="connsiteY93" fmla="*/ 912018 h 1278730"/>
                  <a:gd name="connsiteX94" fmla="*/ 1195388 w 1378744"/>
                  <a:gd name="connsiteY94" fmla="*/ 881062 h 1278730"/>
                  <a:gd name="connsiteX95" fmla="*/ 1157288 w 1378744"/>
                  <a:gd name="connsiteY95" fmla="*/ 871537 h 1278730"/>
                  <a:gd name="connsiteX96" fmla="*/ 1119188 w 1378744"/>
                  <a:gd name="connsiteY96" fmla="*/ 859631 h 1278730"/>
                  <a:gd name="connsiteX97" fmla="*/ 1119188 w 1378744"/>
                  <a:gd name="connsiteY97" fmla="*/ 831056 h 1278730"/>
                  <a:gd name="connsiteX98" fmla="*/ 1135857 w 1378744"/>
                  <a:gd name="connsiteY98" fmla="*/ 807243 h 1278730"/>
                  <a:gd name="connsiteX99" fmla="*/ 1197769 w 1378744"/>
                  <a:gd name="connsiteY99" fmla="*/ 759618 h 1278730"/>
                  <a:gd name="connsiteX100" fmla="*/ 1247775 w 1378744"/>
                  <a:gd name="connsiteY100" fmla="*/ 762000 h 1278730"/>
                  <a:gd name="connsiteX101" fmla="*/ 1278732 w 1378744"/>
                  <a:gd name="connsiteY101" fmla="*/ 762000 h 1278730"/>
                  <a:gd name="connsiteX102" fmla="*/ 1271588 w 1378744"/>
                  <a:gd name="connsiteY102" fmla="*/ 735806 h 1278730"/>
                  <a:gd name="connsiteX103" fmla="*/ 1378744 w 1378744"/>
                  <a:gd name="connsiteY103" fmla="*/ 678656 h 1278730"/>
                  <a:gd name="connsiteX104" fmla="*/ 1331119 w 1378744"/>
                  <a:gd name="connsiteY104" fmla="*/ 552450 h 1278730"/>
                  <a:gd name="connsiteX105" fmla="*/ 1278732 w 1378744"/>
                  <a:gd name="connsiteY105" fmla="*/ 514350 h 1278730"/>
                  <a:gd name="connsiteX106" fmla="*/ 1252538 w 1378744"/>
                  <a:gd name="connsiteY106" fmla="*/ 431006 h 1278730"/>
                  <a:gd name="connsiteX107" fmla="*/ 1181100 w 1378744"/>
                  <a:gd name="connsiteY107" fmla="*/ 431006 h 1278730"/>
                  <a:gd name="connsiteX108" fmla="*/ 1166813 w 1378744"/>
                  <a:gd name="connsiteY108" fmla="*/ 395287 h 1278730"/>
                  <a:gd name="connsiteX109" fmla="*/ 1107282 w 1378744"/>
                  <a:gd name="connsiteY109" fmla="*/ 421481 h 1278730"/>
                  <a:gd name="connsiteX110" fmla="*/ 1054894 w 1378744"/>
                  <a:gd name="connsiteY110" fmla="*/ 414337 h 1278730"/>
                  <a:gd name="connsiteX111" fmla="*/ 1028700 w 1378744"/>
                  <a:gd name="connsiteY111" fmla="*/ 371475 h 1278730"/>
                  <a:gd name="connsiteX112" fmla="*/ 1023938 w 1378744"/>
                  <a:gd name="connsiteY112" fmla="*/ 288131 h 1278730"/>
                  <a:gd name="connsiteX113" fmla="*/ 1012032 w 1378744"/>
                  <a:gd name="connsiteY113" fmla="*/ 269081 h 1278730"/>
                  <a:gd name="connsiteX114" fmla="*/ 1012032 w 1378744"/>
                  <a:gd name="connsiteY114" fmla="*/ 211931 h 1278730"/>
                  <a:gd name="connsiteX115" fmla="*/ 959644 w 1378744"/>
                  <a:gd name="connsiteY115" fmla="*/ 190500 h 1278730"/>
                  <a:gd name="connsiteX116" fmla="*/ 914400 w 1378744"/>
                  <a:gd name="connsiteY116" fmla="*/ 111918 h 1278730"/>
                  <a:gd name="connsiteX117" fmla="*/ 854869 w 1378744"/>
                  <a:gd name="connsiteY117" fmla="*/ 76200 h 1278730"/>
                  <a:gd name="connsiteX118" fmla="*/ 873919 w 1378744"/>
                  <a:gd name="connsiteY118" fmla="*/ 16668 h 1278730"/>
                  <a:gd name="connsiteX119" fmla="*/ 783432 w 1378744"/>
                  <a:gd name="connsiteY119" fmla="*/ 0 h 1278730"/>
                  <a:gd name="connsiteX0" fmla="*/ 783432 w 1378744"/>
                  <a:gd name="connsiteY0" fmla="*/ 0 h 1278730"/>
                  <a:gd name="connsiteX1" fmla="*/ 738188 w 1378744"/>
                  <a:gd name="connsiteY1" fmla="*/ 26193 h 1278730"/>
                  <a:gd name="connsiteX2" fmla="*/ 685800 w 1378744"/>
                  <a:gd name="connsiteY2" fmla="*/ 28575 h 1278730"/>
                  <a:gd name="connsiteX3" fmla="*/ 635794 w 1378744"/>
                  <a:gd name="connsiteY3" fmla="*/ 73818 h 1278730"/>
                  <a:gd name="connsiteX4" fmla="*/ 633413 w 1378744"/>
                  <a:gd name="connsiteY4" fmla="*/ 114300 h 1278730"/>
                  <a:gd name="connsiteX5" fmla="*/ 561975 w 1378744"/>
                  <a:gd name="connsiteY5" fmla="*/ 190500 h 1278730"/>
                  <a:gd name="connsiteX6" fmla="*/ 519113 w 1378744"/>
                  <a:gd name="connsiteY6" fmla="*/ 214312 h 1278730"/>
                  <a:gd name="connsiteX7" fmla="*/ 485775 w 1378744"/>
                  <a:gd name="connsiteY7" fmla="*/ 252412 h 1278730"/>
                  <a:gd name="connsiteX8" fmla="*/ 461963 w 1378744"/>
                  <a:gd name="connsiteY8" fmla="*/ 273843 h 1278730"/>
                  <a:gd name="connsiteX9" fmla="*/ 423863 w 1378744"/>
                  <a:gd name="connsiteY9" fmla="*/ 333375 h 1278730"/>
                  <a:gd name="connsiteX10" fmla="*/ 378619 w 1378744"/>
                  <a:gd name="connsiteY10" fmla="*/ 357187 h 1278730"/>
                  <a:gd name="connsiteX11" fmla="*/ 292894 w 1378744"/>
                  <a:gd name="connsiteY11" fmla="*/ 376237 h 1278730"/>
                  <a:gd name="connsiteX12" fmla="*/ 264319 w 1378744"/>
                  <a:gd name="connsiteY12" fmla="*/ 373856 h 1278730"/>
                  <a:gd name="connsiteX13" fmla="*/ 240507 w 1378744"/>
                  <a:gd name="connsiteY13" fmla="*/ 359568 h 1278730"/>
                  <a:gd name="connsiteX14" fmla="*/ 226219 w 1378744"/>
                  <a:gd name="connsiteY14" fmla="*/ 338137 h 1278730"/>
                  <a:gd name="connsiteX15" fmla="*/ 219075 w 1378744"/>
                  <a:gd name="connsiteY15" fmla="*/ 311943 h 1278730"/>
                  <a:gd name="connsiteX16" fmla="*/ 204788 w 1378744"/>
                  <a:gd name="connsiteY16" fmla="*/ 309562 h 1278730"/>
                  <a:gd name="connsiteX17" fmla="*/ 188119 w 1378744"/>
                  <a:gd name="connsiteY17" fmla="*/ 304800 h 1278730"/>
                  <a:gd name="connsiteX18" fmla="*/ 173832 w 1378744"/>
                  <a:gd name="connsiteY18" fmla="*/ 302418 h 1278730"/>
                  <a:gd name="connsiteX19" fmla="*/ 128588 w 1378744"/>
                  <a:gd name="connsiteY19" fmla="*/ 352425 h 1278730"/>
                  <a:gd name="connsiteX20" fmla="*/ 97632 w 1378744"/>
                  <a:gd name="connsiteY20" fmla="*/ 371475 h 1278730"/>
                  <a:gd name="connsiteX21" fmla="*/ 80963 w 1378744"/>
                  <a:gd name="connsiteY21" fmla="*/ 390525 h 1278730"/>
                  <a:gd name="connsiteX22" fmla="*/ 66675 w 1378744"/>
                  <a:gd name="connsiteY22" fmla="*/ 435768 h 1278730"/>
                  <a:gd name="connsiteX23" fmla="*/ 54769 w 1378744"/>
                  <a:gd name="connsiteY23" fmla="*/ 447675 h 1278730"/>
                  <a:gd name="connsiteX24" fmla="*/ 9525 w 1378744"/>
                  <a:gd name="connsiteY24" fmla="*/ 466725 h 1278730"/>
                  <a:gd name="connsiteX25" fmla="*/ 2382 w 1378744"/>
                  <a:gd name="connsiteY25" fmla="*/ 481012 h 1278730"/>
                  <a:gd name="connsiteX26" fmla="*/ 4763 w 1378744"/>
                  <a:gd name="connsiteY26" fmla="*/ 533400 h 1278730"/>
                  <a:gd name="connsiteX27" fmla="*/ 0 w 1378744"/>
                  <a:gd name="connsiteY27" fmla="*/ 545306 h 1278730"/>
                  <a:gd name="connsiteX28" fmla="*/ 73819 w 1378744"/>
                  <a:gd name="connsiteY28" fmla="*/ 588168 h 1278730"/>
                  <a:gd name="connsiteX29" fmla="*/ 90488 w 1378744"/>
                  <a:gd name="connsiteY29" fmla="*/ 628650 h 1278730"/>
                  <a:gd name="connsiteX30" fmla="*/ 83344 w 1378744"/>
                  <a:gd name="connsiteY30" fmla="*/ 654843 h 1278730"/>
                  <a:gd name="connsiteX31" fmla="*/ 73819 w 1378744"/>
                  <a:gd name="connsiteY31" fmla="*/ 697706 h 1278730"/>
                  <a:gd name="connsiteX32" fmla="*/ 78582 w 1378744"/>
                  <a:gd name="connsiteY32" fmla="*/ 726281 h 1278730"/>
                  <a:gd name="connsiteX33" fmla="*/ 95250 w 1378744"/>
                  <a:gd name="connsiteY33" fmla="*/ 738187 h 1278730"/>
                  <a:gd name="connsiteX34" fmla="*/ 116682 w 1378744"/>
                  <a:gd name="connsiteY34" fmla="*/ 735806 h 1278730"/>
                  <a:gd name="connsiteX35" fmla="*/ 123825 w 1378744"/>
                  <a:gd name="connsiteY35" fmla="*/ 762000 h 1278730"/>
                  <a:gd name="connsiteX36" fmla="*/ 126207 w 1378744"/>
                  <a:gd name="connsiteY36" fmla="*/ 783431 h 1278730"/>
                  <a:gd name="connsiteX37" fmla="*/ 152400 w 1378744"/>
                  <a:gd name="connsiteY37" fmla="*/ 812006 h 1278730"/>
                  <a:gd name="connsiteX38" fmla="*/ 164307 w 1378744"/>
                  <a:gd name="connsiteY38" fmla="*/ 823912 h 1278730"/>
                  <a:gd name="connsiteX39" fmla="*/ 173832 w 1378744"/>
                  <a:gd name="connsiteY39" fmla="*/ 850106 h 1278730"/>
                  <a:gd name="connsiteX40" fmla="*/ 169069 w 1378744"/>
                  <a:gd name="connsiteY40" fmla="*/ 878681 h 1278730"/>
                  <a:gd name="connsiteX41" fmla="*/ 176213 w 1378744"/>
                  <a:gd name="connsiteY41" fmla="*/ 897731 h 1278730"/>
                  <a:gd name="connsiteX42" fmla="*/ 200025 w 1378744"/>
                  <a:gd name="connsiteY42" fmla="*/ 916781 h 1278730"/>
                  <a:gd name="connsiteX43" fmla="*/ 226219 w 1378744"/>
                  <a:gd name="connsiteY43" fmla="*/ 916781 h 1278730"/>
                  <a:gd name="connsiteX44" fmla="*/ 300038 w 1378744"/>
                  <a:gd name="connsiteY44" fmla="*/ 921543 h 1278730"/>
                  <a:gd name="connsiteX45" fmla="*/ 395288 w 1378744"/>
                  <a:gd name="connsiteY45" fmla="*/ 952500 h 1278730"/>
                  <a:gd name="connsiteX46" fmla="*/ 414338 w 1378744"/>
                  <a:gd name="connsiteY46" fmla="*/ 988218 h 1278730"/>
                  <a:gd name="connsiteX47" fmla="*/ 435769 w 1378744"/>
                  <a:gd name="connsiteY47" fmla="*/ 992981 h 1278730"/>
                  <a:gd name="connsiteX48" fmla="*/ 464344 w 1378744"/>
                  <a:gd name="connsiteY48" fmla="*/ 995362 h 1278730"/>
                  <a:gd name="connsiteX49" fmla="*/ 507207 w 1378744"/>
                  <a:gd name="connsiteY49" fmla="*/ 1026318 h 1278730"/>
                  <a:gd name="connsiteX50" fmla="*/ 521494 w 1378744"/>
                  <a:gd name="connsiteY50" fmla="*/ 1069181 h 1278730"/>
                  <a:gd name="connsiteX51" fmla="*/ 545307 w 1378744"/>
                  <a:gd name="connsiteY51" fmla="*/ 1107281 h 1278730"/>
                  <a:gd name="connsiteX52" fmla="*/ 573882 w 1378744"/>
                  <a:gd name="connsiteY52" fmla="*/ 1121568 h 1278730"/>
                  <a:gd name="connsiteX53" fmla="*/ 585788 w 1378744"/>
                  <a:gd name="connsiteY53" fmla="*/ 1131093 h 1278730"/>
                  <a:gd name="connsiteX54" fmla="*/ 597694 w 1378744"/>
                  <a:gd name="connsiteY54" fmla="*/ 1181100 h 1278730"/>
                  <a:gd name="connsiteX55" fmla="*/ 633413 w 1378744"/>
                  <a:gd name="connsiteY55" fmla="*/ 1250156 h 1278730"/>
                  <a:gd name="connsiteX56" fmla="*/ 692944 w 1378744"/>
                  <a:gd name="connsiteY56" fmla="*/ 1278730 h 1278730"/>
                  <a:gd name="connsiteX57" fmla="*/ 721519 w 1378744"/>
                  <a:gd name="connsiteY57" fmla="*/ 1245392 h 1278730"/>
                  <a:gd name="connsiteX58" fmla="*/ 814388 w 1378744"/>
                  <a:gd name="connsiteY58" fmla="*/ 1138237 h 1278730"/>
                  <a:gd name="connsiteX59" fmla="*/ 828675 w 1378744"/>
                  <a:gd name="connsiteY59" fmla="*/ 1109662 h 1278730"/>
                  <a:gd name="connsiteX60" fmla="*/ 833438 w 1378744"/>
                  <a:gd name="connsiteY60" fmla="*/ 1085850 h 1278730"/>
                  <a:gd name="connsiteX61" fmla="*/ 797719 w 1378744"/>
                  <a:gd name="connsiteY61" fmla="*/ 1059656 h 1278730"/>
                  <a:gd name="connsiteX62" fmla="*/ 790575 w 1378744"/>
                  <a:gd name="connsiteY62" fmla="*/ 1038225 h 1278730"/>
                  <a:gd name="connsiteX63" fmla="*/ 790575 w 1378744"/>
                  <a:gd name="connsiteY63" fmla="*/ 1021556 h 1278730"/>
                  <a:gd name="connsiteX64" fmla="*/ 845344 w 1378744"/>
                  <a:gd name="connsiteY64" fmla="*/ 952500 h 1278730"/>
                  <a:gd name="connsiteX65" fmla="*/ 845344 w 1378744"/>
                  <a:gd name="connsiteY65" fmla="*/ 952500 h 1278730"/>
                  <a:gd name="connsiteX66" fmla="*/ 888207 w 1378744"/>
                  <a:gd name="connsiteY66" fmla="*/ 966787 h 1278730"/>
                  <a:gd name="connsiteX67" fmla="*/ 907257 w 1378744"/>
                  <a:gd name="connsiteY67" fmla="*/ 981075 h 1278730"/>
                  <a:gd name="connsiteX68" fmla="*/ 938213 w 1378744"/>
                  <a:gd name="connsiteY68" fmla="*/ 990600 h 1278730"/>
                  <a:gd name="connsiteX69" fmla="*/ 964407 w 1378744"/>
                  <a:gd name="connsiteY69" fmla="*/ 985837 h 1278730"/>
                  <a:gd name="connsiteX70" fmla="*/ 985838 w 1378744"/>
                  <a:gd name="connsiteY70" fmla="*/ 985837 h 1278730"/>
                  <a:gd name="connsiteX71" fmla="*/ 995363 w 1378744"/>
                  <a:gd name="connsiteY71" fmla="*/ 995362 h 1278730"/>
                  <a:gd name="connsiteX72" fmla="*/ 978694 w 1378744"/>
                  <a:gd name="connsiteY72" fmla="*/ 1012031 h 1278730"/>
                  <a:gd name="connsiteX73" fmla="*/ 969169 w 1378744"/>
                  <a:gd name="connsiteY73" fmla="*/ 1031081 h 1278730"/>
                  <a:gd name="connsiteX74" fmla="*/ 954882 w 1378744"/>
                  <a:gd name="connsiteY74" fmla="*/ 1054893 h 1278730"/>
                  <a:gd name="connsiteX75" fmla="*/ 950119 w 1378744"/>
                  <a:gd name="connsiteY75" fmla="*/ 1083468 h 1278730"/>
                  <a:gd name="connsiteX76" fmla="*/ 962025 w 1378744"/>
                  <a:gd name="connsiteY76" fmla="*/ 1107281 h 1278730"/>
                  <a:gd name="connsiteX77" fmla="*/ 983457 w 1378744"/>
                  <a:gd name="connsiteY77" fmla="*/ 1131093 h 1278730"/>
                  <a:gd name="connsiteX78" fmla="*/ 1002507 w 1378744"/>
                  <a:gd name="connsiteY78" fmla="*/ 1133475 h 1278730"/>
                  <a:gd name="connsiteX79" fmla="*/ 1028700 w 1378744"/>
                  <a:gd name="connsiteY79" fmla="*/ 1126331 h 1278730"/>
                  <a:gd name="connsiteX80" fmla="*/ 1031082 w 1378744"/>
                  <a:gd name="connsiteY80" fmla="*/ 1097756 h 1278730"/>
                  <a:gd name="connsiteX81" fmla="*/ 1057275 w 1378744"/>
                  <a:gd name="connsiteY81" fmla="*/ 1085850 h 1278730"/>
                  <a:gd name="connsiteX82" fmla="*/ 1076325 w 1378744"/>
                  <a:gd name="connsiteY82" fmla="*/ 1097756 h 1278730"/>
                  <a:gd name="connsiteX83" fmla="*/ 1100138 w 1378744"/>
                  <a:gd name="connsiteY83" fmla="*/ 1107281 h 1278730"/>
                  <a:gd name="connsiteX84" fmla="*/ 1123950 w 1378744"/>
                  <a:gd name="connsiteY84" fmla="*/ 1121568 h 1278730"/>
                  <a:gd name="connsiteX85" fmla="*/ 1143000 w 1378744"/>
                  <a:gd name="connsiteY85" fmla="*/ 1123950 h 1278730"/>
                  <a:gd name="connsiteX86" fmla="*/ 1157288 w 1378744"/>
                  <a:gd name="connsiteY86" fmla="*/ 1112043 h 1278730"/>
                  <a:gd name="connsiteX87" fmla="*/ 1159669 w 1378744"/>
                  <a:gd name="connsiteY87" fmla="*/ 1085850 h 1278730"/>
                  <a:gd name="connsiteX88" fmla="*/ 1166813 w 1378744"/>
                  <a:gd name="connsiteY88" fmla="*/ 1052512 h 1278730"/>
                  <a:gd name="connsiteX89" fmla="*/ 1197769 w 1378744"/>
                  <a:gd name="connsiteY89" fmla="*/ 1016793 h 1278730"/>
                  <a:gd name="connsiteX90" fmla="*/ 1195388 w 1378744"/>
                  <a:gd name="connsiteY90" fmla="*/ 954881 h 1278730"/>
                  <a:gd name="connsiteX91" fmla="*/ 1209675 w 1378744"/>
                  <a:gd name="connsiteY91" fmla="*/ 945356 h 1278730"/>
                  <a:gd name="connsiteX92" fmla="*/ 1235869 w 1378744"/>
                  <a:gd name="connsiteY92" fmla="*/ 945356 h 1278730"/>
                  <a:gd name="connsiteX93" fmla="*/ 1235869 w 1378744"/>
                  <a:gd name="connsiteY93" fmla="*/ 931068 h 1278730"/>
                  <a:gd name="connsiteX94" fmla="*/ 1212057 w 1378744"/>
                  <a:gd name="connsiteY94" fmla="*/ 912018 h 1278730"/>
                  <a:gd name="connsiteX95" fmla="*/ 1195388 w 1378744"/>
                  <a:gd name="connsiteY95" fmla="*/ 881062 h 1278730"/>
                  <a:gd name="connsiteX96" fmla="*/ 1157288 w 1378744"/>
                  <a:gd name="connsiteY96" fmla="*/ 871537 h 1278730"/>
                  <a:gd name="connsiteX97" fmla="*/ 1119188 w 1378744"/>
                  <a:gd name="connsiteY97" fmla="*/ 859631 h 1278730"/>
                  <a:gd name="connsiteX98" fmla="*/ 1119188 w 1378744"/>
                  <a:gd name="connsiteY98" fmla="*/ 831056 h 1278730"/>
                  <a:gd name="connsiteX99" fmla="*/ 1135857 w 1378744"/>
                  <a:gd name="connsiteY99" fmla="*/ 807243 h 1278730"/>
                  <a:gd name="connsiteX100" fmla="*/ 1197769 w 1378744"/>
                  <a:gd name="connsiteY100" fmla="*/ 759618 h 1278730"/>
                  <a:gd name="connsiteX101" fmla="*/ 1247775 w 1378744"/>
                  <a:gd name="connsiteY101" fmla="*/ 762000 h 1278730"/>
                  <a:gd name="connsiteX102" fmla="*/ 1278732 w 1378744"/>
                  <a:gd name="connsiteY102" fmla="*/ 762000 h 1278730"/>
                  <a:gd name="connsiteX103" fmla="*/ 1271588 w 1378744"/>
                  <a:gd name="connsiteY103" fmla="*/ 735806 h 1278730"/>
                  <a:gd name="connsiteX104" fmla="*/ 1378744 w 1378744"/>
                  <a:gd name="connsiteY104" fmla="*/ 678656 h 1278730"/>
                  <a:gd name="connsiteX105" fmla="*/ 1331119 w 1378744"/>
                  <a:gd name="connsiteY105" fmla="*/ 552450 h 1278730"/>
                  <a:gd name="connsiteX106" fmla="*/ 1278732 w 1378744"/>
                  <a:gd name="connsiteY106" fmla="*/ 514350 h 1278730"/>
                  <a:gd name="connsiteX107" fmla="*/ 1252538 w 1378744"/>
                  <a:gd name="connsiteY107" fmla="*/ 431006 h 1278730"/>
                  <a:gd name="connsiteX108" fmla="*/ 1181100 w 1378744"/>
                  <a:gd name="connsiteY108" fmla="*/ 431006 h 1278730"/>
                  <a:gd name="connsiteX109" fmla="*/ 1166813 w 1378744"/>
                  <a:gd name="connsiteY109" fmla="*/ 395287 h 1278730"/>
                  <a:gd name="connsiteX110" fmla="*/ 1107282 w 1378744"/>
                  <a:gd name="connsiteY110" fmla="*/ 421481 h 1278730"/>
                  <a:gd name="connsiteX111" fmla="*/ 1054894 w 1378744"/>
                  <a:gd name="connsiteY111" fmla="*/ 414337 h 1278730"/>
                  <a:gd name="connsiteX112" fmla="*/ 1028700 w 1378744"/>
                  <a:gd name="connsiteY112" fmla="*/ 371475 h 1278730"/>
                  <a:gd name="connsiteX113" fmla="*/ 1023938 w 1378744"/>
                  <a:gd name="connsiteY113" fmla="*/ 288131 h 1278730"/>
                  <a:gd name="connsiteX114" fmla="*/ 1012032 w 1378744"/>
                  <a:gd name="connsiteY114" fmla="*/ 269081 h 1278730"/>
                  <a:gd name="connsiteX115" fmla="*/ 1012032 w 1378744"/>
                  <a:gd name="connsiteY115" fmla="*/ 211931 h 1278730"/>
                  <a:gd name="connsiteX116" fmla="*/ 959644 w 1378744"/>
                  <a:gd name="connsiteY116" fmla="*/ 190500 h 1278730"/>
                  <a:gd name="connsiteX117" fmla="*/ 914400 w 1378744"/>
                  <a:gd name="connsiteY117" fmla="*/ 111918 h 1278730"/>
                  <a:gd name="connsiteX118" fmla="*/ 854869 w 1378744"/>
                  <a:gd name="connsiteY118" fmla="*/ 76200 h 1278730"/>
                  <a:gd name="connsiteX119" fmla="*/ 873919 w 1378744"/>
                  <a:gd name="connsiteY119" fmla="*/ 16668 h 1278730"/>
                  <a:gd name="connsiteX120" fmla="*/ 783432 w 1378744"/>
                  <a:gd name="connsiteY120" fmla="*/ 0 h 1278730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814388 w 1378744"/>
                  <a:gd name="connsiteY58" fmla="*/ 1138237 h 1288255"/>
                  <a:gd name="connsiteX59" fmla="*/ 828675 w 1378744"/>
                  <a:gd name="connsiteY59" fmla="*/ 1109662 h 1288255"/>
                  <a:gd name="connsiteX60" fmla="*/ 833438 w 1378744"/>
                  <a:gd name="connsiteY60" fmla="*/ 1085850 h 1288255"/>
                  <a:gd name="connsiteX61" fmla="*/ 797719 w 1378744"/>
                  <a:gd name="connsiteY61" fmla="*/ 1059656 h 1288255"/>
                  <a:gd name="connsiteX62" fmla="*/ 790575 w 1378744"/>
                  <a:gd name="connsiteY62" fmla="*/ 1038225 h 1288255"/>
                  <a:gd name="connsiteX63" fmla="*/ 790575 w 1378744"/>
                  <a:gd name="connsiteY63" fmla="*/ 1021556 h 1288255"/>
                  <a:gd name="connsiteX64" fmla="*/ 845344 w 1378744"/>
                  <a:gd name="connsiteY64" fmla="*/ 952500 h 1288255"/>
                  <a:gd name="connsiteX65" fmla="*/ 845344 w 1378744"/>
                  <a:gd name="connsiteY65" fmla="*/ 952500 h 1288255"/>
                  <a:gd name="connsiteX66" fmla="*/ 888207 w 1378744"/>
                  <a:gd name="connsiteY66" fmla="*/ 966787 h 1288255"/>
                  <a:gd name="connsiteX67" fmla="*/ 907257 w 1378744"/>
                  <a:gd name="connsiteY67" fmla="*/ 981075 h 1288255"/>
                  <a:gd name="connsiteX68" fmla="*/ 938213 w 1378744"/>
                  <a:gd name="connsiteY68" fmla="*/ 990600 h 1288255"/>
                  <a:gd name="connsiteX69" fmla="*/ 964407 w 1378744"/>
                  <a:gd name="connsiteY69" fmla="*/ 985837 h 1288255"/>
                  <a:gd name="connsiteX70" fmla="*/ 985838 w 1378744"/>
                  <a:gd name="connsiteY70" fmla="*/ 985837 h 1288255"/>
                  <a:gd name="connsiteX71" fmla="*/ 995363 w 1378744"/>
                  <a:gd name="connsiteY71" fmla="*/ 995362 h 1288255"/>
                  <a:gd name="connsiteX72" fmla="*/ 978694 w 1378744"/>
                  <a:gd name="connsiteY72" fmla="*/ 1012031 h 1288255"/>
                  <a:gd name="connsiteX73" fmla="*/ 969169 w 1378744"/>
                  <a:gd name="connsiteY73" fmla="*/ 1031081 h 1288255"/>
                  <a:gd name="connsiteX74" fmla="*/ 954882 w 1378744"/>
                  <a:gd name="connsiteY74" fmla="*/ 1054893 h 1288255"/>
                  <a:gd name="connsiteX75" fmla="*/ 950119 w 1378744"/>
                  <a:gd name="connsiteY75" fmla="*/ 1083468 h 1288255"/>
                  <a:gd name="connsiteX76" fmla="*/ 962025 w 1378744"/>
                  <a:gd name="connsiteY76" fmla="*/ 1107281 h 1288255"/>
                  <a:gd name="connsiteX77" fmla="*/ 983457 w 1378744"/>
                  <a:gd name="connsiteY77" fmla="*/ 1131093 h 1288255"/>
                  <a:gd name="connsiteX78" fmla="*/ 1002507 w 1378744"/>
                  <a:gd name="connsiteY78" fmla="*/ 1133475 h 1288255"/>
                  <a:gd name="connsiteX79" fmla="*/ 1028700 w 1378744"/>
                  <a:gd name="connsiteY79" fmla="*/ 1126331 h 1288255"/>
                  <a:gd name="connsiteX80" fmla="*/ 1031082 w 1378744"/>
                  <a:gd name="connsiteY80" fmla="*/ 1097756 h 1288255"/>
                  <a:gd name="connsiteX81" fmla="*/ 1057275 w 1378744"/>
                  <a:gd name="connsiteY81" fmla="*/ 1085850 h 1288255"/>
                  <a:gd name="connsiteX82" fmla="*/ 1076325 w 1378744"/>
                  <a:gd name="connsiteY82" fmla="*/ 1097756 h 1288255"/>
                  <a:gd name="connsiteX83" fmla="*/ 1100138 w 1378744"/>
                  <a:gd name="connsiteY83" fmla="*/ 1107281 h 1288255"/>
                  <a:gd name="connsiteX84" fmla="*/ 1123950 w 1378744"/>
                  <a:gd name="connsiteY84" fmla="*/ 1121568 h 1288255"/>
                  <a:gd name="connsiteX85" fmla="*/ 1143000 w 1378744"/>
                  <a:gd name="connsiteY85" fmla="*/ 1123950 h 1288255"/>
                  <a:gd name="connsiteX86" fmla="*/ 1157288 w 1378744"/>
                  <a:gd name="connsiteY86" fmla="*/ 1112043 h 1288255"/>
                  <a:gd name="connsiteX87" fmla="*/ 1159669 w 1378744"/>
                  <a:gd name="connsiteY87" fmla="*/ 1085850 h 1288255"/>
                  <a:gd name="connsiteX88" fmla="*/ 1166813 w 1378744"/>
                  <a:gd name="connsiteY88" fmla="*/ 1052512 h 1288255"/>
                  <a:gd name="connsiteX89" fmla="*/ 1197769 w 1378744"/>
                  <a:gd name="connsiteY89" fmla="*/ 1016793 h 1288255"/>
                  <a:gd name="connsiteX90" fmla="*/ 1195388 w 1378744"/>
                  <a:gd name="connsiteY90" fmla="*/ 954881 h 1288255"/>
                  <a:gd name="connsiteX91" fmla="*/ 1209675 w 1378744"/>
                  <a:gd name="connsiteY91" fmla="*/ 945356 h 1288255"/>
                  <a:gd name="connsiteX92" fmla="*/ 1235869 w 1378744"/>
                  <a:gd name="connsiteY92" fmla="*/ 945356 h 1288255"/>
                  <a:gd name="connsiteX93" fmla="*/ 1235869 w 1378744"/>
                  <a:gd name="connsiteY93" fmla="*/ 931068 h 1288255"/>
                  <a:gd name="connsiteX94" fmla="*/ 1212057 w 1378744"/>
                  <a:gd name="connsiteY94" fmla="*/ 912018 h 1288255"/>
                  <a:gd name="connsiteX95" fmla="*/ 1195388 w 1378744"/>
                  <a:gd name="connsiteY95" fmla="*/ 881062 h 1288255"/>
                  <a:gd name="connsiteX96" fmla="*/ 1157288 w 1378744"/>
                  <a:gd name="connsiteY96" fmla="*/ 871537 h 1288255"/>
                  <a:gd name="connsiteX97" fmla="*/ 1119188 w 1378744"/>
                  <a:gd name="connsiteY97" fmla="*/ 859631 h 1288255"/>
                  <a:gd name="connsiteX98" fmla="*/ 1119188 w 1378744"/>
                  <a:gd name="connsiteY98" fmla="*/ 831056 h 1288255"/>
                  <a:gd name="connsiteX99" fmla="*/ 1135857 w 1378744"/>
                  <a:gd name="connsiteY99" fmla="*/ 807243 h 1288255"/>
                  <a:gd name="connsiteX100" fmla="*/ 1197769 w 1378744"/>
                  <a:gd name="connsiteY100" fmla="*/ 759618 h 1288255"/>
                  <a:gd name="connsiteX101" fmla="*/ 1247775 w 1378744"/>
                  <a:gd name="connsiteY101" fmla="*/ 762000 h 1288255"/>
                  <a:gd name="connsiteX102" fmla="*/ 1278732 w 1378744"/>
                  <a:gd name="connsiteY102" fmla="*/ 762000 h 1288255"/>
                  <a:gd name="connsiteX103" fmla="*/ 1271588 w 1378744"/>
                  <a:gd name="connsiteY103" fmla="*/ 735806 h 1288255"/>
                  <a:gd name="connsiteX104" fmla="*/ 1378744 w 1378744"/>
                  <a:gd name="connsiteY104" fmla="*/ 678656 h 1288255"/>
                  <a:gd name="connsiteX105" fmla="*/ 1331119 w 1378744"/>
                  <a:gd name="connsiteY105" fmla="*/ 552450 h 1288255"/>
                  <a:gd name="connsiteX106" fmla="*/ 1278732 w 1378744"/>
                  <a:gd name="connsiteY106" fmla="*/ 514350 h 1288255"/>
                  <a:gd name="connsiteX107" fmla="*/ 1252538 w 1378744"/>
                  <a:gd name="connsiteY107" fmla="*/ 431006 h 1288255"/>
                  <a:gd name="connsiteX108" fmla="*/ 1181100 w 1378744"/>
                  <a:gd name="connsiteY108" fmla="*/ 431006 h 1288255"/>
                  <a:gd name="connsiteX109" fmla="*/ 1166813 w 1378744"/>
                  <a:gd name="connsiteY109" fmla="*/ 395287 h 1288255"/>
                  <a:gd name="connsiteX110" fmla="*/ 1107282 w 1378744"/>
                  <a:gd name="connsiteY110" fmla="*/ 421481 h 1288255"/>
                  <a:gd name="connsiteX111" fmla="*/ 1054894 w 1378744"/>
                  <a:gd name="connsiteY111" fmla="*/ 414337 h 1288255"/>
                  <a:gd name="connsiteX112" fmla="*/ 1028700 w 1378744"/>
                  <a:gd name="connsiteY112" fmla="*/ 371475 h 1288255"/>
                  <a:gd name="connsiteX113" fmla="*/ 1023938 w 1378744"/>
                  <a:gd name="connsiteY113" fmla="*/ 288131 h 1288255"/>
                  <a:gd name="connsiteX114" fmla="*/ 1012032 w 1378744"/>
                  <a:gd name="connsiteY114" fmla="*/ 269081 h 1288255"/>
                  <a:gd name="connsiteX115" fmla="*/ 1012032 w 1378744"/>
                  <a:gd name="connsiteY115" fmla="*/ 211931 h 1288255"/>
                  <a:gd name="connsiteX116" fmla="*/ 959644 w 1378744"/>
                  <a:gd name="connsiteY116" fmla="*/ 190500 h 1288255"/>
                  <a:gd name="connsiteX117" fmla="*/ 914400 w 1378744"/>
                  <a:gd name="connsiteY117" fmla="*/ 111918 h 1288255"/>
                  <a:gd name="connsiteX118" fmla="*/ 854869 w 1378744"/>
                  <a:gd name="connsiteY118" fmla="*/ 76200 h 1288255"/>
                  <a:gd name="connsiteX119" fmla="*/ 873919 w 1378744"/>
                  <a:gd name="connsiteY119" fmla="*/ 16668 h 1288255"/>
                  <a:gd name="connsiteX120" fmla="*/ 783432 w 1378744"/>
                  <a:gd name="connsiteY120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47713 w 1378744"/>
                  <a:gd name="connsiteY58" fmla="*/ 1257299 h 1288255"/>
                  <a:gd name="connsiteX59" fmla="*/ 814388 w 1378744"/>
                  <a:gd name="connsiteY59" fmla="*/ 1138237 h 1288255"/>
                  <a:gd name="connsiteX60" fmla="*/ 828675 w 1378744"/>
                  <a:gd name="connsiteY60" fmla="*/ 1109662 h 1288255"/>
                  <a:gd name="connsiteX61" fmla="*/ 833438 w 1378744"/>
                  <a:gd name="connsiteY61" fmla="*/ 1085850 h 1288255"/>
                  <a:gd name="connsiteX62" fmla="*/ 797719 w 1378744"/>
                  <a:gd name="connsiteY62" fmla="*/ 1059656 h 1288255"/>
                  <a:gd name="connsiteX63" fmla="*/ 790575 w 1378744"/>
                  <a:gd name="connsiteY63" fmla="*/ 1038225 h 1288255"/>
                  <a:gd name="connsiteX64" fmla="*/ 790575 w 1378744"/>
                  <a:gd name="connsiteY64" fmla="*/ 1021556 h 1288255"/>
                  <a:gd name="connsiteX65" fmla="*/ 845344 w 1378744"/>
                  <a:gd name="connsiteY65" fmla="*/ 952500 h 1288255"/>
                  <a:gd name="connsiteX66" fmla="*/ 845344 w 1378744"/>
                  <a:gd name="connsiteY66" fmla="*/ 952500 h 1288255"/>
                  <a:gd name="connsiteX67" fmla="*/ 888207 w 1378744"/>
                  <a:gd name="connsiteY67" fmla="*/ 966787 h 1288255"/>
                  <a:gd name="connsiteX68" fmla="*/ 907257 w 1378744"/>
                  <a:gd name="connsiteY68" fmla="*/ 981075 h 1288255"/>
                  <a:gd name="connsiteX69" fmla="*/ 938213 w 1378744"/>
                  <a:gd name="connsiteY69" fmla="*/ 990600 h 1288255"/>
                  <a:gd name="connsiteX70" fmla="*/ 964407 w 1378744"/>
                  <a:gd name="connsiteY70" fmla="*/ 985837 h 1288255"/>
                  <a:gd name="connsiteX71" fmla="*/ 985838 w 1378744"/>
                  <a:gd name="connsiteY71" fmla="*/ 985837 h 1288255"/>
                  <a:gd name="connsiteX72" fmla="*/ 995363 w 1378744"/>
                  <a:gd name="connsiteY72" fmla="*/ 995362 h 1288255"/>
                  <a:gd name="connsiteX73" fmla="*/ 978694 w 1378744"/>
                  <a:gd name="connsiteY73" fmla="*/ 1012031 h 1288255"/>
                  <a:gd name="connsiteX74" fmla="*/ 969169 w 1378744"/>
                  <a:gd name="connsiteY74" fmla="*/ 1031081 h 1288255"/>
                  <a:gd name="connsiteX75" fmla="*/ 954882 w 1378744"/>
                  <a:gd name="connsiteY75" fmla="*/ 1054893 h 1288255"/>
                  <a:gd name="connsiteX76" fmla="*/ 950119 w 1378744"/>
                  <a:gd name="connsiteY76" fmla="*/ 1083468 h 1288255"/>
                  <a:gd name="connsiteX77" fmla="*/ 962025 w 1378744"/>
                  <a:gd name="connsiteY77" fmla="*/ 1107281 h 1288255"/>
                  <a:gd name="connsiteX78" fmla="*/ 983457 w 1378744"/>
                  <a:gd name="connsiteY78" fmla="*/ 1131093 h 1288255"/>
                  <a:gd name="connsiteX79" fmla="*/ 1002507 w 1378744"/>
                  <a:gd name="connsiteY79" fmla="*/ 1133475 h 1288255"/>
                  <a:gd name="connsiteX80" fmla="*/ 1028700 w 1378744"/>
                  <a:gd name="connsiteY80" fmla="*/ 1126331 h 1288255"/>
                  <a:gd name="connsiteX81" fmla="*/ 1031082 w 1378744"/>
                  <a:gd name="connsiteY81" fmla="*/ 1097756 h 1288255"/>
                  <a:gd name="connsiteX82" fmla="*/ 1057275 w 1378744"/>
                  <a:gd name="connsiteY82" fmla="*/ 1085850 h 1288255"/>
                  <a:gd name="connsiteX83" fmla="*/ 1076325 w 1378744"/>
                  <a:gd name="connsiteY83" fmla="*/ 1097756 h 1288255"/>
                  <a:gd name="connsiteX84" fmla="*/ 1100138 w 1378744"/>
                  <a:gd name="connsiteY84" fmla="*/ 1107281 h 1288255"/>
                  <a:gd name="connsiteX85" fmla="*/ 1123950 w 1378744"/>
                  <a:gd name="connsiteY85" fmla="*/ 1121568 h 1288255"/>
                  <a:gd name="connsiteX86" fmla="*/ 1143000 w 1378744"/>
                  <a:gd name="connsiteY86" fmla="*/ 1123950 h 1288255"/>
                  <a:gd name="connsiteX87" fmla="*/ 1157288 w 1378744"/>
                  <a:gd name="connsiteY87" fmla="*/ 1112043 h 1288255"/>
                  <a:gd name="connsiteX88" fmla="*/ 1159669 w 1378744"/>
                  <a:gd name="connsiteY88" fmla="*/ 1085850 h 1288255"/>
                  <a:gd name="connsiteX89" fmla="*/ 1166813 w 1378744"/>
                  <a:gd name="connsiteY89" fmla="*/ 1052512 h 1288255"/>
                  <a:gd name="connsiteX90" fmla="*/ 1197769 w 1378744"/>
                  <a:gd name="connsiteY90" fmla="*/ 1016793 h 1288255"/>
                  <a:gd name="connsiteX91" fmla="*/ 1195388 w 1378744"/>
                  <a:gd name="connsiteY91" fmla="*/ 954881 h 1288255"/>
                  <a:gd name="connsiteX92" fmla="*/ 1209675 w 1378744"/>
                  <a:gd name="connsiteY92" fmla="*/ 945356 h 1288255"/>
                  <a:gd name="connsiteX93" fmla="*/ 1235869 w 1378744"/>
                  <a:gd name="connsiteY93" fmla="*/ 945356 h 1288255"/>
                  <a:gd name="connsiteX94" fmla="*/ 1235869 w 1378744"/>
                  <a:gd name="connsiteY94" fmla="*/ 931068 h 1288255"/>
                  <a:gd name="connsiteX95" fmla="*/ 1212057 w 1378744"/>
                  <a:gd name="connsiteY95" fmla="*/ 912018 h 1288255"/>
                  <a:gd name="connsiteX96" fmla="*/ 1195388 w 1378744"/>
                  <a:gd name="connsiteY96" fmla="*/ 881062 h 1288255"/>
                  <a:gd name="connsiteX97" fmla="*/ 1157288 w 1378744"/>
                  <a:gd name="connsiteY97" fmla="*/ 871537 h 1288255"/>
                  <a:gd name="connsiteX98" fmla="*/ 1119188 w 1378744"/>
                  <a:gd name="connsiteY98" fmla="*/ 859631 h 1288255"/>
                  <a:gd name="connsiteX99" fmla="*/ 1119188 w 1378744"/>
                  <a:gd name="connsiteY99" fmla="*/ 831056 h 1288255"/>
                  <a:gd name="connsiteX100" fmla="*/ 1135857 w 1378744"/>
                  <a:gd name="connsiteY100" fmla="*/ 807243 h 1288255"/>
                  <a:gd name="connsiteX101" fmla="*/ 1197769 w 1378744"/>
                  <a:gd name="connsiteY101" fmla="*/ 759618 h 1288255"/>
                  <a:gd name="connsiteX102" fmla="*/ 1247775 w 1378744"/>
                  <a:gd name="connsiteY102" fmla="*/ 762000 h 1288255"/>
                  <a:gd name="connsiteX103" fmla="*/ 1278732 w 1378744"/>
                  <a:gd name="connsiteY103" fmla="*/ 762000 h 1288255"/>
                  <a:gd name="connsiteX104" fmla="*/ 1271588 w 1378744"/>
                  <a:gd name="connsiteY104" fmla="*/ 735806 h 1288255"/>
                  <a:gd name="connsiteX105" fmla="*/ 1378744 w 1378744"/>
                  <a:gd name="connsiteY105" fmla="*/ 678656 h 1288255"/>
                  <a:gd name="connsiteX106" fmla="*/ 1331119 w 1378744"/>
                  <a:gd name="connsiteY106" fmla="*/ 552450 h 1288255"/>
                  <a:gd name="connsiteX107" fmla="*/ 1278732 w 1378744"/>
                  <a:gd name="connsiteY107" fmla="*/ 514350 h 1288255"/>
                  <a:gd name="connsiteX108" fmla="*/ 1252538 w 1378744"/>
                  <a:gd name="connsiteY108" fmla="*/ 431006 h 1288255"/>
                  <a:gd name="connsiteX109" fmla="*/ 1181100 w 1378744"/>
                  <a:gd name="connsiteY109" fmla="*/ 431006 h 1288255"/>
                  <a:gd name="connsiteX110" fmla="*/ 1166813 w 1378744"/>
                  <a:gd name="connsiteY110" fmla="*/ 395287 h 1288255"/>
                  <a:gd name="connsiteX111" fmla="*/ 1107282 w 1378744"/>
                  <a:gd name="connsiteY111" fmla="*/ 421481 h 1288255"/>
                  <a:gd name="connsiteX112" fmla="*/ 1054894 w 1378744"/>
                  <a:gd name="connsiteY112" fmla="*/ 414337 h 1288255"/>
                  <a:gd name="connsiteX113" fmla="*/ 1028700 w 1378744"/>
                  <a:gd name="connsiteY113" fmla="*/ 371475 h 1288255"/>
                  <a:gd name="connsiteX114" fmla="*/ 1023938 w 1378744"/>
                  <a:gd name="connsiteY114" fmla="*/ 288131 h 1288255"/>
                  <a:gd name="connsiteX115" fmla="*/ 1012032 w 1378744"/>
                  <a:gd name="connsiteY115" fmla="*/ 269081 h 1288255"/>
                  <a:gd name="connsiteX116" fmla="*/ 1012032 w 1378744"/>
                  <a:gd name="connsiteY116" fmla="*/ 211931 h 1288255"/>
                  <a:gd name="connsiteX117" fmla="*/ 959644 w 1378744"/>
                  <a:gd name="connsiteY117" fmla="*/ 190500 h 1288255"/>
                  <a:gd name="connsiteX118" fmla="*/ 914400 w 1378744"/>
                  <a:gd name="connsiteY118" fmla="*/ 111918 h 1288255"/>
                  <a:gd name="connsiteX119" fmla="*/ 854869 w 1378744"/>
                  <a:gd name="connsiteY119" fmla="*/ 76200 h 1288255"/>
                  <a:gd name="connsiteX120" fmla="*/ 873919 w 1378744"/>
                  <a:gd name="connsiteY120" fmla="*/ 16668 h 1288255"/>
                  <a:gd name="connsiteX121" fmla="*/ 783432 w 1378744"/>
                  <a:gd name="connsiteY121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814388 w 1378744"/>
                  <a:gd name="connsiteY59" fmla="*/ 1138237 h 1288255"/>
                  <a:gd name="connsiteX60" fmla="*/ 828675 w 1378744"/>
                  <a:gd name="connsiteY60" fmla="*/ 1109662 h 1288255"/>
                  <a:gd name="connsiteX61" fmla="*/ 833438 w 1378744"/>
                  <a:gd name="connsiteY61" fmla="*/ 1085850 h 1288255"/>
                  <a:gd name="connsiteX62" fmla="*/ 797719 w 1378744"/>
                  <a:gd name="connsiteY62" fmla="*/ 1059656 h 1288255"/>
                  <a:gd name="connsiteX63" fmla="*/ 790575 w 1378744"/>
                  <a:gd name="connsiteY63" fmla="*/ 1038225 h 1288255"/>
                  <a:gd name="connsiteX64" fmla="*/ 790575 w 1378744"/>
                  <a:gd name="connsiteY64" fmla="*/ 1021556 h 1288255"/>
                  <a:gd name="connsiteX65" fmla="*/ 845344 w 1378744"/>
                  <a:gd name="connsiteY65" fmla="*/ 952500 h 1288255"/>
                  <a:gd name="connsiteX66" fmla="*/ 845344 w 1378744"/>
                  <a:gd name="connsiteY66" fmla="*/ 952500 h 1288255"/>
                  <a:gd name="connsiteX67" fmla="*/ 888207 w 1378744"/>
                  <a:gd name="connsiteY67" fmla="*/ 966787 h 1288255"/>
                  <a:gd name="connsiteX68" fmla="*/ 907257 w 1378744"/>
                  <a:gd name="connsiteY68" fmla="*/ 981075 h 1288255"/>
                  <a:gd name="connsiteX69" fmla="*/ 938213 w 1378744"/>
                  <a:gd name="connsiteY69" fmla="*/ 990600 h 1288255"/>
                  <a:gd name="connsiteX70" fmla="*/ 964407 w 1378744"/>
                  <a:gd name="connsiteY70" fmla="*/ 985837 h 1288255"/>
                  <a:gd name="connsiteX71" fmla="*/ 985838 w 1378744"/>
                  <a:gd name="connsiteY71" fmla="*/ 985837 h 1288255"/>
                  <a:gd name="connsiteX72" fmla="*/ 995363 w 1378744"/>
                  <a:gd name="connsiteY72" fmla="*/ 995362 h 1288255"/>
                  <a:gd name="connsiteX73" fmla="*/ 978694 w 1378744"/>
                  <a:gd name="connsiteY73" fmla="*/ 1012031 h 1288255"/>
                  <a:gd name="connsiteX74" fmla="*/ 969169 w 1378744"/>
                  <a:gd name="connsiteY74" fmla="*/ 1031081 h 1288255"/>
                  <a:gd name="connsiteX75" fmla="*/ 954882 w 1378744"/>
                  <a:gd name="connsiteY75" fmla="*/ 1054893 h 1288255"/>
                  <a:gd name="connsiteX76" fmla="*/ 950119 w 1378744"/>
                  <a:gd name="connsiteY76" fmla="*/ 1083468 h 1288255"/>
                  <a:gd name="connsiteX77" fmla="*/ 962025 w 1378744"/>
                  <a:gd name="connsiteY77" fmla="*/ 1107281 h 1288255"/>
                  <a:gd name="connsiteX78" fmla="*/ 983457 w 1378744"/>
                  <a:gd name="connsiteY78" fmla="*/ 1131093 h 1288255"/>
                  <a:gd name="connsiteX79" fmla="*/ 1002507 w 1378744"/>
                  <a:gd name="connsiteY79" fmla="*/ 1133475 h 1288255"/>
                  <a:gd name="connsiteX80" fmla="*/ 1028700 w 1378744"/>
                  <a:gd name="connsiteY80" fmla="*/ 1126331 h 1288255"/>
                  <a:gd name="connsiteX81" fmla="*/ 1031082 w 1378744"/>
                  <a:gd name="connsiteY81" fmla="*/ 1097756 h 1288255"/>
                  <a:gd name="connsiteX82" fmla="*/ 1057275 w 1378744"/>
                  <a:gd name="connsiteY82" fmla="*/ 1085850 h 1288255"/>
                  <a:gd name="connsiteX83" fmla="*/ 1076325 w 1378744"/>
                  <a:gd name="connsiteY83" fmla="*/ 1097756 h 1288255"/>
                  <a:gd name="connsiteX84" fmla="*/ 1100138 w 1378744"/>
                  <a:gd name="connsiteY84" fmla="*/ 1107281 h 1288255"/>
                  <a:gd name="connsiteX85" fmla="*/ 1123950 w 1378744"/>
                  <a:gd name="connsiteY85" fmla="*/ 1121568 h 1288255"/>
                  <a:gd name="connsiteX86" fmla="*/ 1143000 w 1378744"/>
                  <a:gd name="connsiteY86" fmla="*/ 1123950 h 1288255"/>
                  <a:gd name="connsiteX87" fmla="*/ 1157288 w 1378744"/>
                  <a:gd name="connsiteY87" fmla="*/ 1112043 h 1288255"/>
                  <a:gd name="connsiteX88" fmla="*/ 1159669 w 1378744"/>
                  <a:gd name="connsiteY88" fmla="*/ 1085850 h 1288255"/>
                  <a:gd name="connsiteX89" fmla="*/ 1166813 w 1378744"/>
                  <a:gd name="connsiteY89" fmla="*/ 1052512 h 1288255"/>
                  <a:gd name="connsiteX90" fmla="*/ 1197769 w 1378744"/>
                  <a:gd name="connsiteY90" fmla="*/ 1016793 h 1288255"/>
                  <a:gd name="connsiteX91" fmla="*/ 1195388 w 1378744"/>
                  <a:gd name="connsiteY91" fmla="*/ 954881 h 1288255"/>
                  <a:gd name="connsiteX92" fmla="*/ 1209675 w 1378744"/>
                  <a:gd name="connsiteY92" fmla="*/ 945356 h 1288255"/>
                  <a:gd name="connsiteX93" fmla="*/ 1235869 w 1378744"/>
                  <a:gd name="connsiteY93" fmla="*/ 945356 h 1288255"/>
                  <a:gd name="connsiteX94" fmla="*/ 1235869 w 1378744"/>
                  <a:gd name="connsiteY94" fmla="*/ 931068 h 1288255"/>
                  <a:gd name="connsiteX95" fmla="*/ 1212057 w 1378744"/>
                  <a:gd name="connsiteY95" fmla="*/ 912018 h 1288255"/>
                  <a:gd name="connsiteX96" fmla="*/ 1195388 w 1378744"/>
                  <a:gd name="connsiteY96" fmla="*/ 881062 h 1288255"/>
                  <a:gd name="connsiteX97" fmla="*/ 1157288 w 1378744"/>
                  <a:gd name="connsiteY97" fmla="*/ 871537 h 1288255"/>
                  <a:gd name="connsiteX98" fmla="*/ 1119188 w 1378744"/>
                  <a:gd name="connsiteY98" fmla="*/ 859631 h 1288255"/>
                  <a:gd name="connsiteX99" fmla="*/ 1119188 w 1378744"/>
                  <a:gd name="connsiteY99" fmla="*/ 831056 h 1288255"/>
                  <a:gd name="connsiteX100" fmla="*/ 1135857 w 1378744"/>
                  <a:gd name="connsiteY100" fmla="*/ 807243 h 1288255"/>
                  <a:gd name="connsiteX101" fmla="*/ 1197769 w 1378744"/>
                  <a:gd name="connsiteY101" fmla="*/ 759618 h 1288255"/>
                  <a:gd name="connsiteX102" fmla="*/ 1247775 w 1378744"/>
                  <a:gd name="connsiteY102" fmla="*/ 762000 h 1288255"/>
                  <a:gd name="connsiteX103" fmla="*/ 1278732 w 1378744"/>
                  <a:gd name="connsiteY103" fmla="*/ 762000 h 1288255"/>
                  <a:gd name="connsiteX104" fmla="*/ 1271588 w 1378744"/>
                  <a:gd name="connsiteY104" fmla="*/ 735806 h 1288255"/>
                  <a:gd name="connsiteX105" fmla="*/ 1378744 w 1378744"/>
                  <a:gd name="connsiteY105" fmla="*/ 678656 h 1288255"/>
                  <a:gd name="connsiteX106" fmla="*/ 1331119 w 1378744"/>
                  <a:gd name="connsiteY106" fmla="*/ 552450 h 1288255"/>
                  <a:gd name="connsiteX107" fmla="*/ 1278732 w 1378744"/>
                  <a:gd name="connsiteY107" fmla="*/ 514350 h 1288255"/>
                  <a:gd name="connsiteX108" fmla="*/ 1252538 w 1378744"/>
                  <a:gd name="connsiteY108" fmla="*/ 431006 h 1288255"/>
                  <a:gd name="connsiteX109" fmla="*/ 1181100 w 1378744"/>
                  <a:gd name="connsiteY109" fmla="*/ 431006 h 1288255"/>
                  <a:gd name="connsiteX110" fmla="*/ 1166813 w 1378744"/>
                  <a:gd name="connsiteY110" fmla="*/ 395287 h 1288255"/>
                  <a:gd name="connsiteX111" fmla="*/ 1107282 w 1378744"/>
                  <a:gd name="connsiteY111" fmla="*/ 421481 h 1288255"/>
                  <a:gd name="connsiteX112" fmla="*/ 1054894 w 1378744"/>
                  <a:gd name="connsiteY112" fmla="*/ 414337 h 1288255"/>
                  <a:gd name="connsiteX113" fmla="*/ 1028700 w 1378744"/>
                  <a:gd name="connsiteY113" fmla="*/ 371475 h 1288255"/>
                  <a:gd name="connsiteX114" fmla="*/ 1023938 w 1378744"/>
                  <a:gd name="connsiteY114" fmla="*/ 288131 h 1288255"/>
                  <a:gd name="connsiteX115" fmla="*/ 1012032 w 1378744"/>
                  <a:gd name="connsiteY115" fmla="*/ 269081 h 1288255"/>
                  <a:gd name="connsiteX116" fmla="*/ 1012032 w 1378744"/>
                  <a:gd name="connsiteY116" fmla="*/ 211931 h 1288255"/>
                  <a:gd name="connsiteX117" fmla="*/ 959644 w 1378744"/>
                  <a:gd name="connsiteY117" fmla="*/ 190500 h 1288255"/>
                  <a:gd name="connsiteX118" fmla="*/ 914400 w 1378744"/>
                  <a:gd name="connsiteY118" fmla="*/ 111918 h 1288255"/>
                  <a:gd name="connsiteX119" fmla="*/ 854869 w 1378744"/>
                  <a:gd name="connsiteY119" fmla="*/ 76200 h 1288255"/>
                  <a:gd name="connsiteX120" fmla="*/ 873919 w 1378744"/>
                  <a:gd name="connsiteY120" fmla="*/ 16668 h 1288255"/>
                  <a:gd name="connsiteX121" fmla="*/ 783432 w 1378744"/>
                  <a:gd name="connsiteY121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81050 w 1378744"/>
                  <a:gd name="connsiteY59" fmla="*/ 1240630 h 1288255"/>
                  <a:gd name="connsiteX60" fmla="*/ 814388 w 1378744"/>
                  <a:gd name="connsiteY60" fmla="*/ 1138237 h 1288255"/>
                  <a:gd name="connsiteX61" fmla="*/ 828675 w 1378744"/>
                  <a:gd name="connsiteY61" fmla="*/ 1109662 h 1288255"/>
                  <a:gd name="connsiteX62" fmla="*/ 833438 w 1378744"/>
                  <a:gd name="connsiteY62" fmla="*/ 1085850 h 1288255"/>
                  <a:gd name="connsiteX63" fmla="*/ 797719 w 1378744"/>
                  <a:gd name="connsiteY63" fmla="*/ 1059656 h 1288255"/>
                  <a:gd name="connsiteX64" fmla="*/ 790575 w 1378744"/>
                  <a:gd name="connsiteY64" fmla="*/ 1038225 h 1288255"/>
                  <a:gd name="connsiteX65" fmla="*/ 790575 w 1378744"/>
                  <a:gd name="connsiteY65" fmla="*/ 1021556 h 1288255"/>
                  <a:gd name="connsiteX66" fmla="*/ 845344 w 1378744"/>
                  <a:gd name="connsiteY66" fmla="*/ 952500 h 1288255"/>
                  <a:gd name="connsiteX67" fmla="*/ 845344 w 1378744"/>
                  <a:gd name="connsiteY67" fmla="*/ 952500 h 1288255"/>
                  <a:gd name="connsiteX68" fmla="*/ 888207 w 1378744"/>
                  <a:gd name="connsiteY68" fmla="*/ 966787 h 1288255"/>
                  <a:gd name="connsiteX69" fmla="*/ 907257 w 1378744"/>
                  <a:gd name="connsiteY69" fmla="*/ 981075 h 1288255"/>
                  <a:gd name="connsiteX70" fmla="*/ 938213 w 1378744"/>
                  <a:gd name="connsiteY70" fmla="*/ 990600 h 1288255"/>
                  <a:gd name="connsiteX71" fmla="*/ 964407 w 1378744"/>
                  <a:gd name="connsiteY71" fmla="*/ 985837 h 1288255"/>
                  <a:gd name="connsiteX72" fmla="*/ 985838 w 1378744"/>
                  <a:gd name="connsiteY72" fmla="*/ 985837 h 1288255"/>
                  <a:gd name="connsiteX73" fmla="*/ 995363 w 1378744"/>
                  <a:gd name="connsiteY73" fmla="*/ 995362 h 1288255"/>
                  <a:gd name="connsiteX74" fmla="*/ 978694 w 1378744"/>
                  <a:gd name="connsiteY74" fmla="*/ 1012031 h 1288255"/>
                  <a:gd name="connsiteX75" fmla="*/ 969169 w 1378744"/>
                  <a:gd name="connsiteY75" fmla="*/ 1031081 h 1288255"/>
                  <a:gd name="connsiteX76" fmla="*/ 954882 w 1378744"/>
                  <a:gd name="connsiteY76" fmla="*/ 1054893 h 1288255"/>
                  <a:gd name="connsiteX77" fmla="*/ 950119 w 1378744"/>
                  <a:gd name="connsiteY77" fmla="*/ 1083468 h 1288255"/>
                  <a:gd name="connsiteX78" fmla="*/ 962025 w 1378744"/>
                  <a:gd name="connsiteY78" fmla="*/ 1107281 h 1288255"/>
                  <a:gd name="connsiteX79" fmla="*/ 983457 w 1378744"/>
                  <a:gd name="connsiteY79" fmla="*/ 1131093 h 1288255"/>
                  <a:gd name="connsiteX80" fmla="*/ 1002507 w 1378744"/>
                  <a:gd name="connsiteY80" fmla="*/ 1133475 h 1288255"/>
                  <a:gd name="connsiteX81" fmla="*/ 1028700 w 1378744"/>
                  <a:gd name="connsiteY81" fmla="*/ 1126331 h 1288255"/>
                  <a:gd name="connsiteX82" fmla="*/ 1031082 w 1378744"/>
                  <a:gd name="connsiteY82" fmla="*/ 1097756 h 1288255"/>
                  <a:gd name="connsiteX83" fmla="*/ 1057275 w 1378744"/>
                  <a:gd name="connsiteY83" fmla="*/ 1085850 h 1288255"/>
                  <a:gd name="connsiteX84" fmla="*/ 1076325 w 1378744"/>
                  <a:gd name="connsiteY84" fmla="*/ 1097756 h 1288255"/>
                  <a:gd name="connsiteX85" fmla="*/ 1100138 w 1378744"/>
                  <a:gd name="connsiteY85" fmla="*/ 1107281 h 1288255"/>
                  <a:gd name="connsiteX86" fmla="*/ 1123950 w 1378744"/>
                  <a:gd name="connsiteY86" fmla="*/ 1121568 h 1288255"/>
                  <a:gd name="connsiteX87" fmla="*/ 1143000 w 1378744"/>
                  <a:gd name="connsiteY87" fmla="*/ 1123950 h 1288255"/>
                  <a:gd name="connsiteX88" fmla="*/ 1157288 w 1378744"/>
                  <a:gd name="connsiteY88" fmla="*/ 1112043 h 1288255"/>
                  <a:gd name="connsiteX89" fmla="*/ 1159669 w 1378744"/>
                  <a:gd name="connsiteY89" fmla="*/ 1085850 h 1288255"/>
                  <a:gd name="connsiteX90" fmla="*/ 1166813 w 1378744"/>
                  <a:gd name="connsiteY90" fmla="*/ 1052512 h 1288255"/>
                  <a:gd name="connsiteX91" fmla="*/ 1197769 w 1378744"/>
                  <a:gd name="connsiteY91" fmla="*/ 1016793 h 1288255"/>
                  <a:gd name="connsiteX92" fmla="*/ 1195388 w 1378744"/>
                  <a:gd name="connsiteY92" fmla="*/ 954881 h 1288255"/>
                  <a:gd name="connsiteX93" fmla="*/ 1209675 w 1378744"/>
                  <a:gd name="connsiteY93" fmla="*/ 945356 h 1288255"/>
                  <a:gd name="connsiteX94" fmla="*/ 1235869 w 1378744"/>
                  <a:gd name="connsiteY94" fmla="*/ 945356 h 1288255"/>
                  <a:gd name="connsiteX95" fmla="*/ 1235869 w 1378744"/>
                  <a:gd name="connsiteY95" fmla="*/ 931068 h 1288255"/>
                  <a:gd name="connsiteX96" fmla="*/ 1212057 w 1378744"/>
                  <a:gd name="connsiteY96" fmla="*/ 912018 h 1288255"/>
                  <a:gd name="connsiteX97" fmla="*/ 1195388 w 1378744"/>
                  <a:gd name="connsiteY97" fmla="*/ 881062 h 1288255"/>
                  <a:gd name="connsiteX98" fmla="*/ 1157288 w 1378744"/>
                  <a:gd name="connsiteY98" fmla="*/ 871537 h 1288255"/>
                  <a:gd name="connsiteX99" fmla="*/ 1119188 w 1378744"/>
                  <a:gd name="connsiteY99" fmla="*/ 859631 h 1288255"/>
                  <a:gd name="connsiteX100" fmla="*/ 1119188 w 1378744"/>
                  <a:gd name="connsiteY100" fmla="*/ 831056 h 1288255"/>
                  <a:gd name="connsiteX101" fmla="*/ 1135857 w 1378744"/>
                  <a:gd name="connsiteY101" fmla="*/ 807243 h 1288255"/>
                  <a:gd name="connsiteX102" fmla="*/ 1197769 w 1378744"/>
                  <a:gd name="connsiteY102" fmla="*/ 759618 h 1288255"/>
                  <a:gd name="connsiteX103" fmla="*/ 1247775 w 1378744"/>
                  <a:gd name="connsiteY103" fmla="*/ 762000 h 1288255"/>
                  <a:gd name="connsiteX104" fmla="*/ 1278732 w 1378744"/>
                  <a:gd name="connsiteY104" fmla="*/ 762000 h 1288255"/>
                  <a:gd name="connsiteX105" fmla="*/ 1271588 w 1378744"/>
                  <a:gd name="connsiteY105" fmla="*/ 735806 h 1288255"/>
                  <a:gd name="connsiteX106" fmla="*/ 1378744 w 1378744"/>
                  <a:gd name="connsiteY106" fmla="*/ 678656 h 1288255"/>
                  <a:gd name="connsiteX107" fmla="*/ 1331119 w 1378744"/>
                  <a:gd name="connsiteY107" fmla="*/ 552450 h 1288255"/>
                  <a:gd name="connsiteX108" fmla="*/ 1278732 w 1378744"/>
                  <a:gd name="connsiteY108" fmla="*/ 514350 h 1288255"/>
                  <a:gd name="connsiteX109" fmla="*/ 1252538 w 1378744"/>
                  <a:gd name="connsiteY109" fmla="*/ 431006 h 1288255"/>
                  <a:gd name="connsiteX110" fmla="*/ 1181100 w 1378744"/>
                  <a:gd name="connsiteY110" fmla="*/ 431006 h 1288255"/>
                  <a:gd name="connsiteX111" fmla="*/ 1166813 w 1378744"/>
                  <a:gd name="connsiteY111" fmla="*/ 395287 h 1288255"/>
                  <a:gd name="connsiteX112" fmla="*/ 1107282 w 1378744"/>
                  <a:gd name="connsiteY112" fmla="*/ 421481 h 1288255"/>
                  <a:gd name="connsiteX113" fmla="*/ 1054894 w 1378744"/>
                  <a:gd name="connsiteY113" fmla="*/ 414337 h 1288255"/>
                  <a:gd name="connsiteX114" fmla="*/ 1028700 w 1378744"/>
                  <a:gd name="connsiteY114" fmla="*/ 371475 h 1288255"/>
                  <a:gd name="connsiteX115" fmla="*/ 1023938 w 1378744"/>
                  <a:gd name="connsiteY115" fmla="*/ 288131 h 1288255"/>
                  <a:gd name="connsiteX116" fmla="*/ 1012032 w 1378744"/>
                  <a:gd name="connsiteY116" fmla="*/ 269081 h 1288255"/>
                  <a:gd name="connsiteX117" fmla="*/ 1012032 w 1378744"/>
                  <a:gd name="connsiteY117" fmla="*/ 211931 h 1288255"/>
                  <a:gd name="connsiteX118" fmla="*/ 959644 w 1378744"/>
                  <a:gd name="connsiteY118" fmla="*/ 190500 h 1288255"/>
                  <a:gd name="connsiteX119" fmla="*/ 914400 w 1378744"/>
                  <a:gd name="connsiteY119" fmla="*/ 111918 h 1288255"/>
                  <a:gd name="connsiteX120" fmla="*/ 854869 w 1378744"/>
                  <a:gd name="connsiteY120" fmla="*/ 76200 h 1288255"/>
                  <a:gd name="connsiteX121" fmla="*/ 873919 w 1378744"/>
                  <a:gd name="connsiteY121" fmla="*/ 16668 h 1288255"/>
                  <a:gd name="connsiteX122" fmla="*/ 783432 w 1378744"/>
                  <a:gd name="connsiteY122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828675 w 1378744"/>
                  <a:gd name="connsiteY61" fmla="*/ 1109662 h 1288255"/>
                  <a:gd name="connsiteX62" fmla="*/ 833438 w 1378744"/>
                  <a:gd name="connsiteY62" fmla="*/ 1085850 h 1288255"/>
                  <a:gd name="connsiteX63" fmla="*/ 797719 w 1378744"/>
                  <a:gd name="connsiteY63" fmla="*/ 1059656 h 1288255"/>
                  <a:gd name="connsiteX64" fmla="*/ 790575 w 1378744"/>
                  <a:gd name="connsiteY64" fmla="*/ 1038225 h 1288255"/>
                  <a:gd name="connsiteX65" fmla="*/ 790575 w 1378744"/>
                  <a:gd name="connsiteY65" fmla="*/ 1021556 h 1288255"/>
                  <a:gd name="connsiteX66" fmla="*/ 845344 w 1378744"/>
                  <a:gd name="connsiteY66" fmla="*/ 952500 h 1288255"/>
                  <a:gd name="connsiteX67" fmla="*/ 845344 w 1378744"/>
                  <a:gd name="connsiteY67" fmla="*/ 952500 h 1288255"/>
                  <a:gd name="connsiteX68" fmla="*/ 888207 w 1378744"/>
                  <a:gd name="connsiteY68" fmla="*/ 966787 h 1288255"/>
                  <a:gd name="connsiteX69" fmla="*/ 907257 w 1378744"/>
                  <a:gd name="connsiteY69" fmla="*/ 981075 h 1288255"/>
                  <a:gd name="connsiteX70" fmla="*/ 938213 w 1378744"/>
                  <a:gd name="connsiteY70" fmla="*/ 990600 h 1288255"/>
                  <a:gd name="connsiteX71" fmla="*/ 964407 w 1378744"/>
                  <a:gd name="connsiteY71" fmla="*/ 985837 h 1288255"/>
                  <a:gd name="connsiteX72" fmla="*/ 985838 w 1378744"/>
                  <a:gd name="connsiteY72" fmla="*/ 985837 h 1288255"/>
                  <a:gd name="connsiteX73" fmla="*/ 995363 w 1378744"/>
                  <a:gd name="connsiteY73" fmla="*/ 995362 h 1288255"/>
                  <a:gd name="connsiteX74" fmla="*/ 978694 w 1378744"/>
                  <a:gd name="connsiteY74" fmla="*/ 1012031 h 1288255"/>
                  <a:gd name="connsiteX75" fmla="*/ 969169 w 1378744"/>
                  <a:gd name="connsiteY75" fmla="*/ 1031081 h 1288255"/>
                  <a:gd name="connsiteX76" fmla="*/ 954882 w 1378744"/>
                  <a:gd name="connsiteY76" fmla="*/ 1054893 h 1288255"/>
                  <a:gd name="connsiteX77" fmla="*/ 950119 w 1378744"/>
                  <a:gd name="connsiteY77" fmla="*/ 1083468 h 1288255"/>
                  <a:gd name="connsiteX78" fmla="*/ 962025 w 1378744"/>
                  <a:gd name="connsiteY78" fmla="*/ 1107281 h 1288255"/>
                  <a:gd name="connsiteX79" fmla="*/ 983457 w 1378744"/>
                  <a:gd name="connsiteY79" fmla="*/ 1131093 h 1288255"/>
                  <a:gd name="connsiteX80" fmla="*/ 1002507 w 1378744"/>
                  <a:gd name="connsiteY80" fmla="*/ 1133475 h 1288255"/>
                  <a:gd name="connsiteX81" fmla="*/ 1028700 w 1378744"/>
                  <a:gd name="connsiteY81" fmla="*/ 1126331 h 1288255"/>
                  <a:gd name="connsiteX82" fmla="*/ 1031082 w 1378744"/>
                  <a:gd name="connsiteY82" fmla="*/ 1097756 h 1288255"/>
                  <a:gd name="connsiteX83" fmla="*/ 1057275 w 1378744"/>
                  <a:gd name="connsiteY83" fmla="*/ 1085850 h 1288255"/>
                  <a:gd name="connsiteX84" fmla="*/ 1076325 w 1378744"/>
                  <a:gd name="connsiteY84" fmla="*/ 1097756 h 1288255"/>
                  <a:gd name="connsiteX85" fmla="*/ 1100138 w 1378744"/>
                  <a:gd name="connsiteY85" fmla="*/ 1107281 h 1288255"/>
                  <a:gd name="connsiteX86" fmla="*/ 1123950 w 1378744"/>
                  <a:gd name="connsiteY86" fmla="*/ 1121568 h 1288255"/>
                  <a:gd name="connsiteX87" fmla="*/ 1143000 w 1378744"/>
                  <a:gd name="connsiteY87" fmla="*/ 1123950 h 1288255"/>
                  <a:gd name="connsiteX88" fmla="*/ 1157288 w 1378744"/>
                  <a:gd name="connsiteY88" fmla="*/ 1112043 h 1288255"/>
                  <a:gd name="connsiteX89" fmla="*/ 1159669 w 1378744"/>
                  <a:gd name="connsiteY89" fmla="*/ 1085850 h 1288255"/>
                  <a:gd name="connsiteX90" fmla="*/ 1166813 w 1378744"/>
                  <a:gd name="connsiteY90" fmla="*/ 1052512 h 1288255"/>
                  <a:gd name="connsiteX91" fmla="*/ 1197769 w 1378744"/>
                  <a:gd name="connsiteY91" fmla="*/ 1016793 h 1288255"/>
                  <a:gd name="connsiteX92" fmla="*/ 1195388 w 1378744"/>
                  <a:gd name="connsiteY92" fmla="*/ 954881 h 1288255"/>
                  <a:gd name="connsiteX93" fmla="*/ 1209675 w 1378744"/>
                  <a:gd name="connsiteY93" fmla="*/ 945356 h 1288255"/>
                  <a:gd name="connsiteX94" fmla="*/ 1235869 w 1378744"/>
                  <a:gd name="connsiteY94" fmla="*/ 945356 h 1288255"/>
                  <a:gd name="connsiteX95" fmla="*/ 1235869 w 1378744"/>
                  <a:gd name="connsiteY95" fmla="*/ 931068 h 1288255"/>
                  <a:gd name="connsiteX96" fmla="*/ 1212057 w 1378744"/>
                  <a:gd name="connsiteY96" fmla="*/ 912018 h 1288255"/>
                  <a:gd name="connsiteX97" fmla="*/ 1195388 w 1378744"/>
                  <a:gd name="connsiteY97" fmla="*/ 881062 h 1288255"/>
                  <a:gd name="connsiteX98" fmla="*/ 1157288 w 1378744"/>
                  <a:gd name="connsiteY98" fmla="*/ 871537 h 1288255"/>
                  <a:gd name="connsiteX99" fmla="*/ 1119188 w 1378744"/>
                  <a:gd name="connsiteY99" fmla="*/ 859631 h 1288255"/>
                  <a:gd name="connsiteX100" fmla="*/ 1119188 w 1378744"/>
                  <a:gd name="connsiteY100" fmla="*/ 831056 h 1288255"/>
                  <a:gd name="connsiteX101" fmla="*/ 1135857 w 1378744"/>
                  <a:gd name="connsiteY101" fmla="*/ 807243 h 1288255"/>
                  <a:gd name="connsiteX102" fmla="*/ 1197769 w 1378744"/>
                  <a:gd name="connsiteY102" fmla="*/ 759618 h 1288255"/>
                  <a:gd name="connsiteX103" fmla="*/ 1247775 w 1378744"/>
                  <a:gd name="connsiteY103" fmla="*/ 762000 h 1288255"/>
                  <a:gd name="connsiteX104" fmla="*/ 1278732 w 1378744"/>
                  <a:gd name="connsiteY104" fmla="*/ 762000 h 1288255"/>
                  <a:gd name="connsiteX105" fmla="*/ 1271588 w 1378744"/>
                  <a:gd name="connsiteY105" fmla="*/ 735806 h 1288255"/>
                  <a:gd name="connsiteX106" fmla="*/ 1378744 w 1378744"/>
                  <a:gd name="connsiteY106" fmla="*/ 678656 h 1288255"/>
                  <a:gd name="connsiteX107" fmla="*/ 1331119 w 1378744"/>
                  <a:gd name="connsiteY107" fmla="*/ 552450 h 1288255"/>
                  <a:gd name="connsiteX108" fmla="*/ 1278732 w 1378744"/>
                  <a:gd name="connsiteY108" fmla="*/ 514350 h 1288255"/>
                  <a:gd name="connsiteX109" fmla="*/ 1252538 w 1378744"/>
                  <a:gd name="connsiteY109" fmla="*/ 431006 h 1288255"/>
                  <a:gd name="connsiteX110" fmla="*/ 1181100 w 1378744"/>
                  <a:gd name="connsiteY110" fmla="*/ 431006 h 1288255"/>
                  <a:gd name="connsiteX111" fmla="*/ 1166813 w 1378744"/>
                  <a:gd name="connsiteY111" fmla="*/ 395287 h 1288255"/>
                  <a:gd name="connsiteX112" fmla="*/ 1107282 w 1378744"/>
                  <a:gd name="connsiteY112" fmla="*/ 421481 h 1288255"/>
                  <a:gd name="connsiteX113" fmla="*/ 1054894 w 1378744"/>
                  <a:gd name="connsiteY113" fmla="*/ 414337 h 1288255"/>
                  <a:gd name="connsiteX114" fmla="*/ 1028700 w 1378744"/>
                  <a:gd name="connsiteY114" fmla="*/ 371475 h 1288255"/>
                  <a:gd name="connsiteX115" fmla="*/ 1023938 w 1378744"/>
                  <a:gd name="connsiteY115" fmla="*/ 288131 h 1288255"/>
                  <a:gd name="connsiteX116" fmla="*/ 1012032 w 1378744"/>
                  <a:gd name="connsiteY116" fmla="*/ 269081 h 1288255"/>
                  <a:gd name="connsiteX117" fmla="*/ 1012032 w 1378744"/>
                  <a:gd name="connsiteY117" fmla="*/ 211931 h 1288255"/>
                  <a:gd name="connsiteX118" fmla="*/ 959644 w 1378744"/>
                  <a:gd name="connsiteY118" fmla="*/ 190500 h 1288255"/>
                  <a:gd name="connsiteX119" fmla="*/ 914400 w 1378744"/>
                  <a:gd name="connsiteY119" fmla="*/ 111918 h 1288255"/>
                  <a:gd name="connsiteX120" fmla="*/ 854869 w 1378744"/>
                  <a:gd name="connsiteY120" fmla="*/ 76200 h 1288255"/>
                  <a:gd name="connsiteX121" fmla="*/ 873919 w 1378744"/>
                  <a:gd name="connsiteY121" fmla="*/ 16668 h 1288255"/>
                  <a:gd name="connsiteX122" fmla="*/ 783432 w 1378744"/>
                  <a:gd name="connsiteY122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88194 w 1378744"/>
                  <a:gd name="connsiteY61" fmla="*/ 1193005 h 1288255"/>
                  <a:gd name="connsiteX62" fmla="*/ 828675 w 1378744"/>
                  <a:gd name="connsiteY62" fmla="*/ 1109662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12007 w 1378744"/>
                  <a:gd name="connsiteY63" fmla="*/ 1171574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00101 w 1378744"/>
                  <a:gd name="connsiteY60" fmla="*/ 1142999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21532 w 1378744"/>
                  <a:gd name="connsiteY63" fmla="*/ 1133474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23914 w 1378744"/>
                  <a:gd name="connsiteY63" fmla="*/ 1147762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1378744" h="1288255">
                    <a:moveTo>
                      <a:pt x="783432" y="0"/>
                    </a:moveTo>
                    <a:lnTo>
                      <a:pt x="738188" y="26193"/>
                    </a:lnTo>
                    <a:lnTo>
                      <a:pt x="685800" y="28575"/>
                    </a:lnTo>
                    <a:lnTo>
                      <a:pt x="635794" y="73818"/>
                    </a:lnTo>
                    <a:lnTo>
                      <a:pt x="633413" y="114300"/>
                    </a:lnTo>
                    <a:lnTo>
                      <a:pt x="561975" y="190500"/>
                    </a:lnTo>
                    <a:lnTo>
                      <a:pt x="519113" y="214312"/>
                    </a:lnTo>
                    <a:lnTo>
                      <a:pt x="485775" y="252412"/>
                    </a:lnTo>
                    <a:lnTo>
                      <a:pt x="461963" y="273843"/>
                    </a:lnTo>
                    <a:lnTo>
                      <a:pt x="423863" y="333375"/>
                    </a:lnTo>
                    <a:lnTo>
                      <a:pt x="378619" y="357187"/>
                    </a:lnTo>
                    <a:lnTo>
                      <a:pt x="292894" y="376237"/>
                    </a:lnTo>
                    <a:lnTo>
                      <a:pt x="264319" y="373856"/>
                    </a:lnTo>
                    <a:lnTo>
                      <a:pt x="240507" y="359568"/>
                    </a:lnTo>
                    <a:lnTo>
                      <a:pt x="226219" y="338137"/>
                    </a:lnTo>
                    <a:lnTo>
                      <a:pt x="219075" y="311943"/>
                    </a:lnTo>
                    <a:lnTo>
                      <a:pt x="204788" y="309562"/>
                    </a:lnTo>
                    <a:lnTo>
                      <a:pt x="188119" y="304800"/>
                    </a:lnTo>
                    <a:lnTo>
                      <a:pt x="173832" y="302418"/>
                    </a:lnTo>
                    <a:lnTo>
                      <a:pt x="128588" y="352425"/>
                    </a:lnTo>
                    <a:lnTo>
                      <a:pt x="97632" y="371475"/>
                    </a:lnTo>
                    <a:lnTo>
                      <a:pt x="80963" y="390525"/>
                    </a:lnTo>
                    <a:lnTo>
                      <a:pt x="66675" y="435768"/>
                    </a:lnTo>
                    <a:lnTo>
                      <a:pt x="54769" y="447675"/>
                    </a:lnTo>
                    <a:lnTo>
                      <a:pt x="9525" y="466725"/>
                    </a:lnTo>
                    <a:lnTo>
                      <a:pt x="2382" y="481012"/>
                    </a:lnTo>
                    <a:lnTo>
                      <a:pt x="4763" y="533400"/>
                    </a:lnTo>
                    <a:lnTo>
                      <a:pt x="0" y="545306"/>
                    </a:lnTo>
                    <a:lnTo>
                      <a:pt x="73819" y="588168"/>
                    </a:lnTo>
                    <a:lnTo>
                      <a:pt x="90488" y="628650"/>
                    </a:lnTo>
                    <a:lnTo>
                      <a:pt x="83344" y="654843"/>
                    </a:lnTo>
                    <a:lnTo>
                      <a:pt x="73819" y="697706"/>
                    </a:lnTo>
                    <a:lnTo>
                      <a:pt x="78582" y="726281"/>
                    </a:lnTo>
                    <a:lnTo>
                      <a:pt x="95250" y="738187"/>
                    </a:lnTo>
                    <a:lnTo>
                      <a:pt x="116682" y="735806"/>
                    </a:lnTo>
                    <a:lnTo>
                      <a:pt x="123825" y="762000"/>
                    </a:lnTo>
                    <a:lnTo>
                      <a:pt x="126207" y="783431"/>
                    </a:lnTo>
                    <a:lnTo>
                      <a:pt x="152400" y="812006"/>
                    </a:lnTo>
                    <a:lnTo>
                      <a:pt x="164307" y="823912"/>
                    </a:lnTo>
                    <a:lnTo>
                      <a:pt x="173832" y="850106"/>
                    </a:lnTo>
                    <a:lnTo>
                      <a:pt x="169069" y="878681"/>
                    </a:lnTo>
                    <a:lnTo>
                      <a:pt x="176213" y="897731"/>
                    </a:lnTo>
                    <a:lnTo>
                      <a:pt x="200025" y="916781"/>
                    </a:lnTo>
                    <a:lnTo>
                      <a:pt x="226219" y="916781"/>
                    </a:lnTo>
                    <a:lnTo>
                      <a:pt x="300038" y="921543"/>
                    </a:lnTo>
                    <a:lnTo>
                      <a:pt x="395288" y="952500"/>
                    </a:lnTo>
                    <a:lnTo>
                      <a:pt x="414338" y="988218"/>
                    </a:lnTo>
                    <a:lnTo>
                      <a:pt x="435769" y="992981"/>
                    </a:lnTo>
                    <a:lnTo>
                      <a:pt x="464344" y="995362"/>
                    </a:lnTo>
                    <a:lnTo>
                      <a:pt x="507207" y="1026318"/>
                    </a:lnTo>
                    <a:lnTo>
                      <a:pt x="521494" y="1069181"/>
                    </a:lnTo>
                    <a:lnTo>
                      <a:pt x="545307" y="1107281"/>
                    </a:lnTo>
                    <a:lnTo>
                      <a:pt x="573882" y="1121568"/>
                    </a:lnTo>
                    <a:lnTo>
                      <a:pt x="585788" y="1131093"/>
                    </a:lnTo>
                    <a:lnTo>
                      <a:pt x="597694" y="1181100"/>
                    </a:lnTo>
                    <a:lnTo>
                      <a:pt x="633413" y="1250156"/>
                    </a:lnTo>
                    <a:lnTo>
                      <a:pt x="692944" y="1278730"/>
                    </a:lnTo>
                    <a:lnTo>
                      <a:pt x="728663" y="1288255"/>
                    </a:lnTo>
                    <a:lnTo>
                      <a:pt x="771525" y="1269205"/>
                    </a:lnTo>
                    <a:lnTo>
                      <a:pt x="771525" y="1235868"/>
                    </a:lnTo>
                    <a:lnTo>
                      <a:pt x="795338" y="1209674"/>
                    </a:lnTo>
                    <a:cubicBezTo>
                      <a:pt x="795338" y="1210468"/>
                      <a:pt x="795337" y="1211261"/>
                      <a:pt x="795337" y="1212055"/>
                    </a:cubicBezTo>
                    <a:lnTo>
                      <a:pt x="809625" y="1197768"/>
                    </a:lnTo>
                    <a:lnTo>
                      <a:pt x="823914" y="1147762"/>
                    </a:lnTo>
                    <a:lnTo>
                      <a:pt x="833438" y="1085850"/>
                    </a:lnTo>
                    <a:lnTo>
                      <a:pt x="797719" y="1059656"/>
                    </a:lnTo>
                    <a:lnTo>
                      <a:pt x="790575" y="1038225"/>
                    </a:lnTo>
                    <a:lnTo>
                      <a:pt x="790575" y="1021556"/>
                    </a:lnTo>
                    <a:lnTo>
                      <a:pt x="845344" y="952500"/>
                    </a:lnTo>
                    <a:lnTo>
                      <a:pt x="845344" y="952500"/>
                    </a:lnTo>
                    <a:lnTo>
                      <a:pt x="888207" y="966787"/>
                    </a:lnTo>
                    <a:lnTo>
                      <a:pt x="907257" y="981075"/>
                    </a:lnTo>
                    <a:lnTo>
                      <a:pt x="938213" y="990600"/>
                    </a:lnTo>
                    <a:lnTo>
                      <a:pt x="964407" y="985837"/>
                    </a:lnTo>
                    <a:lnTo>
                      <a:pt x="985838" y="985837"/>
                    </a:lnTo>
                    <a:lnTo>
                      <a:pt x="995363" y="995362"/>
                    </a:lnTo>
                    <a:lnTo>
                      <a:pt x="978694" y="1012031"/>
                    </a:lnTo>
                    <a:lnTo>
                      <a:pt x="969169" y="1031081"/>
                    </a:lnTo>
                    <a:lnTo>
                      <a:pt x="954882" y="1054893"/>
                    </a:lnTo>
                    <a:lnTo>
                      <a:pt x="950119" y="1083468"/>
                    </a:lnTo>
                    <a:lnTo>
                      <a:pt x="962025" y="1107281"/>
                    </a:lnTo>
                    <a:lnTo>
                      <a:pt x="983457" y="1131093"/>
                    </a:lnTo>
                    <a:lnTo>
                      <a:pt x="1002507" y="1133475"/>
                    </a:lnTo>
                    <a:lnTo>
                      <a:pt x="1028700" y="1126331"/>
                    </a:lnTo>
                    <a:lnTo>
                      <a:pt x="1031082" y="1097756"/>
                    </a:lnTo>
                    <a:lnTo>
                      <a:pt x="1057275" y="1085850"/>
                    </a:lnTo>
                    <a:lnTo>
                      <a:pt x="1076325" y="1097756"/>
                    </a:lnTo>
                    <a:lnTo>
                      <a:pt x="1100138" y="1107281"/>
                    </a:lnTo>
                    <a:lnTo>
                      <a:pt x="1123950" y="1121568"/>
                    </a:lnTo>
                    <a:lnTo>
                      <a:pt x="1143000" y="1123950"/>
                    </a:lnTo>
                    <a:lnTo>
                      <a:pt x="1157288" y="1112043"/>
                    </a:lnTo>
                    <a:lnTo>
                      <a:pt x="1159669" y="1085850"/>
                    </a:lnTo>
                    <a:lnTo>
                      <a:pt x="1166813" y="1052512"/>
                    </a:lnTo>
                    <a:lnTo>
                      <a:pt x="1197769" y="1016793"/>
                    </a:lnTo>
                    <a:cubicBezTo>
                      <a:pt x="1196975" y="996156"/>
                      <a:pt x="1196182" y="975518"/>
                      <a:pt x="1195388" y="954881"/>
                    </a:cubicBezTo>
                    <a:lnTo>
                      <a:pt x="1209675" y="945356"/>
                    </a:lnTo>
                    <a:lnTo>
                      <a:pt x="1235869" y="945356"/>
                    </a:lnTo>
                    <a:lnTo>
                      <a:pt x="1235869" y="931068"/>
                    </a:lnTo>
                    <a:lnTo>
                      <a:pt x="1212057" y="912018"/>
                    </a:lnTo>
                    <a:lnTo>
                      <a:pt x="1195388" y="881062"/>
                    </a:lnTo>
                    <a:lnTo>
                      <a:pt x="1157288" y="871537"/>
                    </a:lnTo>
                    <a:lnTo>
                      <a:pt x="1119188" y="859631"/>
                    </a:lnTo>
                    <a:lnTo>
                      <a:pt x="1119188" y="831056"/>
                    </a:lnTo>
                    <a:lnTo>
                      <a:pt x="1135857" y="807243"/>
                    </a:lnTo>
                    <a:lnTo>
                      <a:pt x="1197769" y="759618"/>
                    </a:lnTo>
                    <a:lnTo>
                      <a:pt x="1247775" y="762000"/>
                    </a:lnTo>
                    <a:lnTo>
                      <a:pt x="1278732" y="762000"/>
                    </a:lnTo>
                    <a:lnTo>
                      <a:pt x="1271588" y="735806"/>
                    </a:lnTo>
                    <a:lnTo>
                      <a:pt x="1378744" y="678656"/>
                    </a:lnTo>
                    <a:lnTo>
                      <a:pt x="1331119" y="552450"/>
                    </a:lnTo>
                    <a:lnTo>
                      <a:pt x="1278732" y="514350"/>
                    </a:lnTo>
                    <a:lnTo>
                      <a:pt x="1252538" y="431006"/>
                    </a:lnTo>
                    <a:lnTo>
                      <a:pt x="1181100" y="431006"/>
                    </a:lnTo>
                    <a:lnTo>
                      <a:pt x="1166813" y="395287"/>
                    </a:lnTo>
                    <a:lnTo>
                      <a:pt x="1107282" y="421481"/>
                    </a:lnTo>
                    <a:lnTo>
                      <a:pt x="1054894" y="414337"/>
                    </a:lnTo>
                    <a:lnTo>
                      <a:pt x="1028700" y="371475"/>
                    </a:lnTo>
                    <a:lnTo>
                      <a:pt x="1023938" y="288131"/>
                    </a:lnTo>
                    <a:lnTo>
                      <a:pt x="1012032" y="269081"/>
                    </a:lnTo>
                    <a:lnTo>
                      <a:pt x="1012032" y="211931"/>
                    </a:lnTo>
                    <a:lnTo>
                      <a:pt x="959644" y="190500"/>
                    </a:lnTo>
                    <a:lnTo>
                      <a:pt x="914400" y="111918"/>
                    </a:lnTo>
                    <a:lnTo>
                      <a:pt x="854869" y="76200"/>
                    </a:lnTo>
                    <a:lnTo>
                      <a:pt x="873919" y="16668"/>
                    </a:lnTo>
                    <a:lnTo>
                      <a:pt x="783432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362">
                <a:extLst>
                  <a:ext uri="{FF2B5EF4-FFF2-40B4-BE49-F238E27FC236}">
                    <a16:creationId xmlns:a16="http://schemas.microsoft.com/office/drawing/2014/main" id="{E536960E-7F26-4D5B-E608-DBEE0A5D0902}"/>
                  </a:ext>
                </a:extLst>
              </p:cNvPr>
              <p:cNvSpPr/>
              <p:nvPr/>
            </p:nvSpPr>
            <p:spPr>
              <a:xfrm rot="21396613">
                <a:off x="1633141" y="2640527"/>
                <a:ext cx="1735581" cy="1107109"/>
              </a:xfrm>
              <a:custGeom>
                <a:avLst/>
                <a:gdLst>
                  <a:gd name="connsiteX0" fmla="*/ 33338 w 1583531"/>
                  <a:gd name="connsiteY0" fmla="*/ 840582 h 1038225"/>
                  <a:gd name="connsiteX1" fmla="*/ 116681 w 1583531"/>
                  <a:gd name="connsiteY1" fmla="*/ 862013 h 1038225"/>
                  <a:gd name="connsiteX2" fmla="*/ 126206 w 1583531"/>
                  <a:gd name="connsiteY2" fmla="*/ 878682 h 1038225"/>
                  <a:gd name="connsiteX3" fmla="*/ 123825 w 1583531"/>
                  <a:gd name="connsiteY3" fmla="*/ 935832 h 1038225"/>
                  <a:gd name="connsiteX4" fmla="*/ 130969 w 1583531"/>
                  <a:gd name="connsiteY4" fmla="*/ 942975 h 1038225"/>
                  <a:gd name="connsiteX5" fmla="*/ 188119 w 1583531"/>
                  <a:gd name="connsiteY5" fmla="*/ 964407 h 1038225"/>
                  <a:gd name="connsiteX6" fmla="*/ 204788 w 1583531"/>
                  <a:gd name="connsiteY6" fmla="*/ 997744 h 1038225"/>
                  <a:gd name="connsiteX7" fmla="*/ 228600 w 1583531"/>
                  <a:gd name="connsiteY7" fmla="*/ 1002507 h 1038225"/>
                  <a:gd name="connsiteX8" fmla="*/ 250031 w 1583531"/>
                  <a:gd name="connsiteY8" fmla="*/ 990600 h 1038225"/>
                  <a:gd name="connsiteX9" fmla="*/ 278606 w 1583531"/>
                  <a:gd name="connsiteY9" fmla="*/ 973932 h 1038225"/>
                  <a:gd name="connsiteX10" fmla="*/ 300038 w 1583531"/>
                  <a:gd name="connsiteY10" fmla="*/ 981075 h 1038225"/>
                  <a:gd name="connsiteX11" fmla="*/ 316706 w 1583531"/>
                  <a:gd name="connsiteY11" fmla="*/ 1004888 h 1038225"/>
                  <a:gd name="connsiteX12" fmla="*/ 326231 w 1583531"/>
                  <a:gd name="connsiteY12" fmla="*/ 1023938 h 1038225"/>
                  <a:gd name="connsiteX13" fmla="*/ 347663 w 1583531"/>
                  <a:gd name="connsiteY13" fmla="*/ 1035844 h 1038225"/>
                  <a:gd name="connsiteX14" fmla="*/ 402431 w 1583531"/>
                  <a:gd name="connsiteY14" fmla="*/ 1038225 h 1038225"/>
                  <a:gd name="connsiteX15" fmla="*/ 407194 w 1583531"/>
                  <a:gd name="connsiteY15" fmla="*/ 1014413 h 1038225"/>
                  <a:gd name="connsiteX16" fmla="*/ 411956 w 1583531"/>
                  <a:gd name="connsiteY16" fmla="*/ 985838 h 1038225"/>
                  <a:gd name="connsiteX17" fmla="*/ 428625 w 1583531"/>
                  <a:gd name="connsiteY17" fmla="*/ 959644 h 1038225"/>
                  <a:gd name="connsiteX18" fmla="*/ 535781 w 1583531"/>
                  <a:gd name="connsiteY18" fmla="*/ 912019 h 1038225"/>
                  <a:gd name="connsiteX19" fmla="*/ 557213 w 1583531"/>
                  <a:gd name="connsiteY19" fmla="*/ 931069 h 1038225"/>
                  <a:gd name="connsiteX20" fmla="*/ 566738 w 1583531"/>
                  <a:gd name="connsiteY20" fmla="*/ 1004888 h 1038225"/>
                  <a:gd name="connsiteX21" fmla="*/ 631031 w 1583531"/>
                  <a:gd name="connsiteY21" fmla="*/ 1019175 h 1038225"/>
                  <a:gd name="connsiteX22" fmla="*/ 669131 w 1583531"/>
                  <a:gd name="connsiteY22" fmla="*/ 1019175 h 1038225"/>
                  <a:gd name="connsiteX23" fmla="*/ 700088 w 1583531"/>
                  <a:gd name="connsiteY23" fmla="*/ 995363 h 1038225"/>
                  <a:gd name="connsiteX24" fmla="*/ 750094 w 1583531"/>
                  <a:gd name="connsiteY24" fmla="*/ 978694 h 1038225"/>
                  <a:gd name="connsiteX25" fmla="*/ 771525 w 1583531"/>
                  <a:gd name="connsiteY25" fmla="*/ 985838 h 1038225"/>
                  <a:gd name="connsiteX26" fmla="*/ 812006 w 1583531"/>
                  <a:gd name="connsiteY26" fmla="*/ 1028700 h 1038225"/>
                  <a:gd name="connsiteX27" fmla="*/ 826294 w 1583531"/>
                  <a:gd name="connsiteY27" fmla="*/ 1028700 h 1038225"/>
                  <a:gd name="connsiteX28" fmla="*/ 850106 w 1583531"/>
                  <a:gd name="connsiteY28" fmla="*/ 992982 h 1038225"/>
                  <a:gd name="connsiteX29" fmla="*/ 871538 w 1583531"/>
                  <a:gd name="connsiteY29" fmla="*/ 966788 h 1038225"/>
                  <a:gd name="connsiteX30" fmla="*/ 902494 w 1583531"/>
                  <a:gd name="connsiteY30" fmla="*/ 959644 h 1038225"/>
                  <a:gd name="connsiteX31" fmla="*/ 928688 w 1583531"/>
                  <a:gd name="connsiteY31" fmla="*/ 964407 h 1038225"/>
                  <a:gd name="connsiteX32" fmla="*/ 981075 w 1583531"/>
                  <a:gd name="connsiteY32" fmla="*/ 995363 h 1038225"/>
                  <a:gd name="connsiteX33" fmla="*/ 1047750 w 1583531"/>
                  <a:gd name="connsiteY33" fmla="*/ 995363 h 1038225"/>
                  <a:gd name="connsiteX34" fmla="*/ 1100138 w 1583531"/>
                  <a:gd name="connsiteY34" fmla="*/ 1012032 h 1038225"/>
                  <a:gd name="connsiteX35" fmla="*/ 1202531 w 1583531"/>
                  <a:gd name="connsiteY35" fmla="*/ 862013 h 1038225"/>
                  <a:gd name="connsiteX36" fmla="*/ 1243013 w 1583531"/>
                  <a:gd name="connsiteY36" fmla="*/ 876300 h 1038225"/>
                  <a:gd name="connsiteX37" fmla="*/ 1331119 w 1583531"/>
                  <a:gd name="connsiteY37" fmla="*/ 752475 h 1038225"/>
                  <a:gd name="connsiteX38" fmla="*/ 1269206 w 1583531"/>
                  <a:gd name="connsiteY38" fmla="*/ 695325 h 1038225"/>
                  <a:gd name="connsiteX39" fmla="*/ 1269206 w 1583531"/>
                  <a:gd name="connsiteY39" fmla="*/ 685800 h 1038225"/>
                  <a:gd name="connsiteX40" fmla="*/ 1364456 w 1583531"/>
                  <a:gd name="connsiteY40" fmla="*/ 683419 h 1038225"/>
                  <a:gd name="connsiteX41" fmla="*/ 1407319 w 1583531"/>
                  <a:gd name="connsiteY41" fmla="*/ 700088 h 1038225"/>
                  <a:gd name="connsiteX42" fmla="*/ 1431131 w 1583531"/>
                  <a:gd name="connsiteY42" fmla="*/ 657225 h 1038225"/>
                  <a:gd name="connsiteX43" fmla="*/ 1531144 w 1583531"/>
                  <a:gd name="connsiteY43" fmla="*/ 623888 h 1038225"/>
                  <a:gd name="connsiteX44" fmla="*/ 1578769 w 1583531"/>
                  <a:gd name="connsiteY44" fmla="*/ 588169 h 1038225"/>
                  <a:gd name="connsiteX45" fmla="*/ 1583531 w 1583531"/>
                  <a:gd name="connsiteY45" fmla="*/ 564357 h 1038225"/>
                  <a:gd name="connsiteX46" fmla="*/ 1564481 w 1583531"/>
                  <a:gd name="connsiteY46" fmla="*/ 557213 h 1038225"/>
                  <a:gd name="connsiteX47" fmla="*/ 1547813 w 1583531"/>
                  <a:gd name="connsiteY47" fmla="*/ 466725 h 1038225"/>
                  <a:gd name="connsiteX48" fmla="*/ 1519238 w 1583531"/>
                  <a:gd name="connsiteY48" fmla="*/ 433388 h 1038225"/>
                  <a:gd name="connsiteX49" fmla="*/ 1443038 w 1583531"/>
                  <a:gd name="connsiteY49" fmla="*/ 426244 h 1038225"/>
                  <a:gd name="connsiteX50" fmla="*/ 1431131 w 1583531"/>
                  <a:gd name="connsiteY50" fmla="*/ 404813 h 1038225"/>
                  <a:gd name="connsiteX51" fmla="*/ 1412081 w 1583531"/>
                  <a:gd name="connsiteY51" fmla="*/ 388144 h 1038225"/>
                  <a:gd name="connsiteX52" fmla="*/ 1373981 w 1583531"/>
                  <a:gd name="connsiteY52" fmla="*/ 385763 h 1038225"/>
                  <a:gd name="connsiteX53" fmla="*/ 1323975 w 1583531"/>
                  <a:gd name="connsiteY53" fmla="*/ 342900 h 1038225"/>
                  <a:gd name="connsiteX54" fmla="*/ 1276350 w 1583531"/>
                  <a:gd name="connsiteY54" fmla="*/ 383382 h 1038225"/>
                  <a:gd name="connsiteX55" fmla="*/ 1252538 w 1583531"/>
                  <a:gd name="connsiteY55" fmla="*/ 383382 h 1038225"/>
                  <a:gd name="connsiteX56" fmla="*/ 1219200 w 1583531"/>
                  <a:gd name="connsiteY56" fmla="*/ 340519 h 1038225"/>
                  <a:gd name="connsiteX57" fmla="*/ 1171575 w 1583531"/>
                  <a:gd name="connsiteY57" fmla="*/ 340519 h 1038225"/>
                  <a:gd name="connsiteX58" fmla="*/ 1135856 w 1583531"/>
                  <a:gd name="connsiteY58" fmla="*/ 311944 h 1038225"/>
                  <a:gd name="connsiteX59" fmla="*/ 1095375 w 1583531"/>
                  <a:gd name="connsiteY59" fmla="*/ 319088 h 1038225"/>
                  <a:gd name="connsiteX60" fmla="*/ 992981 w 1583531"/>
                  <a:gd name="connsiteY60" fmla="*/ 309563 h 1038225"/>
                  <a:gd name="connsiteX61" fmla="*/ 940594 w 1583531"/>
                  <a:gd name="connsiteY61" fmla="*/ 326232 h 1038225"/>
                  <a:gd name="connsiteX62" fmla="*/ 919163 w 1583531"/>
                  <a:gd name="connsiteY62" fmla="*/ 304800 h 1038225"/>
                  <a:gd name="connsiteX63" fmla="*/ 904875 w 1583531"/>
                  <a:gd name="connsiteY63" fmla="*/ 302419 h 1038225"/>
                  <a:gd name="connsiteX64" fmla="*/ 900113 w 1583531"/>
                  <a:gd name="connsiteY64" fmla="*/ 269082 h 1038225"/>
                  <a:gd name="connsiteX65" fmla="*/ 895350 w 1583531"/>
                  <a:gd name="connsiteY65" fmla="*/ 261938 h 1038225"/>
                  <a:gd name="connsiteX66" fmla="*/ 845344 w 1583531"/>
                  <a:gd name="connsiteY66" fmla="*/ 297657 h 1038225"/>
                  <a:gd name="connsiteX67" fmla="*/ 833438 w 1583531"/>
                  <a:gd name="connsiteY67" fmla="*/ 345282 h 1038225"/>
                  <a:gd name="connsiteX68" fmla="*/ 850106 w 1583531"/>
                  <a:gd name="connsiteY68" fmla="*/ 369094 h 1038225"/>
                  <a:gd name="connsiteX69" fmla="*/ 850106 w 1583531"/>
                  <a:gd name="connsiteY69" fmla="*/ 438150 h 1038225"/>
                  <a:gd name="connsiteX70" fmla="*/ 876300 w 1583531"/>
                  <a:gd name="connsiteY70" fmla="*/ 450057 h 1038225"/>
                  <a:gd name="connsiteX71" fmla="*/ 881063 w 1583531"/>
                  <a:gd name="connsiteY71" fmla="*/ 469107 h 1038225"/>
                  <a:gd name="connsiteX72" fmla="*/ 864394 w 1583531"/>
                  <a:gd name="connsiteY72" fmla="*/ 495300 h 1038225"/>
                  <a:gd name="connsiteX73" fmla="*/ 842963 w 1583531"/>
                  <a:gd name="connsiteY73" fmla="*/ 495300 h 1038225"/>
                  <a:gd name="connsiteX74" fmla="*/ 821531 w 1583531"/>
                  <a:gd name="connsiteY74" fmla="*/ 447675 h 1038225"/>
                  <a:gd name="connsiteX75" fmla="*/ 778669 w 1583531"/>
                  <a:gd name="connsiteY75" fmla="*/ 433388 h 1038225"/>
                  <a:gd name="connsiteX76" fmla="*/ 771525 w 1583531"/>
                  <a:gd name="connsiteY76" fmla="*/ 414338 h 1038225"/>
                  <a:gd name="connsiteX77" fmla="*/ 807244 w 1583531"/>
                  <a:gd name="connsiteY77" fmla="*/ 340519 h 1038225"/>
                  <a:gd name="connsiteX78" fmla="*/ 826294 w 1583531"/>
                  <a:gd name="connsiteY78" fmla="*/ 269082 h 1038225"/>
                  <a:gd name="connsiteX79" fmla="*/ 842963 w 1583531"/>
                  <a:gd name="connsiteY79" fmla="*/ 259557 h 1038225"/>
                  <a:gd name="connsiteX80" fmla="*/ 883444 w 1583531"/>
                  <a:gd name="connsiteY80" fmla="*/ 192882 h 1038225"/>
                  <a:gd name="connsiteX81" fmla="*/ 931069 w 1583531"/>
                  <a:gd name="connsiteY81" fmla="*/ 171450 h 1038225"/>
                  <a:gd name="connsiteX82" fmla="*/ 935831 w 1583531"/>
                  <a:gd name="connsiteY82" fmla="*/ 140494 h 1038225"/>
                  <a:gd name="connsiteX83" fmla="*/ 950119 w 1583531"/>
                  <a:gd name="connsiteY83" fmla="*/ 123825 h 1038225"/>
                  <a:gd name="connsiteX84" fmla="*/ 945356 w 1583531"/>
                  <a:gd name="connsiteY84" fmla="*/ 83344 h 1038225"/>
                  <a:gd name="connsiteX85" fmla="*/ 890588 w 1583531"/>
                  <a:gd name="connsiteY85" fmla="*/ 69057 h 1038225"/>
                  <a:gd name="connsiteX86" fmla="*/ 864394 w 1583531"/>
                  <a:gd name="connsiteY86" fmla="*/ 38100 h 1038225"/>
                  <a:gd name="connsiteX87" fmla="*/ 792956 w 1583531"/>
                  <a:gd name="connsiteY87" fmla="*/ 33338 h 1038225"/>
                  <a:gd name="connsiteX88" fmla="*/ 759619 w 1583531"/>
                  <a:gd name="connsiteY88" fmla="*/ 0 h 1038225"/>
                  <a:gd name="connsiteX89" fmla="*/ 757238 w 1583531"/>
                  <a:gd name="connsiteY89" fmla="*/ 30957 h 1038225"/>
                  <a:gd name="connsiteX90" fmla="*/ 745331 w 1583531"/>
                  <a:gd name="connsiteY90" fmla="*/ 52388 h 1038225"/>
                  <a:gd name="connsiteX91" fmla="*/ 635794 w 1583531"/>
                  <a:gd name="connsiteY91" fmla="*/ 114300 h 1038225"/>
                  <a:gd name="connsiteX92" fmla="*/ 642938 w 1583531"/>
                  <a:gd name="connsiteY92" fmla="*/ 135732 h 1038225"/>
                  <a:gd name="connsiteX93" fmla="*/ 561975 w 1583531"/>
                  <a:gd name="connsiteY93" fmla="*/ 138113 h 1038225"/>
                  <a:gd name="connsiteX94" fmla="*/ 495300 w 1583531"/>
                  <a:gd name="connsiteY94" fmla="*/ 185738 h 1038225"/>
                  <a:gd name="connsiteX95" fmla="*/ 483394 w 1583531"/>
                  <a:gd name="connsiteY95" fmla="*/ 202407 h 1038225"/>
                  <a:gd name="connsiteX96" fmla="*/ 485775 w 1583531"/>
                  <a:gd name="connsiteY96" fmla="*/ 233363 h 1038225"/>
                  <a:gd name="connsiteX97" fmla="*/ 552450 w 1583531"/>
                  <a:gd name="connsiteY97" fmla="*/ 257175 h 1038225"/>
                  <a:gd name="connsiteX98" fmla="*/ 571500 w 1583531"/>
                  <a:gd name="connsiteY98" fmla="*/ 283369 h 1038225"/>
                  <a:gd name="connsiteX99" fmla="*/ 597694 w 1583531"/>
                  <a:gd name="connsiteY99" fmla="*/ 307182 h 1038225"/>
                  <a:gd name="connsiteX100" fmla="*/ 597694 w 1583531"/>
                  <a:gd name="connsiteY100" fmla="*/ 321469 h 1038225"/>
                  <a:gd name="connsiteX101" fmla="*/ 573881 w 1583531"/>
                  <a:gd name="connsiteY101" fmla="*/ 321469 h 1038225"/>
                  <a:gd name="connsiteX102" fmla="*/ 566738 w 1583531"/>
                  <a:gd name="connsiteY102" fmla="*/ 330994 h 1038225"/>
                  <a:gd name="connsiteX103" fmla="*/ 557213 w 1583531"/>
                  <a:gd name="connsiteY103" fmla="*/ 400050 h 1038225"/>
                  <a:gd name="connsiteX104" fmla="*/ 538163 w 1583531"/>
                  <a:gd name="connsiteY104" fmla="*/ 426244 h 1038225"/>
                  <a:gd name="connsiteX105" fmla="*/ 523875 w 1583531"/>
                  <a:gd name="connsiteY105" fmla="*/ 490538 h 1038225"/>
                  <a:gd name="connsiteX106" fmla="*/ 495300 w 1583531"/>
                  <a:gd name="connsiteY106" fmla="*/ 500063 h 1038225"/>
                  <a:gd name="connsiteX107" fmla="*/ 454819 w 1583531"/>
                  <a:gd name="connsiteY107" fmla="*/ 481013 h 1038225"/>
                  <a:gd name="connsiteX108" fmla="*/ 428625 w 1583531"/>
                  <a:gd name="connsiteY108" fmla="*/ 471488 h 1038225"/>
                  <a:gd name="connsiteX109" fmla="*/ 428625 w 1583531"/>
                  <a:gd name="connsiteY109" fmla="*/ 471488 h 1038225"/>
                  <a:gd name="connsiteX110" fmla="*/ 392906 w 1583531"/>
                  <a:gd name="connsiteY110" fmla="*/ 478632 h 1038225"/>
                  <a:gd name="connsiteX111" fmla="*/ 388144 w 1583531"/>
                  <a:gd name="connsiteY111" fmla="*/ 502444 h 1038225"/>
                  <a:gd name="connsiteX112" fmla="*/ 352425 w 1583531"/>
                  <a:gd name="connsiteY112" fmla="*/ 507207 h 1038225"/>
                  <a:gd name="connsiteX113" fmla="*/ 319088 w 1583531"/>
                  <a:gd name="connsiteY113" fmla="*/ 466725 h 1038225"/>
                  <a:gd name="connsiteX114" fmla="*/ 316706 w 1583531"/>
                  <a:gd name="connsiteY114" fmla="*/ 442913 h 1038225"/>
                  <a:gd name="connsiteX115" fmla="*/ 326231 w 1583531"/>
                  <a:gd name="connsiteY115" fmla="*/ 407194 h 1038225"/>
                  <a:gd name="connsiteX116" fmla="*/ 345281 w 1583531"/>
                  <a:gd name="connsiteY116" fmla="*/ 383382 h 1038225"/>
                  <a:gd name="connsiteX117" fmla="*/ 359569 w 1583531"/>
                  <a:gd name="connsiteY117" fmla="*/ 369094 h 1038225"/>
                  <a:gd name="connsiteX118" fmla="*/ 345281 w 1583531"/>
                  <a:gd name="connsiteY118" fmla="*/ 357188 h 1038225"/>
                  <a:gd name="connsiteX119" fmla="*/ 302419 w 1583531"/>
                  <a:gd name="connsiteY119" fmla="*/ 366713 h 1038225"/>
                  <a:gd name="connsiteX120" fmla="*/ 266700 w 1583531"/>
                  <a:gd name="connsiteY120" fmla="*/ 352425 h 1038225"/>
                  <a:gd name="connsiteX121" fmla="*/ 242888 w 1583531"/>
                  <a:gd name="connsiteY121" fmla="*/ 342900 h 1038225"/>
                  <a:gd name="connsiteX122" fmla="*/ 211931 w 1583531"/>
                  <a:gd name="connsiteY122" fmla="*/ 328613 h 1038225"/>
                  <a:gd name="connsiteX123" fmla="*/ 154781 w 1583531"/>
                  <a:gd name="connsiteY123" fmla="*/ 392907 h 1038225"/>
                  <a:gd name="connsiteX124" fmla="*/ 157163 w 1583531"/>
                  <a:gd name="connsiteY124" fmla="*/ 435769 h 1038225"/>
                  <a:gd name="connsiteX125" fmla="*/ 190500 w 1583531"/>
                  <a:gd name="connsiteY125" fmla="*/ 466725 h 1038225"/>
                  <a:gd name="connsiteX126" fmla="*/ 169069 w 1583531"/>
                  <a:gd name="connsiteY126" fmla="*/ 578644 h 1038225"/>
                  <a:gd name="connsiteX127" fmla="*/ 138113 w 1583531"/>
                  <a:gd name="connsiteY127" fmla="*/ 604838 h 1038225"/>
                  <a:gd name="connsiteX128" fmla="*/ 130969 w 1583531"/>
                  <a:gd name="connsiteY128" fmla="*/ 650082 h 1038225"/>
                  <a:gd name="connsiteX129" fmla="*/ 85725 w 1583531"/>
                  <a:gd name="connsiteY129" fmla="*/ 661988 h 1038225"/>
                  <a:gd name="connsiteX130" fmla="*/ 80963 w 1583531"/>
                  <a:gd name="connsiteY130" fmla="*/ 688182 h 1038225"/>
                  <a:gd name="connsiteX131" fmla="*/ 11906 w 1583531"/>
                  <a:gd name="connsiteY131" fmla="*/ 721519 h 1038225"/>
                  <a:gd name="connsiteX132" fmla="*/ 0 w 1583531"/>
                  <a:gd name="connsiteY132" fmla="*/ 738188 h 1038225"/>
                  <a:gd name="connsiteX133" fmla="*/ 16669 w 1583531"/>
                  <a:gd name="connsiteY133" fmla="*/ 771525 h 1038225"/>
                  <a:gd name="connsiteX134" fmla="*/ 33338 w 1583531"/>
                  <a:gd name="connsiteY134" fmla="*/ 840582 h 1038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583531" h="1038225">
                    <a:moveTo>
                      <a:pt x="33338" y="840582"/>
                    </a:moveTo>
                    <a:lnTo>
                      <a:pt x="116681" y="862013"/>
                    </a:lnTo>
                    <a:lnTo>
                      <a:pt x="126206" y="878682"/>
                    </a:lnTo>
                    <a:cubicBezTo>
                      <a:pt x="125412" y="897732"/>
                      <a:pt x="124619" y="916782"/>
                      <a:pt x="123825" y="935832"/>
                    </a:cubicBezTo>
                    <a:lnTo>
                      <a:pt x="130969" y="942975"/>
                    </a:lnTo>
                    <a:lnTo>
                      <a:pt x="188119" y="964407"/>
                    </a:lnTo>
                    <a:lnTo>
                      <a:pt x="204788" y="997744"/>
                    </a:lnTo>
                    <a:lnTo>
                      <a:pt x="228600" y="1002507"/>
                    </a:lnTo>
                    <a:lnTo>
                      <a:pt x="250031" y="990600"/>
                    </a:lnTo>
                    <a:lnTo>
                      <a:pt x="278606" y="973932"/>
                    </a:lnTo>
                    <a:lnTo>
                      <a:pt x="300038" y="981075"/>
                    </a:lnTo>
                    <a:lnTo>
                      <a:pt x="316706" y="1004888"/>
                    </a:lnTo>
                    <a:lnTo>
                      <a:pt x="326231" y="1023938"/>
                    </a:lnTo>
                    <a:lnTo>
                      <a:pt x="347663" y="1035844"/>
                    </a:lnTo>
                    <a:lnTo>
                      <a:pt x="402431" y="1038225"/>
                    </a:lnTo>
                    <a:lnTo>
                      <a:pt x="407194" y="1014413"/>
                    </a:lnTo>
                    <a:lnTo>
                      <a:pt x="411956" y="985838"/>
                    </a:lnTo>
                    <a:lnTo>
                      <a:pt x="428625" y="959644"/>
                    </a:lnTo>
                    <a:lnTo>
                      <a:pt x="535781" y="912019"/>
                    </a:lnTo>
                    <a:lnTo>
                      <a:pt x="557213" y="931069"/>
                    </a:lnTo>
                    <a:lnTo>
                      <a:pt x="566738" y="1004888"/>
                    </a:lnTo>
                    <a:lnTo>
                      <a:pt x="631031" y="1019175"/>
                    </a:lnTo>
                    <a:lnTo>
                      <a:pt x="669131" y="1019175"/>
                    </a:lnTo>
                    <a:lnTo>
                      <a:pt x="700088" y="995363"/>
                    </a:lnTo>
                    <a:lnTo>
                      <a:pt x="750094" y="978694"/>
                    </a:lnTo>
                    <a:lnTo>
                      <a:pt x="771525" y="985838"/>
                    </a:lnTo>
                    <a:lnTo>
                      <a:pt x="812006" y="1028700"/>
                    </a:lnTo>
                    <a:lnTo>
                      <a:pt x="826294" y="1028700"/>
                    </a:lnTo>
                    <a:lnTo>
                      <a:pt x="850106" y="992982"/>
                    </a:lnTo>
                    <a:lnTo>
                      <a:pt x="871538" y="966788"/>
                    </a:lnTo>
                    <a:lnTo>
                      <a:pt x="902494" y="959644"/>
                    </a:lnTo>
                    <a:lnTo>
                      <a:pt x="928688" y="964407"/>
                    </a:lnTo>
                    <a:lnTo>
                      <a:pt x="981075" y="995363"/>
                    </a:lnTo>
                    <a:lnTo>
                      <a:pt x="1047750" y="995363"/>
                    </a:lnTo>
                    <a:lnTo>
                      <a:pt x="1100138" y="1012032"/>
                    </a:lnTo>
                    <a:lnTo>
                      <a:pt x="1202531" y="862013"/>
                    </a:lnTo>
                    <a:lnTo>
                      <a:pt x="1243013" y="876300"/>
                    </a:lnTo>
                    <a:lnTo>
                      <a:pt x="1331119" y="752475"/>
                    </a:lnTo>
                    <a:lnTo>
                      <a:pt x="1269206" y="695325"/>
                    </a:lnTo>
                    <a:lnTo>
                      <a:pt x="1269206" y="685800"/>
                    </a:lnTo>
                    <a:lnTo>
                      <a:pt x="1364456" y="683419"/>
                    </a:lnTo>
                    <a:lnTo>
                      <a:pt x="1407319" y="700088"/>
                    </a:lnTo>
                    <a:lnTo>
                      <a:pt x="1431131" y="657225"/>
                    </a:lnTo>
                    <a:lnTo>
                      <a:pt x="1531144" y="623888"/>
                    </a:lnTo>
                    <a:lnTo>
                      <a:pt x="1578769" y="588169"/>
                    </a:lnTo>
                    <a:lnTo>
                      <a:pt x="1583531" y="564357"/>
                    </a:lnTo>
                    <a:lnTo>
                      <a:pt x="1564481" y="557213"/>
                    </a:lnTo>
                    <a:lnTo>
                      <a:pt x="1547813" y="466725"/>
                    </a:lnTo>
                    <a:lnTo>
                      <a:pt x="1519238" y="433388"/>
                    </a:lnTo>
                    <a:lnTo>
                      <a:pt x="1443038" y="426244"/>
                    </a:lnTo>
                    <a:lnTo>
                      <a:pt x="1431131" y="404813"/>
                    </a:lnTo>
                    <a:lnTo>
                      <a:pt x="1412081" y="388144"/>
                    </a:lnTo>
                    <a:lnTo>
                      <a:pt x="1373981" y="385763"/>
                    </a:lnTo>
                    <a:lnTo>
                      <a:pt x="1323975" y="342900"/>
                    </a:lnTo>
                    <a:lnTo>
                      <a:pt x="1276350" y="383382"/>
                    </a:lnTo>
                    <a:lnTo>
                      <a:pt x="1252538" y="383382"/>
                    </a:lnTo>
                    <a:lnTo>
                      <a:pt x="1219200" y="340519"/>
                    </a:lnTo>
                    <a:lnTo>
                      <a:pt x="1171575" y="340519"/>
                    </a:lnTo>
                    <a:lnTo>
                      <a:pt x="1135856" y="311944"/>
                    </a:lnTo>
                    <a:lnTo>
                      <a:pt x="1095375" y="319088"/>
                    </a:lnTo>
                    <a:lnTo>
                      <a:pt x="992981" y="309563"/>
                    </a:lnTo>
                    <a:lnTo>
                      <a:pt x="940594" y="326232"/>
                    </a:lnTo>
                    <a:lnTo>
                      <a:pt x="919163" y="304800"/>
                    </a:lnTo>
                    <a:lnTo>
                      <a:pt x="904875" y="302419"/>
                    </a:lnTo>
                    <a:lnTo>
                      <a:pt x="900113" y="269082"/>
                    </a:lnTo>
                    <a:lnTo>
                      <a:pt x="895350" y="261938"/>
                    </a:lnTo>
                    <a:lnTo>
                      <a:pt x="845344" y="297657"/>
                    </a:lnTo>
                    <a:lnTo>
                      <a:pt x="833438" y="345282"/>
                    </a:lnTo>
                    <a:lnTo>
                      <a:pt x="850106" y="369094"/>
                    </a:lnTo>
                    <a:lnTo>
                      <a:pt x="850106" y="438150"/>
                    </a:lnTo>
                    <a:lnTo>
                      <a:pt x="876300" y="450057"/>
                    </a:lnTo>
                    <a:lnTo>
                      <a:pt x="881063" y="469107"/>
                    </a:lnTo>
                    <a:lnTo>
                      <a:pt x="864394" y="495300"/>
                    </a:lnTo>
                    <a:lnTo>
                      <a:pt x="842963" y="495300"/>
                    </a:lnTo>
                    <a:lnTo>
                      <a:pt x="821531" y="447675"/>
                    </a:lnTo>
                    <a:lnTo>
                      <a:pt x="778669" y="433388"/>
                    </a:lnTo>
                    <a:lnTo>
                      <a:pt x="771525" y="414338"/>
                    </a:lnTo>
                    <a:lnTo>
                      <a:pt x="807244" y="340519"/>
                    </a:lnTo>
                    <a:lnTo>
                      <a:pt x="826294" y="269082"/>
                    </a:lnTo>
                    <a:lnTo>
                      <a:pt x="842963" y="259557"/>
                    </a:lnTo>
                    <a:lnTo>
                      <a:pt x="883444" y="192882"/>
                    </a:lnTo>
                    <a:lnTo>
                      <a:pt x="931069" y="171450"/>
                    </a:lnTo>
                    <a:lnTo>
                      <a:pt x="935831" y="140494"/>
                    </a:lnTo>
                    <a:lnTo>
                      <a:pt x="950119" y="123825"/>
                    </a:lnTo>
                    <a:lnTo>
                      <a:pt x="945356" y="83344"/>
                    </a:lnTo>
                    <a:lnTo>
                      <a:pt x="890588" y="69057"/>
                    </a:lnTo>
                    <a:lnTo>
                      <a:pt x="864394" y="38100"/>
                    </a:lnTo>
                    <a:lnTo>
                      <a:pt x="792956" y="33338"/>
                    </a:lnTo>
                    <a:lnTo>
                      <a:pt x="759619" y="0"/>
                    </a:lnTo>
                    <a:lnTo>
                      <a:pt x="757238" y="30957"/>
                    </a:lnTo>
                    <a:lnTo>
                      <a:pt x="745331" y="52388"/>
                    </a:lnTo>
                    <a:lnTo>
                      <a:pt x="635794" y="114300"/>
                    </a:lnTo>
                    <a:lnTo>
                      <a:pt x="642938" y="135732"/>
                    </a:lnTo>
                    <a:lnTo>
                      <a:pt x="561975" y="138113"/>
                    </a:lnTo>
                    <a:lnTo>
                      <a:pt x="495300" y="185738"/>
                    </a:lnTo>
                    <a:lnTo>
                      <a:pt x="483394" y="202407"/>
                    </a:lnTo>
                    <a:lnTo>
                      <a:pt x="485775" y="233363"/>
                    </a:lnTo>
                    <a:lnTo>
                      <a:pt x="552450" y="257175"/>
                    </a:lnTo>
                    <a:lnTo>
                      <a:pt x="571500" y="283369"/>
                    </a:lnTo>
                    <a:lnTo>
                      <a:pt x="597694" y="307182"/>
                    </a:lnTo>
                    <a:lnTo>
                      <a:pt x="597694" y="321469"/>
                    </a:lnTo>
                    <a:lnTo>
                      <a:pt x="573881" y="321469"/>
                    </a:lnTo>
                    <a:lnTo>
                      <a:pt x="566738" y="330994"/>
                    </a:lnTo>
                    <a:lnTo>
                      <a:pt x="557213" y="400050"/>
                    </a:lnTo>
                    <a:lnTo>
                      <a:pt x="538163" y="426244"/>
                    </a:lnTo>
                    <a:lnTo>
                      <a:pt x="523875" y="490538"/>
                    </a:lnTo>
                    <a:lnTo>
                      <a:pt x="495300" y="500063"/>
                    </a:lnTo>
                    <a:lnTo>
                      <a:pt x="454819" y="481013"/>
                    </a:lnTo>
                    <a:lnTo>
                      <a:pt x="428625" y="471488"/>
                    </a:lnTo>
                    <a:lnTo>
                      <a:pt x="428625" y="471488"/>
                    </a:lnTo>
                    <a:lnTo>
                      <a:pt x="392906" y="478632"/>
                    </a:lnTo>
                    <a:lnTo>
                      <a:pt x="388144" y="502444"/>
                    </a:lnTo>
                    <a:lnTo>
                      <a:pt x="352425" y="507207"/>
                    </a:lnTo>
                    <a:lnTo>
                      <a:pt x="319088" y="466725"/>
                    </a:lnTo>
                    <a:lnTo>
                      <a:pt x="316706" y="442913"/>
                    </a:lnTo>
                    <a:lnTo>
                      <a:pt x="326231" y="407194"/>
                    </a:lnTo>
                    <a:lnTo>
                      <a:pt x="345281" y="383382"/>
                    </a:lnTo>
                    <a:lnTo>
                      <a:pt x="359569" y="369094"/>
                    </a:lnTo>
                    <a:lnTo>
                      <a:pt x="345281" y="357188"/>
                    </a:lnTo>
                    <a:lnTo>
                      <a:pt x="302419" y="366713"/>
                    </a:lnTo>
                    <a:lnTo>
                      <a:pt x="266700" y="352425"/>
                    </a:lnTo>
                    <a:lnTo>
                      <a:pt x="242888" y="342900"/>
                    </a:lnTo>
                    <a:lnTo>
                      <a:pt x="211931" y="328613"/>
                    </a:lnTo>
                    <a:lnTo>
                      <a:pt x="154781" y="392907"/>
                    </a:lnTo>
                    <a:lnTo>
                      <a:pt x="157163" y="435769"/>
                    </a:lnTo>
                    <a:lnTo>
                      <a:pt x="190500" y="466725"/>
                    </a:lnTo>
                    <a:lnTo>
                      <a:pt x="169069" y="578644"/>
                    </a:lnTo>
                    <a:lnTo>
                      <a:pt x="138113" y="604838"/>
                    </a:lnTo>
                    <a:lnTo>
                      <a:pt x="130969" y="650082"/>
                    </a:lnTo>
                    <a:lnTo>
                      <a:pt x="85725" y="661988"/>
                    </a:lnTo>
                    <a:lnTo>
                      <a:pt x="80963" y="688182"/>
                    </a:lnTo>
                    <a:lnTo>
                      <a:pt x="11906" y="721519"/>
                    </a:lnTo>
                    <a:lnTo>
                      <a:pt x="0" y="738188"/>
                    </a:lnTo>
                    <a:lnTo>
                      <a:pt x="16669" y="771525"/>
                    </a:lnTo>
                    <a:lnTo>
                      <a:pt x="33338" y="840582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364">
                <a:extLst>
                  <a:ext uri="{FF2B5EF4-FFF2-40B4-BE49-F238E27FC236}">
                    <a16:creationId xmlns:a16="http://schemas.microsoft.com/office/drawing/2014/main" id="{7EA7879A-A0E0-2D14-D8A0-C637E034D96E}"/>
                  </a:ext>
                </a:extLst>
              </p:cNvPr>
              <p:cNvSpPr/>
              <p:nvPr/>
            </p:nvSpPr>
            <p:spPr>
              <a:xfrm rot="21396613">
                <a:off x="671204" y="3036900"/>
                <a:ext cx="1065635" cy="921224"/>
              </a:xfrm>
              <a:custGeom>
                <a:avLst/>
                <a:gdLst>
                  <a:gd name="connsiteX0" fmla="*/ 461963 w 973932"/>
                  <a:gd name="connsiteY0" fmla="*/ 0 h 864394"/>
                  <a:gd name="connsiteX1" fmla="*/ 454819 w 973932"/>
                  <a:gd name="connsiteY1" fmla="*/ 71438 h 864394"/>
                  <a:gd name="connsiteX2" fmla="*/ 411957 w 973932"/>
                  <a:gd name="connsiteY2" fmla="*/ 78582 h 864394"/>
                  <a:gd name="connsiteX3" fmla="*/ 395288 w 973932"/>
                  <a:gd name="connsiteY3" fmla="*/ 66675 h 864394"/>
                  <a:gd name="connsiteX4" fmla="*/ 359569 w 973932"/>
                  <a:gd name="connsiteY4" fmla="*/ 64294 h 864394"/>
                  <a:gd name="connsiteX5" fmla="*/ 333375 w 973932"/>
                  <a:gd name="connsiteY5" fmla="*/ 64294 h 864394"/>
                  <a:gd name="connsiteX6" fmla="*/ 304800 w 973932"/>
                  <a:gd name="connsiteY6" fmla="*/ 76200 h 864394"/>
                  <a:gd name="connsiteX7" fmla="*/ 271463 w 973932"/>
                  <a:gd name="connsiteY7" fmla="*/ 100013 h 864394"/>
                  <a:gd name="connsiteX8" fmla="*/ 214313 w 973932"/>
                  <a:gd name="connsiteY8" fmla="*/ 59532 h 864394"/>
                  <a:gd name="connsiteX9" fmla="*/ 142875 w 973932"/>
                  <a:gd name="connsiteY9" fmla="*/ 61913 h 864394"/>
                  <a:gd name="connsiteX10" fmla="*/ 92869 w 973932"/>
                  <a:gd name="connsiteY10" fmla="*/ 50007 h 864394"/>
                  <a:gd name="connsiteX11" fmla="*/ 33338 w 973932"/>
                  <a:gd name="connsiteY11" fmla="*/ 97632 h 864394"/>
                  <a:gd name="connsiteX12" fmla="*/ 4763 w 973932"/>
                  <a:gd name="connsiteY12" fmla="*/ 121444 h 864394"/>
                  <a:gd name="connsiteX13" fmla="*/ 0 w 973932"/>
                  <a:gd name="connsiteY13" fmla="*/ 147638 h 864394"/>
                  <a:gd name="connsiteX14" fmla="*/ 47625 w 973932"/>
                  <a:gd name="connsiteY14" fmla="*/ 200025 h 864394"/>
                  <a:gd name="connsiteX15" fmla="*/ 66675 w 973932"/>
                  <a:gd name="connsiteY15" fmla="*/ 271463 h 864394"/>
                  <a:gd name="connsiteX16" fmla="*/ 102394 w 973932"/>
                  <a:gd name="connsiteY16" fmla="*/ 300038 h 864394"/>
                  <a:gd name="connsiteX17" fmla="*/ 130969 w 973932"/>
                  <a:gd name="connsiteY17" fmla="*/ 319088 h 864394"/>
                  <a:gd name="connsiteX18" fmla="*/ 166688 w 973932"/>
                  <a:gd name="connsiteY18" fmla="*/ 333375 h 864394"/>
                  <a:gd name="connsiteX19" fmla="*/ 192882 w 973932"/>
                  <a:gd name="connsiteY19" fmla="*/ 338138 h 864394"/>
                  <a:gd name="connsiteX20" fmla="*/ 228600 w 973932"/>
                  <a:gd name="connsiteY20" fmla="*/ 326232 h 864394"/>
                  <a:gd name="connsiteX21" fmla="*/ 252413 w 973932"/>
                  <a:gd name="connsiteY21" fmla="*/ 316707 h 864394"/>
                  <a:gd name="connsiteX22" fmla="*/ 271463 w 973932"/>
                  <a:gd name="connsiteY22" fmla="*/ 304800 h 864394"/>
                  <a:gd name="connsiteX23" fmla="*/ 300038 w 973932"/>
                  <a:gd name="connsiteY23" fmla="*/ 288132 h 864394"/>
                  <a:gd name="connsiteX24" fmla="*/ 321469 w 973932"/>
                  <a:gd name="connsiteY24" fmla="*/ 309563 h 864394"/>
                  <a:gd name="connsiteX25" fmla="*/ 319088 w 973932"/>
                  <a:gd name="connsiteY25" fmla="*/ 342900 h 864394"/>
                  <a:gd name="connsiteX26" fmla="*/ 300038 w 973932"/>
                  <a:gd name="connsiteY26" fmla="*/ 381000 h 864394"/>
                  <a:gd name="connsiteX27" fmla="*/ 271463 w 973932"/>
                  <a:gd name="connsiteY27" fmla="*/ 411957 h 864394"/>
                  <a:gd name="connsiteX28" fmla="*/ 238125 w 973932"/>
                  <a:gd name="connsiteY28" fmla="*/ 423863 h 864394"/>
                  <a:gd name="connsiteX29" fmla="*/ 211932 w 973932"/>
                  <a:gd name="connsiteY29" fmla="*/ 431007 h 864394"/>
                  <a:gd name="connsiteX30" fmla="*/ 161925 w 973932"/>
                  <a:gd name="connsiteY30" fmla="*/ 433388 h 864394"/>
                  <a:gd name="connsiteX31" fmla="*/ 123825 w 973932"/>
                  <a:gd name="connsiteY31" fmla="*/ 416719 h 864394"/>
                  <a:gd name="connsiteX32" fmla="*/ 123825 w 973932"/>
                  <a:gd name="connsiteY32" fmla="*/ 395288 h 864394"/>
                  <a:gd name="connsiteX33" fmla="*/ 107157 w 973932"/>
                  <a:gd name="connsiteY33" fmla="*/ 376238 h 864394"/>
                  <a:gd name="connsiteX34" fmla="*/ 107157 w 973932"/>
                  <a:gd name="connsiteY34" fmla="*/ 376238 h 864394"/>
                  <a:gd name="connsiteX35" fmla="*/ 78582 w 973932"/>
                  <a:gd name="connsiteY35" fmla="*/ 416719 h 864394"/>
                  <a:gd name="connsiteX36" fmla="*/ 66675 w 973932"/>
                  <a:gd name="connsiteY36" fmla="*/ 461963 h 864394"/>
                  <a:gd name="connsiteX37" fmla="*/ 88107 w 973932"/>
                  <a:gd name="connsiteY37" fmla="*/ 481013 h 864394"/>
                  <a:gd name="connsiteX38" fmla="*/ 109538 w 973932"/>
                  <a:gd name="connsiteY38" fmla="*/ 511969 h 864394"/>
                  <a:gd name="connsiteX39" fmla="*/ 140494 w 973932"/>
                  <a:gd name="connsiteY39" fmla="*/ 533400 h 864394"/>
                  <a:gd name="connsiteX40" fmla="*/ 145257 w 973932"/>
                  <a:gd name="connsiteY40" fmla="*/ 557213 h 864394"/>
                  <a:gd name="connsiteX41" fmla="*/ 152400 w 973932"/>
                  <a:gd name="connsiteY41" fmla="*/ 566738 h 864394"/>
                  <a:gd name="connsiteX42" fmla="*/ 180975 w 973932"/>
                  <a:gd name="connsiteY42" fmla="*/ 595313 h 864394"/>
                  <a:gd name="connsiteX43" fmla="*/ 188119 w 973932"/>
                  <a:gd name="connsiteY43" fmla="*/ 661988 h 864394"/>
                  <a:gd name="connsiteX44" fmla="*/ 209550 w 973932"/>
                  <a:gd name="connsiteY44" fmla="*/ 681038 h 864394"/>
                  <a:gd name="connsiteX45" fmla="*/ 233363 w 973932"/>
                  <a:gd name="connsiteY45" fmla="*/ 688182 h 864394"/>
                  <a:gd name="connsiteX46" fmla="*/ 252413 w 973932"/>
                  <a:gd name="connsiteY46" fmla="*/ 702469 h 864394"/>
                  <a:gd name="connsiteX47" fmla="*/ 278607 w 973932"/>
                  <a:gd name="connsiteY47" fmla="*/ 721519 h 864394"/>
                  <a:gd name="connsiteX48" fmla="*/ 307182 w 973932"/>
                  <a:gd name="connsiteY48" fmla="*/ 766763 h 864394"/>
                  <a:gd name="connsiteX49" fmla="*/ 340519 w 973932"/>
                  <a:gd name="connsiteY49" fmla="*/ 773907 h 864394"/>
                  <a:gd name="connsiteX50" fmla="*/ 359569 w 973932"/>
                  <a:gd name="connsiteY50" fmla="*/ 759619 h 864394"/>
                  <a:gd name="connsiteX51" fmla="*/ 357188 w 973932"/>
                  <a:gd name="connsiteY51" fmla="*/ 738188 h 864394"/>
                  <a:gd name="connsiteX52" fmla="*/ 364332 w 973932"/>
                  <a:gd name="connsiteY52" fmla="*/ 716757 h 864394"/>
                  <a:gd name="connsiteX53" fmla="*/ 383382 w 973932"/>
                  <a:gd name="connsiteY53" fmla="*/ 711994 h 864394"/>
                  <a:gd name="connsiteX54" fmla="*/ 404813 w 973932"/>
                  <a:gd name="connsiteY54" fmla="*/ 721519 h 864394"/>
                  <a:gd name="connsiteX55" fmla="*/ 431007 w 973932"/>
                  <a:gd name="connsiteY55" fmla="*/ 733425 h 864394"/>
                  <a:gd name="connsiteX56" fmla="*/ 454819 w 973932"/>
                  <a:gd name="connsiteY56" fmla="*/ 740569 h 864394"/>
                  <a:gd name="connsiteX57" fmla="*/ 476250 w 973932"/>
                  <a:gd name="connsiteY57" fmla="*/ 728663 h 864394"/>
                  <a:gd name="connsiteX58" fmla="*/ 490538 w 973932"/>
                  <a:gd name="connsiteY58" fmla="*/ 704850 h 864394"/>
                  <a:gd name="connsiteX59" fmla="*/ 523875 w 973932"/>
                  <a:gd name="connsiteY59" fmla="*/ 683419 h 864394"/>
                  <a:gd name="connsiteX60" fmla="*/ 557213 w 973932"/>
                  <a:gd name="connsiteY60" fmla="*/ 685800 h 864394"/>
                  <a:gd name="connsiteX61" fmla="*/ 576263 w 973932"/>
                  <a:gd name="connsiteY61" fmla="*/ 664369 h 864394"/>
                  <a:gd name="connsiteX62" fmla="*/ 585788 w 973932"/>
                  <a:gd name="connsiteY62" fmla="*/ 626269 h 864394"/>
                  <a:gd name="connsiteX63" fmla="*/ 578644 w 973932"/>
                  <a:gd name="connsiteY63" fmla="*/ 585788 h 864394"/>
                  <a:gd name="connsiteX64" fmla="*/ 590550 w 973932"/>
                  <a:gd name="connsiteY64" fmla="*/ 533400 h 864394"/>
                  <a:gd name="connsiteX65" fmla="*/ 590550 w 973932"/>
                  <a:gd name="connsiteY65" fmla="*/ 490538 h 864394"/>
                  <a:gd name="connsiteX66" fmla="*/ 621507 w 973932"/>
                  <a:gd name="connsiteY66" fmla="*/ 473869 h 864394"/>
                  <a:gd name="connsiteX67" fmla="*/ 650082 w 973932"/>
                  <a:gd name="connsiteY67" fmla="*/ 492919 h 864394"/>
                  <a:gd name="connsiteX68" fmla="*/ 652463 w 973932"/>
                  <a:gd name="connsiteY68" fmla="*/ 523875 h 864394"/>
                  <a:gd name="connsiteX69" fmla="*/ 645319 w 973932"/>
                  <a:gd name="connsiteY69" fmla="*/ 550069 h 864394"/>
                  <a:gd name="connsiteX70" fmla="*/ 645319 w 973932"/>
                  <a:gd name="connsiteY70" fmla="*/ 581025 h 864394"/>
                  <a:gd name="connsiteX71" fmla="*/ 666750 w 973932"/>
                  <a:gd name="connsiteY71" fmla="*/ 602457 h 864394"/>
                  <a:gd name="connsiteX72" fmla="*/ 669132 w 973932"/>
                  <a:gd name="connsiteY72" fmla="*/ 654844 h 864394"/>
                  <a:gd name="connsiteX73" fmla="*/ 645319 w 973932"/>
                  <a:gd name="connsiteY73" fmla="*/ 709613 h 864394"/>
                  <a:gd name="connsiteX74" fmla="*/ 642938 w 973932"/>
                  <a:gd name="connsiteY74" fmla="*/ 771525 h 864394"/>
                  <a:gd name="connsiteX75" fmla="*/ 640557 w 973932"/>
                  <a:gd name="connsiteY75" fmla="*/ 795338 h 864394"/>
                  <a:gd name="connsiteX76" fmla="*/ 640557 w 973932"/>
                  <a:gd name="connsiteY76" fmla="*/ 814388 h 864394"/>
                  <a:gd name="connsiteX77" fmla="*/ 621507 w 973932"/>
                  <a:gd name="connsiteY77" fmla="*/ 826294 h 864394"/>
                  <a:gd name="connsiteX78" fmla="*/ 623888 w 973932"/>
                  <a:gd name="connsiteY78" fmla="*/ 845344 h 864394"/>
                  <a:gd name="connsiteX79" fmla="*/ 640557 w 973932"/>
                  <a:gd name="connsiteY79" fmla="*/ 857250 h 864394"/>
                  <a:gd name="connsiteX80" fmla="*/ 659607 w 973932"/>
                  <a:gd name="connsiteY80" fmla="*/ 850107 h 864394"/>
                  <a:gd name="connsiteX81" fmla="*/ 678657 w 973932"/>
                  <a:gd name="connsiteY81" fmla="*/ 857250 h 864394"/>
                  <a:gd name="connsiteX82" fmla="*/ 702469 w 973932"/>
                  <a:gd name="connsiteY82" fmla="*/ 862013 h 864394"/>
                  <a:gd name="connsiteX83" fmla="*/ 726282 w 973932"/>
                  <a:gd name="connsiteY83" fmla="*/ 864394 h 864394"/>
                  <a:gd name="connsiteX84" fmla="*/ 752475 w 973932"/>
                  <a:gd name="connsiteY84" fmla="*/ 852488 h 864394"/>
                  <a:gd name="connsiteX85" fmla="*/ 766763 w 973932"/>
                  <a:gd name="connsiteY85" fmla="*/ 823913 h 864394"/>
                  <a:gd name="connsiteX86" fmla="*/ 773907 w 973932"/>
                  <a:gd name="connsiteY86" fmla="*/ 792957 h 864394"/>
                  <a:gd name="connsiteX87" fmla="*/ 766763 w 973932"/>
                  <a:gd name="connsiteY87" fmla="*/ 769144 h 864394"/>
                  <a:gd name="connsiteX88" fmla="*/ 795338 w 973932"/>
                  <a:gd name="connsiteY88" fmla="*/ 764382 h 864394"/>
                  <a:gd name="connsiteX89" fmla="*/ 831057 w 973932"/>
                  <a:gd name="connsiteY89" fmla="*/ 709613 h 864394"/>
                  <a:gd name="connsiteX90" fmla="*/ 890588 w 973932"/>
                  <a:gd name="connsiteY90" fmla="*/ 688182 h 864394"/>
                  <a:gd name="connsiteX91" fmla="*/ 902494 w 973932"/>
                  <a:gd name="connsiteY91" fmla="*/ 661988 h 864394"/>
                  <a:gd name="connsiteX92" fmla="*/ 902494 w 973932"/>
                  <a:gd name="connsiteY92" fmla="*/ 661988 h 864394"/>
                  <a:gd name="connsiteX93" fmla="*/ 864394 w 973932"/>
                  <a:gd name="connsiteY93" fmla="*/ 645319 h 864394"/>
                  <a:gd name="connsiteX94" fmla="*/ 845344 w 973932"/>
                  <a:gd name="connsiteY94" fmla="*/ 600075 h 864394"/>
                  <a:gd name="connsiteX95" fmla="*/ 881063 w 973932"/>
                  <a:gd name="connsiteY95" fmla="*/ 581025 h 864394"/>
                  <a:gd name="connsiteX96" fmla="*/ 921544 w 973932"/>
                  <a:gd name="connsiteY96" fmla="*/ 538163 h 864394"/>
                  <a:gd name="connsiteX97" fmla="*/ 912019 w 973932"/>
                  <a:gd name="connsiteY97" fmla="*/ 492919 h 864394"/>
                  <a:gd name="connsiteX98" fmla="*/ 907257 w 973932"/>
                  <a:gd name="connsiteY98" fmla="*/ 466725 h 864394"/>
                  <a:gd name="connsiteX99" fmla="*/ 892969 w 973932"/>
                  <a:gd name="connsiteY99" fmla="*/ 442913 h 864394"/>
                  <a:gd name="connsiteX100" fmla="*/ 907257 w 973932"/>
                  <a:gd name="connsiteY100" fmla="*/ 421482 h 864394"/>
                  <a:gd name="connsiteX101" fmla="*/ 935832 w 973932"/>
                  <a:gd name="connsiteY101" fmla="*/ 411957 h 864394"/>
                  <a:gd name="connsiteX102" fmla="*/ 962025 w 973932"/>
                  <a:gd name="connsiteY102" fmla="*/ 402432 h 864394"/>
                  <a:gd name="connsiteX103" fmla="*/ 973932 w 973932"/>
                  <a:gd name="connsiteY103" fmla="*/ 395288 h 864394"/>
                  <a:gd name="connsiteX104" fmla="*/ 973932 w 973932"/>
                  <a:gd name="connsiteY104" fmla="*/ 361950 h 864394"/>
                  <a:gd name="connsiteX105" fmla="*/ 892969 w 973932"/>
                  <a:gd name="connsiteY105" fmla="*/ 328613 h 864394"/>
                  <a:gd name="connsiteX106" fmla="*/ 854869 w 973932"/>
                  <a:gd name="connsiteY106" fmla="*/ 257175 h 864394"/>
                  <a:gd name="connsiteX107" fmla="*/ 840582 w 973932"/>
                  <a:gd name="connsiteY107" fmla="*/ 204788 h 864394"/>
                  <a:gd name="connsiteX108" fmla="*/ 804863 w 973932"/>
                  <a:gd name="connsiteY108" fmla="*/ 190500 h 864394"/>
                  <a:gd name="connsiteX109" fmla="*/ 785813 w 973932"/>
                  <a:gd name="connsiteY109" fmla="*/ 164307 h 864394"/>
                  <a:gd name="connsiteX110" fmla="*/ 769144 w 973932"/>
                  <a:gd name="connsiteY110" fmla="*/ 102394 h 864394"/>
                  <a:gd name="connsiteX111" fmla="*/ 726282 w 973932"/>
                  <a:gd name="connsiteY111" fmla="*/ 76200 h 864394"/>
                  <a:gd name="connsiteX112" fmla="*/ 669132 w 973932"/>
                  <a:gd name="connsiteY112" fmla="*/ 71438 h 864394"/>
                  <a:gd name="connsiteX113" fmla="*/ 650082 w 973932"/>
                  <a:gd name="connsiteY113" fmla="*/ 30957 h 864394"/>
                  <a:gd name="connsiteX114" fmla="*/ 559594 w 973932"/>
                  <a:gd name="connsiteY114" fmla="*/ 4763 h 864394"/>
                  <a:gd name="connsiteX115" fmla="*/ 461963 w 973932"/>
                  <a:gd name="connsiteY115" fmla="*/ 0 h 864394"/>
                  <a:gd name="connsiteX0" fmla="*/ 461963 w 973932"/>
                  <a:gd name="connsiteY0" fmla="*/ 0 h 864394"/>
                  <a:gd name="connsiteX1" fmla="*/ 454819 w 973932"/>
                  <a:gd name="connsiteY1" fmla="*/ 71438 h 864394"/>
                  <a:gd name="connsiteX2" fmla="*/ 411957 w 973932"/>
                  <a:gd name="connsiteY2" fmla="*/ 78582 h 864394"/>
                  <a:gd name="connsiteX3" fmla="*/ 395288 w 973932"/>
                  <a:gd name="connsiteY3" fmla="*/ 66675 h 864394"/>
                  <a:gd name="connsiteX4" fmla="*/ 359569 w 973932"/>
                  <a:gd name="connsiteY4" fmla="*/ 64294 h 864394"/>
                  <a:gd name="connsiteX5" fmla="*/ 333375 w 973932"/>
                  <a:gd name="connsiteY5" fmla="*/ 64294 h 864394"/>
                  <a:gd name="connsiteX6" fmla="*/ 304800 w 973932"/>
                  <a:gd name="connsiteY6" fmla="*/ 76200 h 864394"/>
                  <a:gd name="connsiteX7" fmla="*/ 271463 w 973932"/>
                  <a:gd name="connsiteY7" fmla="*/ 100013 h 864394"/>
                  <a:gd name="connsiteX8" fmla="*/ 214313 w 973932"/>
                  <a:gd name="connsiteY8" fmla="*/ 59532 h 864394"/>
                  <a:gd name="connsiteX9" fmla="*/ 142875 w 973932"/>
                  <a:gd name="connsiteY9" fmla="*/ 61913 h 864394"/>
                  <a:gd name="connsiteX10" fmla="*/ 92869 w 973932"/>
                  <a:gd name="connsiteY10" fmla="*/ 50007 h 864394"/>
                  <a:gd name="connsiteX11" fmla="*/ 33338 w 973932"/>
                  <a:gd name="connsiteY11" fmla="*/ 97632 h 864394"/>
                  <a:gd name="connsiteX12" fmla="*/ 4763 w 973932"/>
                  <a:gd name="connsiteY12" fmla="*/ 121444 h 864394"/>
                  <a:gd name="connsiteX13" fmla="*/ 0 w 973932"/>
                  <a:gd name="connsiteY13" fmla="*/ 147638 h 864394"/>
                  <a:gd name="connsiteX14" fmla="*/ 47625 w 973932"/>
                  <a:gd name="connsiteY14" fmla="*/ 200025 h 864394"/>
                  <a:gd name="connsiteX15" fmla="*/ 66675 w 973932"/>
                  <a:gd name="connsiteY15" fmla="*/ 271463 h 864394"/>
                  <a:gd name="connsiteX16" fmla="*/ 102394 w 973932"/>
                  <a:gd name="connsiteY16" fmla="*/ 300038 h 864394"/>
                  <a:gd name="connsiteX17" fmla="*/ 130969 w 973932"/>
                  <a:gd name="connsiteY17" fmla="*/ 319088 h 864394"/>
                  <a:gd name="connsiteX18" fmla="*/ 166688 w 973932"/>
                  <a:gd name="connsiteY18" fmla="*/ 333375 h 864394"/>
                  <a:gd name="connsiteX19" fmla="*/ 192882 w 973932"/>
                  <a:gd name="connsiteY19" fmla="*/ 338138 h 864394"/>
                  <a:gd name="connsiteX20" fmla="*/ 228600 w 973932"/>
                  <a:gd name="connsiteY20" fmla="*/ 326232 h 864394"/>
                  <a:gd name="connsiteX21" fmla="*/ 252413 w 973932"/>
                  <a:gd name="connsiteY21" fmla="*/ 316707 h 864394"/>
                  <a:gd name="connsiteX22" fmla="*/ 271463 w 973932"/>
                  <a:gd name="connsiteY22" fmla="*/ 304800 h 864394"/>
                  <a:gd name="connsiteX23" fmla="*/ 300038 w 973932"/>
                  <a:gd name="connsiteY23" fmla="*/ 288132 h 864394"/>
                  <a:gd name="connsiteX24" fmla="*/ 321469 w 973932"/>
                  <a:gd name="connsiteY24" fmla="*/ 309563 h 864394"/>
                  <a:gd name="connsiteX25" fmla="*/ 319088 w 973932"/>
                  <a:gd name="connsiteY25" fmla="*/ 342900 h 864394"/>
                  <a:gd name="connsiteX26" fmla="*/ 300038 w 973932"/>
                  <a:gd name="connsiteY26" fmla="*/ 381000 h 864394"/>
                  <a:gd name="connsiteX27" fmla="*/ 271463 w 973932"/>
                  <a:gd name="connsiteY27" fmla="*/ 411957 h 864394"/>
                  <a:gd name="connsiteX28" fmla="*/ 238125 w 973932"/>
                  <a:gd name="connsiteY28" fmla="*/ 423863 h 864394"/>
                  <a:gd name="connsiteX29" fmla="*/ 211932 w 973932"/>
                  <a:gd name="connsiteY29" fmla="*/ 431007 h 864394"/>
                  <a:gd name="connsiteX30" fmla="*/ 161925 w 973932"/>
                  <a:gd name="connsiteY30" fmla="*/ 433388 h 864394"/>
                  <a:gd name="connsiteX31" fmla="*/ 123825 w 973932"/>
                  <a:gd name="connsiteY31" fmla="*/ 416719 h 864394"/>
                  <a:gd name="connsiteX32" fmla="*/ 123825 w 973932"/>
                  <a:gd name="connsiteY32" fmla="*/ 395288 h 864394"/>
                  <a:gd name="connsiteX33" fmla="*/ 107157 w 973932"/>
                  <a:gd name="connsiteY33" fmla="*/ 376238 h 864394"/>
                  <a:gd name="connsiteX34" fmla="*/ 107157 w 973932"/>
                  <a:gd name="connsiteY34" fmla="*/ 376238 h 864394"/>
                  <a:gd name="connsiteX35" fmla="*/ 78582 w 973932"/>
                  <a:gd name="connsiteY35" fmla="*/ 416719 h 864394"/>
                  <a:gd name="connsiteX36" fmla="*/ 66675 w 973932"/>
                  <a:gd name="connsiteY36" fmla="*/ 461963 h 864394"/>
                  <a:gd name="connsiteX37" fmla="*/ 88107 w 973932"/>
                  <a:gd name="connsiteY37" fmla="*/ 481013 h 864394"/>
                  <a:gd name="connsiteX38" fmla="*/ 109538 w 973932"/>
                  <a:gd name="connsiteY38" fmla="*/ 511969 h 864394"/>
                  <a:gd name="connsiteX39" fmla="*/ 140494 w 973932"/>
                  <a:gd name="connsiteY39" fmla="*/ 533400 h 864394"/>
                  <a:gd name="connsiteX40" fmla="*/ 145257 w 973932"/>
                  <a:gd name="connsiteY40" fmla="*/ 557213 h 864394"/>
                  <a:gd name="connsiteX41" fmla="*/ 152400 w 973932"/>
                  <a:gd name="connsiteY41" fmla="*/ 566738 h 864394"/>
                  <a:gd name="connsiteX42" fmla="*/ 180975 w 973932"/>
                  <a:gd name="connsiteY42" fmla="*/ 595313 h 864394"/>
                  <a:gd name="connsiteX43" fmla="*/ 188119 w 973932"/>
                  <a:gd name="connsiteY43" fmla="*/ 661988 h 864394"/>
                  <a:gd name="connsiteX44" fmla="*/ 209550 w 973932"/>
                  <a:gd name="connsiteY44" fmla="*/ 681038 h 864394"/>
                  <a:gd name="connsiteX45" fmla="*/ 233363 w 973932"/>
                  <a:gd name="connsiteY45" fmla="*/ 688182 h 864394"/>
                  <a:gd name="connsiteX46" fmla="*/ 252413 w 973932"/>
                  <a:gd name="connsiteY46" fmla="*/ 702469 h 864394"/>
                  <a:gd name="connsiteX47" fmla="*/ 278607 w 973932"/>
                  <a:gd name="connsiteY47" fmla="*/ 721519 h 864394"/>
                  <a:gd name="connsiteX48" fmla="*/ 307182 w 973932"/>
                  <a:gd name="connsiteY48" fmla="*/ 766763 h 864394"/>
                  <a:gd name="connsiteX49" fmla="*/ 340519 w 973932"/>
                  <a:gd name="connsiteY49" fmla="*/ 773907 h 864394"/>
                  <a:gd name="connsiteX50" fmla="*/ 359569 w 973932"/>
                  <a:gd name="connsiteY50" fmla="*/ 759619 h 864394"/>
                  <a:gd name="connsiteX51" fmla="*/ 357188 w 973932"/>
                  <a:gd name="connsiteY51" fmla="*/ 738188 h 864394"/>
                  <a:gd name="connsiteX52" fmla="*/ 364332 w 973932"/>
                  <a:gd name="connsiteY52" fmla="*/ 716757 h 864394"/>
                  <a:gd name="connsiteX53" fmla="*/ 383382 w 973932"/>
                  <a:gd name="connsiteY53" fmla="*/ 711994 h 864394"/>
                  <a:gd name="connsiteX54" fmla="*/ 404813 w 973932"/>
                  <a:gd name="connsiteY54" fmla="*/ 721519 h 864394"/>
                  <a:gd name="connsiteX55" fmla="*/ 431007 w 973932"/>
                  <a:gd name="connsiteY55" fmla="*/ 733425 h 864394"/>
                  <a:gd name="connsiteX56" fmla="*/ 454819 w 973932"/>
                  <a:gd name="connsiteY56" fmla="*/ 740569 h 864394"/>
                  <a:gd name="connsiteX57" fmla="*/ 476250 w 973932"/>
                  <a:gd name="connsiteY57" fmla="*/ 728663 h 864394"/>
                  <a:gd name="connsiteX58" fmla="*/ 490538 w 973932"/>
                  <a:gd name="connsiteY58" fmla="*/ 704850 h 864394"/>
                  <a:gd name="connsiteX59" fmla="*/ 523875 w 973932"/>
                  <a:gd name="connsiteY59" fmla="*/ 683419 h 864394"/>
                  <a:gd name="connsiteX60" fmla="*/ 557213 w 973932"/>
                  <a:gd name="connsiteY60" fmla="*/ 685800 h 864394"/>
                  <a:gd name="connsiteX61" fmla="*/ 576263 w 973932"/>
                  <a:gd name="connsiteY61" fmla="*/ 664369 h 864394"/>
                  <a:gd name="connsiteX62" fmla="*/ 585788 w 973932"/>
                  <a:gd name="connsiteY62" fmla="*/ 626269 h 864394"/>
                  <a:gd name="connsiteX63" fmla="*/ 578644 w 973932"/>
                  <a:gd name="connsiteY63" fmla="*/ 585788 h 864394"/>
                  <a:gd name="connsiteX64" fmla="*/ 602457 w 973932"/>
                  <a:gd name="connsiteY64" fmla="*/ 535781 h 864394"/>
                  <a:gd name="connsiteX65" fmla="*/ 590550 w 973932"/>
                  <a:gd name="connsiteY65" fmla="*/ 490538 h 864394"/>
                  <a:gd name="connsiteX66" fmla="*/ 621507 w 973932"/>
                  <a:gd name="connsiteY66" fmla="*/ 473869 h 864394"/>
                  <a:gd name="connsiteX67" fmla="*/ 650082 w 973932"/>
                  <a:gd name="connsiteY67" fmla="*/ 492919 h 864394"/>
                  <a:gd name="connsiteX68" fmla="*/ 652463 w 973932"/>
                  <a:gd name="connsiteY68" fmla="*/ 523875 h 864394"/>
                  <a:gd name="connsiteX69" fmla="*/ 645319 w 973932"/>
                  <a:gd name="connsiteY69" fmla="*/ 550069 h 864394"/>
                  <a:gd name="connsiteX70" fmla="*/ 645319 w 973932"/>
                  <a:gd name="connsiteY70" fmla="*/ 581025 h 864394"/>
                  <a:gd name="connsiteX71" fmla="*/ 666750 w 973932"/>
                  <a:gd name="connsiteY71" fmla="*/ 602457 h 864394"/>
                  <a:gd name="connsiteX72" fmla="*/ 669132 w 973932"/>
                  <a:gd name="connsiteY72" fmla="*/ 654844 h 864394"/>
                  <a:gd name="connsiteX73" fmla="*/ 645319 w 973932"/>
                  <a:gd name="connsiteY73" fmla="*/ 709613 h 864394"/>
                  <a:gd name="connsiteX74" fmla="*/ 642938 w 973932"/>
                  <a:gd name="connsiteY74" fmla="*/ 771525 h 864394"/>
                  <a:gd name="connsiteX75" fmla="*/ 640557 w 973932"/>
                  <a:gd name="connsiteY75" fmla="*/ 795338 h 864394"/>
                  <a:gd name="connsiteX76" fmla="*/ 640557 w 973932"/>
                  <a:gd name="connsiteY76" fmla="*/ 814388 h 864394"/>
                  <a:gd name="connsiteX77" fmla="*/ 621507 w 973932"/>
                  <a:gd name="connsiteY77" fmla="*/ 826294 h 864394"/>
                  <a:gd name="connsiteX78" fmla="*/ 623888 w 973932"/>
                  <a:gd name="connsiteY78" fmla="*/ 845344 h 864394"/>
                  <a:gd name="connsiteX79" fmla="*/ 640557 w 973932"/>
                  <a:gd name="connsiteY79" fmla="*/ 857250 h 864394"/>
                  <a:gd name="connsiteX80" fmla="*/ 659607 w 973932"/>
                  <a:gd name="connsiteY80" fmla="*/ 850107 h 864394"/>
                  <a:gd name="connsiteX81" fmla="*/ 678657 w 973932"/>
                  <a:gd name="connsiteY81" fmla="*/ 857250 h 864394"/>
                  <a:gd name="connsiteX82" fmla="*/ 702469 w 973932"/>
                  <a:gd name="connsiteY82" fmla="*/ 862013 h 864394"/>
                  <a:gd name="connsiteX83" fmla="*/ 726282 w 973932"/>
                  <a:gd name="connsiteY83" fmla="*/ 864394 h 864394"/>
                  <a:gd name="connsiteX84" fmla="*/ 752475 w 973932"/>
                  <a:gd name="connsiteY84" fmla="*/ 852488 h 864394"/>
                  <a:gd name="connsiteX85" fmla="*/ 766763 w 973932"/>
                  <a:gd name="connsiteY85" fmla="*/ 823913 h 864394"/>
                  <a:gd name="connsiteX86" fmla="*/ 773907 w 973932"/>
                  <a:gd name="connsiteY86" fmla="*/ 792957 h 864394"/>
                  <a:gd name="connsiteX87" fmla="*/ 766763 w 973932"/>
                  <a:gd name="connsiteY87" fmla="*/ 769144 h 864394"/>
                  <a:gd name="connsiteX88" fmla="*/ 795338 w 973932"/>
                  <a:gd name="connsiteY88" fmla="*/ 764382 h 864394"/>
                  <a:gd name="connsiteX89" fmla="*/ 831057 w 973932"/>
                  <a:gd name="connsiteY89" fmla="*/ 709613 h 864394"/>
                  <a:gd name="connsiteX90" fmla="*/ 890588 w 973932"/>
                  <a:gd name="connsiteY90" fmla="*/ 688182 h 864394"/>
                  <a:gd name="connsiteX91" fmla="*/ 902494 w 973932"/>
                  <a:gd name="connsiteY91" fmla="*/ 661988 h 864394"/>
                  <a:gd name="connsiteX92" fmla="*/ 902494 w 973932"/>
                  <a:gd name="connsiteY92" fmla="*/ 661988 h 864394"/>
                  <a:gd name="connsiteX93" fmla="*/ 864394 w 973932"/>
                  <a:gd name="connsiteY93" fmla="*/ 645319 h 864394"/>
                  <a:gd name="connsiteX94" fmla="*/ 845344 w 973932"/>
                  <a:gd name="connsiteY94" fmla="*/ 600075 h 864394"/>
                  <a:gd name="connsiteX95" fmla="*/ 881063 w 973932"/>
                  <a:gd name="connsiteY95" fmla="*/ 581025 h 864394"/>
                  <a:gd name="connsiteX96" fmla="*/ 921544 w 973932"/>
                  <a:gd name="connsiteY96" fmla="*/ 538163 h 864394"/>
                  <a:gd name="connsiteX97" fmla="*/ 912019 w 973932"/>
                  <a:gd name="connsiteY97" fmla="*/ 492919 h 864394"/>
                  <a:gd name="connsiteX98" fmla="*/ 907257 w 973932"/>
                  <a:gd name="connsiteY98" fmla="*/ 466725 h 864394"/>
                  <a:gd name="connsiteX99" fmla="*/ 892969 w 973932"/>
                  <a:gd name="connsiteY99" fmla="*/ 442913 h 864394"/>
                  <a:gd name="connsiteX100" fmla="*/ 907257 w 973932"/>
                  <a:gd name="connsiteY100" fmla="*/ 421482 h 864394"/>
                  <a:gd name="connsiteX101" fmla="*/ 935832 w 973932"/>
                  <a:gd name="connsiteY101" fmla="*/ 411957 h 864394"/>
                  <a:gd name="connsiteX102" fmla="*/ 962025 w 973932"/>
                  <a:gd name="connsiteY102" fmla="*/ 402432 h 864394"/>
                  <a:gd name="connsiteX103" fmla="*/ 973932 w 973932"/>
                  <a:gd name="connsiteY103" fmla="*/ 395288 h 864394"/>
                  <a:gd name="connsiteX104" fmla="*/ 973932 w 973932"/>
                  <a:gd name="connsiteY104" fmla="*/ 361950 h 864394"/>
                  <a:gd name="connsiteX105" fmla="*/ 892969 w 973932"/>
                  <a:gd name="connsiteY105" fmla="*/ 328613 h 864394"/>
                  <a:gd name="connsiteX106" fmla="*/ 854869 w 973932"/>
                  <a:gd name="connsiteY106" fmla="*/ 257175 h 864394"/>
                  <a:gd name="connsiteX107" fmla="*/ 840582 w 973932"/>
                  <a:gd name="connsiteY107" fmla="*/ 204788 h 864394"/>
                  <a:gd name="connsiteX108" fmla="*/ 804863 w 973932"/>
                  <a:gd name="connsiteY108" fmla="*/ 190500 h 864394"/>
                  <a:gd name="connsiteX109" fmla="*/ 785813 w 973932"/>
                  <a:gd name="connsiteY109" fmla="*/ 164307 h 864394"/>
                  <a:gd name="connsiteX110" fmla="*/ 769144 w 973932"/>
                  <a:gd name="connsiteY110" fmla="*/ 102394 h 864394"/>
                  <a:gd name="connsiteX111" fmla="*/ 726282 w 973932"/>
                  <a:gd name="connsiteY111" fmla="*/ 76200 h 864394"/>
                  <a:gd name="connsiteX112" fmla="*/ 669132 w 973932"/>
                  <a:gd name="connsiteY112" fmla="*/ 71438 h 864394"/>
                  <a:gd name="connsiteX113" fmla="*/ 650082 w 973932"/>
                  <a:gd name="connsiteY113" fmla="*/ 30957 h 864394"/>
                  <a:gd name="connsiteX114" fmla="*/ 559594 w 973932"/>
                  <a:gd name="connsiteY114" fmla="*/ 4763 h 864394"/>
                  <a:gd name="connsiteX115" fmla="*/ 461963 w 973932"/>
                  <a:gd name="connsiteY115" fmla="*/ 0 h 864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973932" h="864394">
                    <a:moveTo>
                      <a:pt x="461963" y="0"/>
                    </a:moveTo>
                    <a:lnTo>
                      <a:pt x="454819" y="71438"/>
                    </a:lnTo>
                    <a:lnTo>
                      <a:pt x="411957" y="78582"/>
                    </a:lnTo>
                    <a:lnTo>
                      <a:pt x="395288" y="66675"/>
                    </a:lnTo>
                    <a:lnTo>
                      <a:pt x="359569" y="64294"/>
                    </a:lnTo>
                    <a:lnTo>
                      <a:pt x="333375" y="64294"/>
                    </a:lnTo>
                    <a:lnTo>
                      <a:pt x="304800" y="76200"/>
                    </a:lnTo>
                    <a:lnTo>
                      <a:pt x="271463" y="100013"/>
                    </a:lnTo>
                    <a:lnTo>
                      <a:pt x="214313" y="59532"/>
                    </a:lnTo>
                    <a:lnTo>
                      <a:pt x="142875" y="61913"/>
                    </a:lnTo>
                    <a:lnTo>
                      <a:pt x="92869" y="50007"/>
                    </a:lnTo>
                    <a:lnTo>
                      <a:pt x="33338" y="97632"/>
                    </a:lnTo>
                    <a:lnTo>
                      <a:pt x="4763" y="121444"/>
                    </a:lnTo>
                    <a:lnTo>
                      <a:pt x="0" y="147638"/>
                    </a:lnTo>
                    <a:lnTo>
                      <a:pt x="47625" y="200025"/>
                    </a:lnTo>
                    <a:lnTo>
                      <a:pt x="66675" y="271463"/>
                    </a:lnTo>
                    <a:lnTo>
                      <a:pt x="102394" y="300038"/>
                    </a:lnTo>
                    <a:lnTo>
                      <a:pt x="130969" y="319088"/>
                    </a:lnTo>
                    <a:lnTo>
                      <a:pt x="166688" y="333375"/>
                    </a:lnTo>
                    <a:lnTo>
                      <a:pt x="192882" y="338138"/>
                    </a:lnTo>
                    <a:lnTo>
                      <a:pt x="228600" y="326232"/>
                    </a:lnTo>
                    <a:lnTo>
                      <a:pt x="252413" y="316707"/>
                    </a:lnTo>
                    <a:lnTo>
                      <a:pt x="271463" y="304800"/>
                    </a:lnTo>
                    <a:lnTo>
                      <a:pt x="300038" y="288132"/>
                    </a:lnTo>
                    <a:lnTo>
                      <a:pt x="321469" y="309563"/>
                    </a:lnTo>
                    <a:lnTo>
                      <a:pt x="319088" y="342900"/>
                    </a:lnTo>
                    <a:lnTo>
                      <a:pt x="300038" y="381000"/>
                    </a:lnTo>
                    <a:lnTo>
                      <a:pt x="271463" y="411957"/>
                    </a:lnTo>
                    <a:lnTo>
                      <a:pt x="238125" y="423863"/>
                    </a:lnTo>
                    <a:lnTo>
                      <a:pt x="211932" y="431007"/>
                    </a:lnTo>
                    <a:lnTo>
                      <a:pt x="161925" y="433388"/>
                    </a:lnTo>
                    <a:lnTo>
                      <a:pt x="123825" y="416719"/>
                    </a:lnTo>
                    <a:lnTo>
                      <a:pt x="123825" y="395288"/>
                    </a:lnTo>
                    <a:lnTo>
                      <a:pt x="107157" y="376238"/>
                    </a:lnTo>
                    <a:lnTo>
                      <a:pt x="107157" y="376238"/>
                    </a:lnTo>
                    <a:lnTo>
                      <a:pt x="78582" y="416719"/>
                    </a:lnTo>
                    <a:lnTo>
                      <a:pt x="66675" y="461963"/>
                    </a:lnTo>
                    <a:lnTo>
                      <a:pt x="88107" y="481013"/>
                    </a:lnTo>
                    <a:lnTo>
                      <a:pt x="109538" y="511969"/>
                    </a:lnTo>
                    <a:lnTo>
                      <a:pt x="140494" y="533400"/>
                    </a:lnTo>
                    <a:lnTo>
                      <a:pt x="145257" y="557213"/>
                    </a:lnTo>
                    <a:lnTo>
                      <a:pt x="152400" y="566738"/>
                    </a:lnTo>
                    <a:lnTo>
                      <a:pt x="180975" y="595313"/>
                    </a:lnTo>
                    <a:lnTo>
                      <a:pt x="188119" y="661988"/>
                    </a:lnTo>
                    <a:lnTo>
                      <a:pt x="209550" y="681038"/>
                    </a:lnTo>
                    <a:lnTo>
                      <a:pt x="233363" y="688182"/>
                    </a:lnTo>
                    <a:lnTo>
                      <a:pt x="252413" y="702469"/>
                    </a:lnTo>
                    <a:lnTo>
                      <a:pt x="278607" y="721519"/>
                    </a:lnTo>
                    <a:lnTo>
                      <a:pt x="307182" y="766763"/>
                    </a:lnTo>
                    <a:lnTo>
                      <a:pt x="340519" y="773907"/>
                    </a:lnTo>
                    <a:lnTo>
                      <a:pt x="359569" y="759619"/>
                    </a:lnTo>
                    <a:lnTo>
                      <a:pt x="357188" y="738188"/>
                    </a:lnTo>
                    <a:lnTo>
                      <a:pt x="364332" y="716757"/>
                    </a:lnTo>
                    <a:lnTo>
                      <a:pt x="383382" y="711994"/>
                    </a:lnTo>
                    <a:lnTo>
                      <a:pt x="404813" y="721519"/>
                    </a:lnTo>
                    <a:lnTo>
                      <a:pt x="431007" y="733425"/>
                    </a:lnTo>
                    <a:lnTo>
                      <a:pt x="454819" y="740569"/>
                    </a:lnTo>
                    <a:lnTo>
                      <a:pt x="476250" y="728663"/>
                    </a:lnTo>
                    <a:lnTo>
                      <a:pt x="490538" y="704850"/>
                    </a:lnTo>
                    <a:lnTo>
                      <a:pt x="523875" y="683419"/>
                    </a:lnTo>
                    <a:lnTo>
                      <a:pt x="557213" y="685800"/>
                    </a:lnTo>
                    <a:lnTo>
                      <a:pt x="576263" y="664369"/>
                    </a:lnTo>
                    <a:lnTo>
                      <a:pt x="585788" y="626269"/>
                    </a:lnTo>
                    <a:lnTo>
                      <a:pt x="578644" y="585788"/>
                    </a:lnTo>
                    <a:lnTo>
                      <a:pt x="602457" y="535781"/>
                    </a:lnTo>
                    <a:lnTo>
                      <a:pt x="590550" y="490538"/>
                    </a:lnTo>
                    <a:lnTo>
                      <a:pt x="621507" y="473869"/>
                    </a:lnTo>
                    <a:lnTo>
                      <a:pt x="650082" y="492919"/>
                    </a:lnTo>
                    <a:lnTo>
                      <a:pt x="652463" y="523875"/>
                    </a:lnTo>
                    <a:lnTo>
                      <a:pt x="645319" y="550069"/>
                    </a:lnTo>
                    <a:lnTo>
                      <a:pt x="645319" y="581025"/>
                    </a:lnTo>
                    <a:lnTo>
                      <a:pt x="666750" y="602457"/>
                    </a:lnTo>
                    <a:lnTo>
                      <a:pt x="669132" y="654844"/>
                    </a:lnTo>
                    <a:lnTo>
                      <a:pt x="645319" y="709613"/>
                    </a:lnTo>
                    <a:cubicBezTo>
                      <a:pt x="644525" y="730250"/>
                      <a:pt x="643732" y="750888"/>
                      <a:pt x="642938" y="771525"/>
                    </a:cubicBezTo>
                    <a:lnTo>
                      <a:pt x="640557" y="795338"/>
                    </a:lnTo>
                    <a:lnTo>
                      <a:pt x="640557" y="814388"/>
                    </a:lnTo>
                    <a:lnTo>
                      <a:pt x="621507" y="826294"/>
                    </a:lnTo>
                    <a:lnTo>
                      <a:pt x="623888" y="845344"/>
                    </a:lnTo>
                    <a:lnTo>
                      <a:pt x="640557" y="857250"/>
                    </a:lnTo>
                    <a:lnTo>
                      <a:pt x="659607" y="850107"/>
                    </a:lnTo>
                    <a:lnTo>
                      <a:pt x="678657" y="857250"/>
                    </a:lnTo>
                    <a:lnTo>
                      <a:pt x="702469" y="862013"/>
                    </a:lnTo>
                    <a:lnTo>
                      <a:pt x="726282" y="864394"/>
                    </a:lnTo>
                    <a:lnTo>
                      <a:pt x="752475" y="852488"/>
                    </a:lnTo>
                    <a:lnTo>
                      <a:pt x="766763" y="823913"/>
                    </a:lnTo>
                    <a:lnTo>
                      <a:pt x="773907" y="792957"/>
                    </a:lnTo>
                    <a:lnTo>
                      <a:pt x="766763" y="769144"/>
                    </a:lnTo>
                    <a:lnTo>
                      <a:pt x="795338" y="764382"/>
                    </a:lnTo>
                    <a:lnTo>
                      <a:pt x="831057" y="709613"/>
                    </a:lnTo>
                    <a:lnTo>
                      <a:pt x="890588" y="688182"/>
                    </a:lnTo>
                    <a:lnTo>
                      <a:pt x="902494" y="661988"/>
                    </a:lnTo>
                    <a:lnTo>
                      <a:pt x="902494" y="661988"/>
                    </a:lnTo>
                    <a:lnTo>
                      <a:pt x="864394" y="645319"/>
                    </a:lnTo>
                    <a:lnTo>
                      <a:pt x="845344" y="600075"/>
                    </a:lnTo>
                    <a:lnTo>
                      <a:pt x="881063" y="581025"/>
                    </a:lnTo>
                    <a:lnTo>
                      <a:pt x="921544" y="538163"/>
                    </a:lnTo>
                    <a:lnTo>
                      <a:pt x="912019" y="492919"/>
                    </a:lnTo>
                    <a:lnTo>
                      <a:pt x="907257" y="466725"/>
                    </a:lnTo>
                    <a:lnTo>
                      <a:pt x="892969" y="442913"/>
                    </a:lnTo>
                    <a:lnTo>
                      <a:pt x="907257" y="421482"/>
                    </a:lnTo>
                    <a:lnTo>
                      <a:pt x="935832" y="411957"/>
                    </a:lnTo>
                    <a:lnTo>
                      <a:pt x="962025" y="402432"/>
                    </a:lnTo>
                    <a:lnTo>
                      <a:pt x="973932" y="395288"/>
                    </a:lnTo>
                    <a:lnTo>
                      <a:pt x="973932" y="361950"/>
                    </a:lnTo>
                    <a:lnTo>
                      <a:pt x="892969" y="328613"/>
                    </a:lnTo>
                    <a:lnTo>
                      <a:pt x="854869" y="257175"/>
                    </a:lnTo>
                    <a:lnTo>
                      <a:pt x="840582" y="204788"/>
                    </a:lnTo>
                    <a:lnTo>
                      <a:pt x="804863" y="190500"/>
                    </a:lnTo>
                    <a:lnTo>
                      <a:pt x="785813" y="164307"/>
                    </a:lnTo>
                    <a:lnTo>
                      <a:pt x="769144" y="102394"/>
                    </a:lnTo>
                    <a:lnTo>
                      <a:pt x="726282" y="76200"/>
                    </a:lnTo>
                    <a:lnTo>
                      <a:pt x="669132" y="71438"/>
                    </a:lnTo>
                    <a:lnTo>
                      <a:pt x="650082" y="30957"/>
                    </a:lnTo>
                    <a:lnTo>
                      <a:pt x="559594" y="4763"/>
                    </a:lnTo>
                    <a:lnTo>
                      <a:pt x="461963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 386">
                <a:extLst>
                  <a:ext uri="{FF2B5EF4-FFF2-40B4-BE49-F238E27FC236}">
                    <a16:creationId xmlns:a16="http://schemas.microsoft.com/office/drawing/2014/main" id="{CF14E24B-AADC-E5AD-2501-A8DD99A13035}"/>
                  </a:ext>
                </a:extLst>
              </p:cNvPr>
              <p:cNvSpPr/>
              <p:nvPr/>
            </p:nvSpPr>
            <p:spPr>
              <a:xfrm rot="21396613">
                <a:off x="1356158" y="3563118"/>
                <a:ext cx="1605958" cy="1282060"/>
              </a:xfrm>
              <a:custGeom>
                <a:avLst/>
                <a:gdLst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30956 w 1466850"/>
                  <a:gd name="connsiteY114" fmla="*/ 302419 h 1095375"/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83344 w 1466850"/>
                  <a:gd name="connsiteY114" fmla="*/ 311944 h 1095375"/>
                  <a:gd name="connsiteX115" fmla="*/ 30956 w 1466850"/>
                  <a:gd name="connsiteY115" fmla="*/ 302419 h 1095375"/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302419 h 1095375"/>
                  <a:gd name="connsiteX0" fmla="*/ 30956 w 1466850"/>
                  <a:gd name="connsiteY0" fmla="*/ 316706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316706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30956 w 1466850"/>
                  <a:gd name="connsiteY115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90487 w 1466850"/>
                  <a:gd name="connsiteY115" fmla="*/ 316706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83343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109538 w 1466850"/>
                  <a:gd name="connsiteY114" fmla="*/ 311945 h 1095375"/>
                  <a:gd name="connsiteX115" fmla="*/ 83343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109538 w 1466850"/>
                  <a:gd name="connsiteY114" fmla="*/ 311945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66676 w 1466850"/>
                  <a:gd name="connsiteY114" fmla="*/ 321470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1439 w 1466850"/>
                  <a:gd name="connsiteY114" fmla="*/ 300039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114300 w 1466850"/>
                  <a:gd name="connsiteY14" fmla="*/ 1095375 h 1095375"/>
                  <a:gd name="connsiteX15" fmla="*/ 242887 w 1466850"/>
                  <a:gd name="connsiteY15" fmla="*/ 1092994 h 1095375"/>
                  <a:gd name="connsiteX16" fmla="*/ 238125 w 1466850"/>
                  <a:gd name="connsiteY16" fmla="*/ 1045369 h 1095375"/>
                  <a:gd name="connsiteX17" fmla="*/ 230981 w 1466850"/>
                  <a:gd name="connsiteY17" fmla="*/ 1035844 h 1095375"/>
                  <a:gd name="connsiteX18" fmla="*/ 252412 w 1466850"/>
                  <a:gd name="connsiteY18" fmla="*/ 1019175 h 1095375"/>
                  <a:gd name="connsiteX19" fmla="*/ 314325 w 1466850"/>
                  <a:gd name="connsiteY19" fmla="*/ 995362 h 1095375"/>
                  <a:gd name="connsiteX20" fmla="*/ 311944 w 1466850"/>
                  <a:gd name="connsiteY20" fmla="*/ 959644 h 1095375"/>
                  <a:gd name="connsiteX21" fmla="*/ 326231 w 1466850"/>
                  <a:gd name="connsiteY21" fmla="*/ 942975 h 1095375"/>
                  <a:gd name="connsiteX22" fmla="*/ 452437 w 1466850"/>
                  <a:gd name="connsiteY22" fmla="*/ 950119 h 1095375"/>
                  <a:gd name="connsiteX23" fmla="*/ 464344 w 1466850"/>
                  <a:gd name="connsiteY23" fmla="*/ 933450 h 1095375"/>
                  <a:gd name="connsiteX24" fmla="*/ 476250 w 1466850"/>
                  <a:gd name="connsiteY24" fmla="*/ 883444 h 1095375"/>
                  <a:gd name="connsiteX25" fmla="*/ 488156 w 1466850"/>
                  <a:gd name="connsiteY25" fmla="*/ 857250 h 1095375"/>
                  <a:gd name="connsiteX26" fmla="*/ 526256 w 1466850"/>
                  <a:gd name="connsiteY26" fmla="*/ 862012 h 1095375"/>
                  <a:gd name="connsiteX27" fmla="*/ 545306 w 1466850"/>
                  <a:gd name="connsiteY27" fmla="*/ 909637 h 1095375"/>
                  <a:gd name="connsiteX28" fmla="*/ 566737 w 1466850"/>
                  <a:gd name="connsiteY28" fmla="*/ 881062 h 1095375"/>
                  <a:gd name="connsiteX29" fmla="*/ 621506 w 1466850"/>
                  <a:gd name="connsiteY29" fmla="*/ 845344 h 1095375"/>
                  <a:gd name="connsiteX30" fmla="*/ 709612 w 1466850"/>
                  <a:gd name="connsiteY30" fmla="*/ 814387 h 1095375"/>
                  <a:gd name="connsiteX31" fmla="*/ 716756 w 1466850"/>
                  <a:gd name="connsiteY31" fmla="*/ 769144 h 1095375"/>
                  <a:gd name="connsiteX32" fmla="*/ 742950 w 1466850"/>
                  <a:gd name="connsiteY32" fmla="*/ 750094 h 1095375"/>
                  <a:gd name="connsiteX33" fmla="*/ 785812 w 1466850"/>
                  <a:gd name="connsiteY33" fmla="*/ 726281 h 1095375"/>
                  <a:gd name="connsiteX34" fmla="*/ 800100 w 1466850"/>
                  <a:gd name="connsiteY34" fmla="*/ 716756 h 1095375"/>
                  <a:gd name="connsiteX35" fmla="*/ 862012 w 1466850"/>
                  <a:gd name="connsiteY35" fmla="*/ 721519 h 1095375"/>
                  <a:gd name="connsiteX36" fmla="*/ 883444 w 1466850"/>
                  <a:gd name="connsiteY36" fmla="*/ 721519 h 1095375"/>
                  <a:gd name="connsiteX37" fmla="*/ 892969 w 1466850"/>
                  <a:gd name="connsiteY37" fmla="*/ 697706 h 1095375"/>
                  <a:gd name="connsiteX38" fmla="*/ 892969 w 1466850"/>
                  <a:gd name="connsiteY38" fmla="*/ 697706 h 1095375"/>
                  <a:gd name="connsiteX39" fmla="*/ 921544 w 1466850"/>
                  <a:gd name="connsiteY39" fmla="*/ 609600 h 1095375"/>
                  <a:gd name="connsiteX40" fmla="*/ 909637 w 1466850"/>
                  <a:gd name="connsiteY40" fmla="*/ 552450 h 1095375"/>
                  <a:gd name="connsiteX41" fmla="*/ 928687 w 1466850"/>
                  <a:gd name="connsiteY41" fmla="*/ 540544 h 1095375"/>
                  <a:gd name="connsiteX42" fmla="*/ 973931 w 1466850"/>
                  <a:gd name="connsiteY42" fmla="*/ 535781 h 1095375"/>
                  <a:gd name="connsiteX43" fmla="*/ 1014412 w 1466850"/>
                  <a:gd name="connsiteY43" fmla="*/ 447675 h 1095375"/>
                  <a:gd name="connsiteX44" fmla="*/ 1038225 w 1466850"/>
                  <a:gd name="connsiteY44" fmla="*/ 445294 h 1095375"/>
                  <a:gd name="connsiteX45" fmla="*/ 1073944 w 1466850"/>
                  <a:gd name="connsiteY45" fmla="*/ 476250 h 1095375"/>
                  <a:gd name="connsiteX46" fmla="*/ 1112044 w 1466850"/>
                  <a:gd name="connsiteY46" fmla="*/ 514350 h 1095375"/>
                  <a:gd name="connsiteX47" fmla="*/ 1171575 w 1466850"/>
                  <a:gd name="connsiteY47" fmla="*/ 540544 h 1095375"/>
                  <a:gd name="connsiteX48" fmla="*/ 1219200 w 1466850"/>
                  <a:gd name="connsiteY48" fmla="*/ 521494 h 1095375"/>
                  <a:gd name="connsiteX49" fmla="*/ 1245394 w 1466850"/>
                  <a:gd name="connsiteY49" fmla="*/ 502444 h 1095375"/>
                  <a:gd name="connsiteX50" fmla="*/ 1278731 w 1466850"/>
                  <a:gd name="connsiteY50" fmla="*/ 511969 h 1095375"/>
                  <a:gd name="connsiteX51" fmla="*/ 1295400 w 1466850"/>
                  <a:gd name="connsiteY51" fmla="*/ 531019 h 1095375"/>
                  <a:gd name="connsiteX52" fmla="*/ 1273969 w 1466850"/>
                  <a:gd name="connsiteY52" fmla="*/ 573881 h 1095375"/>
                  <a:gd name="connsiteX53" fmla="*/ 1271587 w 1466850"/>
                  <a:gd name="connsiteY53" fmla="*/ 602456 h 1095375"/>
                  <a:gd name="connsiteX54" fmla="*/ 1285875 w 1466850"/>
                  <a:gd name="connsiteY54" fmla="*/ 611981 h 1095375"/>
                  <a:gd name="connsiteX55" fmla="*/ 1300162 w 1466850"/>
                  <a:gd name="connsiteY55" fmla="*/ 628650 h 1095375"/>
                  <a:gd name="connsiteX56" fmla="*/ 1321594 w 1466850"/>
                  <a:gd name="connsiteY56" fmla="*/ 666750 h 1095375"/>
                  <a:gd name="connsiteX57" fmla="*/ 1347787 w 1466850"/>
                  <a:gd name="connsiteY57" fmla="*/ 681037 h 1095375"/>
                  <a:gd name="connsiteX58" fmla="*/ 1371600 w 1466850"/>
                  <a:gd name="connsiteY58" fmla="*/ 681037 h 1095375"/>
                  <a:gd name="connsiteX59" fmla="*/ 1376362 w 1466850"/>
                  <a:gd name="connsiteY59" fmla="*/ 628650 h 1095375"/>
                  <a:gd name="connsiteX60" fmla="*/ 1395412 w 1466850"/>
                  <a:gd name="connsiteY60" fmla="*/ 578644 h 1095375"/>
                  <a:gd name="connsiteX61" fmla="*/ 1426369 w 1466850"/>
                  <a:gd name="connsiteY61" fmla="*/ 571500 h 1095375"/>
                  <a:gd name="connsiteX62" fmla="*/ 1466850 w 1466850"/>
                  <a:gd name="connsiteY62" fmla="*/ 552450 h 1095375"/>
                  <a:gd name="connsiteX63" fmla="*/ 1443037 w 1466850"/>
                  <a:gd name="connsiteY63" fmla="*/ 509587 h 1095375"/>
                  <a:gd name="connsiteX64" fmla="*/ 1414462 w 1466850"/>
                  <a:gd name="connsiteY64" fmla="*/ 464344 h 1095375"/>
                  <a:gd name="connsiteX65" fmla="*/ 1388269 w 1466850"/>
                  <a:gd name="connsiteY65" fmla="*/ 438150 h 1095375"/>
                  <a:gd name="connsiteX66" fmla="*/ 1404937 w 1466850"/>
                  <a:gd name="connsiteY66" fmla="*/ 400050 h 1095375"/>
                  <a:gd name="connsiteX67" fmla="*/ 1404937 w 1466850"/>
                  <a:gd name="connsiteY67" fmla="*/ 383381 h 1095375"/>
                  <a:gd name="connsiteX68" fmla="*/ 1431131 w 1466850"/>
                  <a:gd name="connsiteY68" fmla="*/ 338137 h 1095375"/>
                  <a:gd name="connsiteX69" fmla="*/ 1419225 w 1466850"/>
                  <a:gd name="connsiteY69" fmla="*/ 264319 h 1095375"/>
                  <a:gd name="connsiteX70" fmla="*/ 1438275 w 1466850"/>
                  <a:gd name="connsiteY70" fmla="*/ 202406 h 1095375"/>
                  <a:gd name="connsiteX71" fmla="*/ 1435894 w 1466850"/>
                  <a:gd name="connsiteY71" fmla="*/ 173831 h 1095375"/>
                  <a:gd name="connsiteX72" fmla="*/ 1404937 w 1466850"/>
                  <a:gd name="connsiteY72" fmla="*/ 164306 h 1095375"/>
                  <a:gd name="connsiteX73" fmla="*/ 1364456 w 1466850"/>
                  <a:gd name="connsiteY73" fmla="*/ 154781 h 1095375"/>
                  <a:gd name="connsiteX74" fmla="*/ 1293019 w 1466850"/>
                  <a:gd name="connsiteY74" fmla="*/ 154781 h 1095375"/>
                  <a:gd name="connsiteX75" fmla="*/ 1233487 w 1466850"/>
                  <a:gd name="connsiteY75" fmla="*/ 121444 h 1095375"/>
                  <a:gd name="connsiteX76" fmla="*/ 1207294 w 1466850"/>
                  <a:gd name="connsiteY76" fmla="*/ 114300 h 1095375"/>
                  <a:gd name="connsiteX77" fmla="*/ 1188244 w 1466850"/>
                  <a:gd name="connsiteY77" fmla="*/ 126206 h 1095375"/>
                  <a:gd name="connsiteX78" fmla="*/ 1133475 w 1466850"/>
                  <a:gd name="connsiteY78" fmla="*/ 188119 h 1095375"/>
                  <a:gd name="connsiteX79" fmla="*/ 1116806 w 1466850"/>
                  <a:gd name="connsiteY79" fmla="*/ 188119 h 1095375"/>
                  <a:gd name="connsiteX80" fmla="*/ 1078706 w 1466850"/>
                  <a:gd name="connsiteY80" fmla="*/ 142875 h 1095375"/>
                  <a:gd name="connsiteX81" fmla="*/ 1054894 w 1466850"/>
                  <a:gd name="connsiteY81" fmla="*/ 138112 h 1095375"/>
                  <a:gd name="connsiteX82" fmla="*/ 997744 w 1466850"/>
                  <a:gd name="connsiteY82" fmla="*/ 157162 h 1095375"/>
                  <a:gd name="connsiteX83" fmla="*/ 973931 w 1466850"/>
                  <a:gd name="connsiteY83" fmla="*/ 178594 h 1095375"/>
                  <a:gd name="connsiteX84" fmla="*/ 928687 w 1466850"/>
                  <a:gd name="connsiteY84" fmla="*/ 173831 h 1095375"/>
                  <a:gd name="connsiteX85" fmla="*/ 878681 w 1466850"/>
                  <a:gd name="connsiteY85" fmla="*/ 164306 h 1095375"/>
                  <a:gd name="connsiteX86" fmla="*/ 864394 w 1466850"/>
                  <a:gd name="connsiteY86" fmla="*/ 83344 h 1095375"/>
                  <a:gd name="connsiteX87" fmla="*/ 845344 w 1466850"/>
                  <a:gd name="connsiteY87" fmla="*/ 69056 h 1095375"/>
                  <a:gd name="connsiteX88" fmla="*/ 747712 w 1466850"/>
                  <a:gd name="connsiteY88" fmla="*/ 119062 h 1095375"/>
                  <a:gd name="connsiteX89" fmla="*/ 721519 w 1466850"/>
                  <a:gd name="connsiteY89" fmla="*/ 140494 h 1095375"/>
                  <a:gd name="connsiteX90" fmla="*/ 709612 w 1466850"/>
                  <a:gd name="connsiteY90" fmla="*/ 190500 h 1095375"/>
                  <a:gd name="connsiteX91" fmla="*/ 707231 w 1466850"/>
                  <a:gd name="connsiteY91" fmla="*/ 195262 h 1095375"/>
                  <a:gd name="connsiteX92" fmla="*/ 654844 w 1466850"/>
                  <a:gd name="connsiteY92" fmla="*/ 190500 h 1095375"/>
                  <a:gd name="connsiteX93" fmla="*/ 633412 w 1466850"/>
                  <a:gd name="connsiteY93" fmla="*/ 180975 h 1095375"/>
                  <a:gd name="connsiteX94" fmla="*/ 614362 w 1466850"/>
                  <a:gd name="connsiteY94" fmla="*/ 142875 h 1095375"/>
                  <a:gd name="connsiteX95" fmla="*/ 590550 w 1466850"/>
                  <a:gd name="connsiteY95" fmla="*/ 130969 h 1095375"/>
                  <a:gd name="connsiteX96" fmla="*/ 540544 w 1466850"/>
                  <a:gd name="connsiteY96" fmla="*/ 161925 h 1095375"/>
                  <a:gd name="connsiteX97" fmla="*/ 507206 w 1466850"/>
                  <a:gd name="connsiteY97" fmla="*/ 154781 h 1095375"/>
                  <a:gd name="connsiteX98" fmla="*/ 495300 w 1466850"/>
                  <a:gd name="connsiteY98" fmla="*/ 123825 h 1095375"/>
                  <a:gd name="connsiteX99" fmla="*/ 490537 w 1466850"/>
                  <a:gd name="connsiteY99" fmla="*/ 114300 h 1095375"/>
                  <a:gd name="connsiteX100" fmla="*/ 431006 w 1466850"/>
                  <a:gd name="connsiteY100" fmla="*/ 97631 h 1095375"/>
                  <a:gd name="connsiteX101" fmla="*/ 442912 w 1466850"/>
                  <a:gd name="connsiteY101" fmla="*/ 33337 h 1095375"/>
                  <a:gd name="connsiteX102" fmla="*/ 423862 w 1466850"/>
                  <a:gd name="connsiteY102" fmla="*/ 19050 h 1095375"/>
                  <a:gd name="connsiteX103" fmla="*/ 335756 w 1466850"/>
                  <a:gd name="connsiteY103" fmla="*/ 0 h 1095375"/>
                  <a:gd name="connsiteX104" fmla="*/ 302419 w 1466850"/>
                  <a:gd name="connsiteY104" fmla="*/ 35719 h 1095375"/>
                  <a:gd name="connsiteX105" fmla="*/ 266700 w 1466850"/>
                  <a:gd name="connsiteY105" fmla="*/ 50006 h 1095375"/>
                  <a:gd name="connsiteX106" fmla="*/ 271462 w 1466850"/>
                  <a:gd name="connsiteY106" fmla="*/ 95250 h 1095375"/>
                  <a:gd name="connsiteX107" fmla="*/ 316706 w 1466850"/>
                  <a:gd name="connsiteY107" fmla="*/ 121444 h 1095375"/>
                  <a:gd name="connsiteX108" fmla="*/ 302419 w 1466850"/>
                  <a:gd name="connsiteY108" fmla="*/ 145256 h 1095375"/>
                  <a:gd name="connsiteX109" fmla="*/ 247650 w 1466850"/>
                  <a:gd name="connsiteY109" fmla="*/ 159544 h 1095375"/>
                  <a:gd name="connsiteX110" fmla="*/ 214312 w 1466850"/>
                  <a:gd name="connsiteY110" fmla="*/ 216694 h 1095375"/>
                  <a:gd name="connsiteX111" fmla="*/ 183356 w 1466850"/>
                  <a:gd name="connsiteY111" fmla="*/ 221456 h 1095375"/>
                  <a:gd name="connsiteX112" fmla="*/ 183356 w 1466850"/>
                  <a:gd name="connsiteY112" fmla="*/ 254794 h 1095375"/>
                  <a:gd name="connsiteX113" fmla="*/ 161925 w 1466850"/>
                  <a:gd name="connsiteY113" fmla="*/ 304800 h 1095375"/>
                  <a:gd name="connsiteX114" fmla="*/ 140494 w 1466850"/>
                  <a:gd name="connsiteY114" fmla="*/ 323850 h 1095375"/>
                  <a:gd name="connsiteX115" fmla="*/ 71439 w 1466850"/>
                  <a:gd name="connsiteY115" fmla="*/ 300039 h 1095375"/>
                  <a:gd name="connsiteX116" fmla="*/ 59530 w 1466850"/>
                  <a:gd name="connsiteY116" fmla="*/ 302418 h 1095375"/>
                  <a:gd name="connsiteX117" fmla="*/ 30956 w 1466850"/>
                  <a:gd name="connsiteY117" fmla="*/ 295274 h 1095375"/>
                  <a:gd name="connsiteX0" fmla="*/ 30956 w 1466850"/>
                  <a:gd name="connsiteY0" fmla="*/ 295274 h 1164431"/>
                  <a:gd name="connsiteX1" fmla="*/ 19050 w 1466850"/>
                  <a:gd name="connsiteY1" fmla="*/ 381000 h 1164431"/>
                  <a:gd name="connsiteX2" fmla="*/ 19050 w 1466850"/>
                  <a:gd name="connsiteY2" fmla="*/ 397669 h 1164431"/>
                  <a:gd name="connsiteX3" fmla="*/ 0 w 1466850"/>
                  <a:gd name="connsiteY3" fmla="*/ 459581 h 1164431"/>
                  <a:gd name="connsiteX4" fmla="*/ 7144 w 1466850"/>
                  <a:gd name="connsiteY4" fmla="*/ 497681 h 1164431"/>
                  <a:gd name="connsiteX5" fmla="*/ 9525 w 1466850"/>
                  <a:gd name="connsiteY5" fmla="*/ 535781 h 1164431"/>
                  <a:gd name="connsiteX6" fmla="*/ 19050 w 1466850"/>
                  <a:gd name="connsiteY6" fmla="*/ 583406 h 1164431"/>
                  <a:gd name="connsiteX7" fmla="*/ 23812 w 1466850"/>
                  <a:gd name="connsiteY7" fmla="*/ 688181 h 1164431"/>
                  <a:gd name="connsiteX8" fmla="*/ 35719 w 1466850"/>
                  <a:gd name="connsiteY8" fmla="*/ 747712 h 1164431"/>
                  <a:gd name="connsiteX9" fmla="*/ 40481 w 1466850"/>
                  <a:gd name="connsiteY9" fmla="*/ 778669 h 1164431"/>
                  <a:gd name="connsiteX10" fmla="*/ 47625 w 1466850"/>
                  <a:gd name="connsiteY10" fmla="*/ 831056 h 1164431"/>
                  <a:gd name="connsiteX11" fmla="*/ 38100 w 1466850"/>
                  <a:gd name="connsiteY11" fmla="*/ 919162 h 1164431"/>
                  <a:gd name="connsiteX12" fmla="*/ 78581 w 1466850"/>
                  <a:gd name="connsiteY12" fmla="*/ 1028700 h 1164431"/>
                  <a:gd name="connsiteX13" fmla="*/ 71437 w 1466850"/>
                  <a:gd name="connsiteY13" fmla="*/ 1095375 h 1164431"/>
                  <a:gd name="connsiteX14" fmla="*/ 88106 w 1466850"/>
                  <a:gd name="connsiteY14" fmla="*/ 1164431 h 1164431"/>
                  <a:gd name="connsiteX15" fmla="*/ 242887 w 1466850"/>
                  <a:gd name="connsiteY15" fmla="*/ 1092994 h 1164431"/>
                  <a:gd name="connsiteX16" fmla="*/ 238125 w 1466850"/>
                  <a:gd name="connsiteY16" fmla="*/ 1045369 h 1164431"/>
                  <a:gd name="connsiteX17" fmla="*/ 230981 w 1466850"/>
                  <a:gd name="connsiteY17" fmla="*/ 1035844 h 1164431"/>
                  <a:gd name="connsiteX18" fmla="*/ 252412 w 1466850"/>
                  <a:gd name="connsiteY18" fmla="*/ 1019175 h 1164431"/>
                  <a:gd name="connsiteX19" fmla="*/ 314325 w 1466850"/>
                  <a:gd name="connsiteY19" fmla="*/ 995362 h 1164431"/>
                  <a:gd name="connsiteX20" fmla="*/ 311944 w 1466850"/>
                  <a:gd name="connsiteY20" fmla="*/ 959644 h 1164431"/>
                  <a:gd name="connsiteX21" fmla="*/ 326231 w 1466850"/>
                  <a:gd name="connsiteY21" fmla="*/ 942975 h 1164431"/>
                  <a:gd name="connsiteX22" fmla="*/ 452437 w 1466850"/>
                  <a:gd name="connsiteY22" fmla="*/ 950119 h 1164431"/>
                  <a:gd name="connsiteX23" fmla="*/ 464344 w 1466850"/>
                  <a:gd name="connsiteY23" fmla="*/ 933450 h 1164431"/>
                  <a:gd name="connsiteX24" fmla="*/ 476250 w 1466850"/>
                  <a:gd name="connsiteY24" fmla="*/ 883444 h 1164431"/>
                  <a:gd name="connsiteX25" fmla="*/ 488156 w 1466850"/>
                  <a:gd name="connsiteY25" fmla="*/ 857250 h 1164431"/>
                  <a:gd name="connsiteX26" fmla="*/ 526256 w 1466850"/>
                  <a:gd name="connsiteY26" fmla="*/ 862012 h 1164431"/>
                  <a:gd name="connsiteX27" fmla="*/ 545306 w 1466850"/>
                  <a:gd name="connsiteY27" fmla="*/ 909637 h 1164431"/>
                  <a:gd name="connsiteX28" fmla="*/ 566737 w 1466850"/>
                  <a:gd name="connsiteY28" fmla="*/ 881062 h 1164431"/>
                  <a:gd name="connsiteX29" fmla="*/ 621506 w 1466850"/>
                  <a:gd name="connsiteY29" fmla="*/ 845344 h 1164431"/>
                  <a:gd name="connsiteX30" fmla="*/ 709612 w 1466850"/>
                  <a:gd name="connsiteY30" fmla="*/ 814387 h 1164431"/>
                  <a:gd name="connsiteX31" fmla="*/ 716756 w 1466850"/>
                  <a:gd name="connsiteY31" fmla="*/ 769144 h 1164431"/>
                  <a:gd name="connsiteX32" fmla="*/ 742950 w 1466850"/>
                  <a:gd name="connsiteY32" fmla="*/ 750094 h 1164431"/>
                  <a:gd name="connsiteX33" fmla="*/ 785812 w 1466850"/>
                  <a:gd name="connsiteY33" fmla="*/ 726281 h 1164431"/>
                  <a:gd name="connsiteX34" fmla="*/ 800100 w 1466850"/>
                  <a:gd name="connsiteY34" fmla="*/ 716756 h 1164431"/>
                  <a:gd name="connsiteX35" fmla="*/ 862012 w 1466850"/>
                  <a:gd name="connsiteY35" fmla="*/ 721519 h 1164431"/>
                  <a:gd name="connsiteX36" fmla="*/ 883444 w 1466850"/>
                  <a:gd name="connsiteY36" fmla="*/ 721519 h 1164431"/>
                  <a:gd name="connsiteX37" fmla="*/ 892969 w 1466850"/>
                  <a:gd name="connsiteY37" fmla="*/ 697706 h 1164431"/>
                  <a:gd name="connsiteX38" fmla="*/ 892969 w 1466850"/>
                  <a:gd name="connsiteY38" fmla="*/ 697706 h 1164431"/>
                  <a:gd name="connsiteX39" fmla="*/ 921544 w 1466850"/>
                  <a:gd name="connsiteY39" fmla="*/ 609600 h 1164431"/>
                  <a:gd name="connsiteX40" fmla="*/ 909637 w 1466850"/>
                  <a:gd name="connsiteY40" fmla="*/ 552450 h 1164431"/>
                  <a:gd name="connsiteX41" fmla="*/ 928687 w 1466850"/>
                  <a:gd name="connsiteY41" fmla="*/ 540544 h 1164431"/>
                  <a:gd name="connsiteX42" fmla="*/ 973931 w 1466850"/>
                  <a:gd name="connsiteY42" fmla="*/ 535781 h 1164431"/>
                  <a:gd name="connsiteX43" fmla="*/ 1014412 w 1466850"/>
                  <a:gd name="connsiteY43" fmla="*/ 447675 h 1164431"/>
                  <a:gd name="connsiteX44" fmla="*/ 1038225 w 1466850"/>
                  <a:gd name="connsiteY44" fmla="*/ 445294 h 1164431"/>
                  <a:gd name="connsiteX45" fmla="*/ 1073944 w 1466850"/>
                  <a:gd name="connsiteY45" fmla="*/ 476250 h 1164431"/>
                  <a:gd name="connsiteX46" fmla="*/ 1112044 w 1466850"/>
                  <a:gd name="connsiteY46" fmla="*/ 514350 h 1164431"/>
                  <a:gd name="connsiteX47" fmla="*/ 1171575 w 1466850"/>
                  <a:gd name="connsiteY47" fmla="*/ 540544 h 1164431"/>
                  <a:gd name="connsiteX48" fmla="*/ 1219200 w 1466850"/>
                  <a:gd name="connsiteY48" fmla="*/ 521494 h 1164431"/>
                  <a:gd name="connsiteX49" fmla="*/ 1245394 w 1466850"/>
                  <a:gd name="connsiteY49" fmla="*/ 502444 h 1164431"/>
                  <a:gd name="connsiteX50" fmla="*/ 1278731 w 1466850"/>
                  <a:gd name="connsiteY50" fmla="*/ 511969 h 1164431"/>
                  <a:gd name="connsiteX51" fmla="*/ 1295400 w 1466850"/>
                  <a:gd name="connsiteY51" fmla="*/ 531019 h 1164431"/>
                  <a:gd name="connsiteX52" fmla="*/ 1273969 w 1466850"/>
                  <a:gd name="connsiteY52" fmla="*/ 573881 h 1164431"/>
                  <a:gd name="connsiteX53" fmla="*/ 1271587 w 1466850"/>
                  <a:gd name="connsiteY53" fmla="*/ 602456 h 1164431"/>
                  <a:gd name="connsiteX54" fmla="*/ 1285875 w 1466850"/>
                  <a:gd name="connsiteY54" fmla="*/ 611981 h 1164431"/>
                  <a:gd name="connsiteX55" fmla="*/ 1300162 w 1466850"/>
                  <a:gd name="connsiteY55" fmla="*/ 628650 h 1164431"/>
                  <a:gd name="connsiteX56" fmla="*/ 1321594 w 1466850"/>
                  <a:gd name="connsiteY56" fmla="*/ 666750 h 1164431"/>
                  <a:gd name="connsiteX57" fmla="*/ 1347787 w 1466850"/>
                  <a:gd name="connsiteY57" fmla="*/ 681037 h 1164431"/>
                  <a:gd name="connsiteX58" fmla="*/ 1371600 w 1466850"/>
                  <a:gd name="connsiteY58" fmla="*/ 681037 h 1164431"/>
                  <a:gd name="connsiteX59" fmla="*/ 1376362 w 1466850"/>
                  <a:gd name="connsiteY59" fmla="*/ 628650 h 1164431"/>
                  <a:gd name="connsiteX60" fmla="*/ 1395412 w 1466850"/>
                  <a:gd name="connsiteY60" fmla="*/ 578644 h 1164431"/>
                  <a:gd name="connsiteX61" fmla="*/ 1426369 w 1466850"/>
                  <a:gd name="connsiteY61" fmla="*/ 571500 h 1164431"/>
                  <a:gd name="connsiteX62" fmla="*/ 1466850 w 1466850"/>
                  <a:gd name="connsiteY62" fmla="*/ 552450 h 1164431"/>
                  <a:gd name="connsiteX63" fmla="*/ 1443037 w 1466850"/>
                  <a:gd name="connsiteY63" fmla="*/ 509587 h 1164431"/>
                  <a:gd name="connsiteX64" fmla="*/ 1414462 w 1466850"/>
                  <a:gd name="connsiteY64" fmla="*/ 464344 h 1164431"/>
                  <a:gd name="connsiteX65" fmla="*/ 1388269 w 1466850"/>
                  <a:gd name="connsiteY65" fmla="*/ 438150 h 1164431"/>
                  <a:gd name="connsiteX66" fmla="*/ 1404937 w 1466850"/>
                  <a:gd name="connsiteY66" fmla="*/ 400050 h 1164431"/>
                  <a:gd name="connsiteX67" fmla="*/ 1404937 w 1466850"/>
                  <a:gd name="connsiteY67" fmla="*/ 383381 h 1164431"/>
                  <a:gd name="connsiteX68" fmla="*/ 1431131 w 1466850"/>
                  <a:gd name="connsiteY68" fmla="*/ 338137 h 1164431"/>
                  <a:gd name="connsiteX69" fmla="*/ 1419225 w 1466850"/>
                  <a:gd name="connsiteY69" fmla="*/ 264319 h 1164431"/>
                  <a:gd name="connsiteX70" fmla="*/ 1438275 w 1466850"/>
                  <a:gd name="connsiteY70" fmla="*/ 202406 h 1164431"/>
                  <a:gd name="connsiteX71" fmla="*/ 1435894 w 1466850"/>
                  <a:gd name="connsiteY71" fmla="*/ 173831 h 1164431"/>
                  <a:gd name="connsiteX72" fmla="*/ 1404937 w 1466850"/>
                  <a:gd name="connsiteY72" fmla="*/ 164306 h 1164431"/>
                  <a:gd name="connsiteX73" fmla="*/ 1364456 w 1466850"/>
                  <a:gd name="connsiteY73" fmla="*/ 154781 h 1164431"/>
                  <a:gd name="connsiteX74" fmla="*/ 1293019 w 1466850"/>
                  <a:gd name="connsiteY74" fmla="*/ 154781 h 1164431"/>
                  <a:gd name="connsiteX75" fmla="*/ 1233487 w 1466850"/>
                  <a:gd name="connsiteY75" fmla="*/ 121444 h 1164431"/>
                  <a:gd name="connsiteX76" fmla="*/ 1207294 w 1466850"/>
                  <a:gd name="connsiteY76" fmla="*/ 114300 h 1164431"/>
                  <a:gd name="connsiteX77" fmla="*/ 1188244 w 1466850"/>
                  <a:gd name="connsiteY77" fmla="*/ 126206 h 1164431"/>
                  <a:gd name="connsiteX78" fmla="*/ 1133475 w 1466850"/>
                  <a:gd name="connsiteY78" fmla="*/ 188119 h 1164431"/>
                  <a:gd name="connsiteX79" fmla="*/ 1116806 w 1466850"/>
                  <a:gd name="connsiteY79" fmla="*/ 188119 h 1164431"/>
                  <a:gd name="connsiteX80" fmla="*/ 1078706 w 1466850"/>
                  <a:gd name="connsiteY80" fmla="*/ 142875 h 1164431"/>
                  <a:gd name="connsiteX81" fmla="*/ 1054894 w 1466850"/>
                  <a:gd name="connsiteY81" fmla="*/ 138112 h 1164431"/>
                  <a:gd name="connsiteX82" fmla="*/ 997744 w 1466850"/>
                  <a:gd name="connsiteY82" fmla="*/ 157162 h 1164431"/>
                  <a:gd name="connsiteX83" fmla="*/ 973931 w 1466850"/>
                  <a:gd name="connsiteY83" fmla="*/ 178594 h 1164431"/>
                  <a:gd name="connsiteX84" fmla="*/ 928687 w 1466850"/>
                  <a:gd name="connsiteY84" fmla="*/ 173831 h 1164431"/>
                  <a:gd name="connsiteX85" fmla="*/ 878681 w 1466850"/>
                  <a:gd name="connsiteY85" fmla="*/ 164306 h 1164431"/>
                  <a:gd name="connsiteX86" fmla="*/ 864394 w 1466850"/>
                  <a:gd name="connsiteY86" fmla="*/ 83344 h 1164431"/>
                  <a:gd name="connsiteX87" fmla="*/ 845344 w 1466850"/>
                  <a:gd name="connsiteY87" fmla="*/ 69056 h 1164431"/>
                  <a:gd name="connsiteX88" fmla="*/ 747712 w 1466850"/>
                  <a:gd name="connsiteY88" fmla="*/ 119062 h 1164431"/>
                  <a:gd name="connsiteX89" fmla="*/ 721519 w 1466850"/>
                  <a:gd name="connsiteY89" fmla="*/ 140494 h 1164431"/>
                  <a:gd name="connsiteX90" fmla="*/ 709612 w 1466850"/>
                  <a:gd name="connsiteY90" fmla="*/ 190500 h 1164431"/>
                  <a:gd name="connsiteX91" fmla="*/ 707231 w 1466850"/>
                  <a:gd name="connsiteY91" fmla="*/ 195262 h 1164431"/>
                  <a:gd name="connsiteX92" fmla="*/ 654844 w 1466850"/>
                  <a:gd name="connsiteY92" fmla="*/ 190500 h 1164431"/>
                  <a:gd name="connsiteX93" fmla="*/ 633412 w 1466850"/>
                  <a:gd name="connsiteY93" fmla="*/ 180975 h 1164431"/>
                  <a:gd name="connsiteX94" fmla="*/ 614362 w 1466850"/>
                  <a:gd name="connsiteY94" fmla="*/ 142875 h 1164431"/>
                  <a:gd name="connsiteX95" fmla="*/ 590550 w 1466850"/>
                  <a:gd name="connsiteY95" fmla="*/ 130969 h 1164431"/>
                  <a:gd name="connsiteX96" fmla="*/ 540544 w 1466850"/>
                  <a:gd name="connsiteY96" fmla="*/ 161925 h 1164431"/>
                  <a:gd name="connsiteX97" fmla="*/ 507206 w 1466850"/>
                  <a:gd name="connsiteY97" fmla="*/ 154781 h 1164431"/>
                  <a:gd name="connsiteX98" fmla="*/ 495300 w 1466850"/>
                  <a:gd name="connsiteY98" fmla="*/ 123825 h 1164431"/>
                  <a:gd name="connsiteX99" fmla="*/ 490537 w 1466850"/>
                  <a:gd name="connsiteY99" fmla="*/ 114300 h 1164431"/>
                  <a:gd name="connsiteX100" fmla="*/ 431006 w 1466850"/>
                  <a:gd name="connsiteY100" fmla="*/ 97631 h 1164431"/>
                  <a:gd name="connsiteX101" fmla="*/ 442912 w 1466850"/>
                  <a:gd name="connsiteY101" fmla="*/ 33337 h 1164431"/>
                  <a:gd name="connsiteX102" fmla="*/ 423862 w 1466850"/>
                  <a:gd name="connsiteY102" fmla="*/ 19050 h 1164431"/>
                  <a:gd name="connsiteX103" fmla="*/ 335756 w 1466850"/>
                  <a:gd name="connsiteY103" fmla="*/ 0 h 1164431"/>
                  <a:gd name="connsiteX104" fmla="*/ 302419 w 1466850"/>
                  <a:gd name="connsiteY104" fmla="*/ 35719 h 1164431"/>
                  <a:gd name="connsiteX105" fmla="*/ 266700 w 1466850"/>
                  <a:gd name="connsiteY105" fmla="*/ 50006 h 1164431"/>
                  <a:gd name="connsiteX106" fmla="*/ 271462 w 1466850"/>
                  <a:gd name="connsiteY106" fmla="*/ 95250 h 1164431"/>
                  <a:gd name="connsiteX107" fmla="*/ 316706 w 1466850"/>
                  <a:gd name="connsiteY107" fmla="*/ 121444 h 1164431"/>
                  <a:gd name="connsiteX108" fmla="*/ 302419 w 1466850"/>
                  <a:gd name="connsiteY108" fmla="*/ 145256 h 1164431"/>
                  <a:gd name="connsiteX109" fmla="*/ 247650 w 1466850"/>
                  <a:gd name="connsiteY109" fmla="*/ 159544 h 1164431"/>
                  <a:gd name="connsiteX110" fmla="*/ 214312 w 1466850"/>
                  <a:gd name="connsiteY110" fmla="*/ 216694 h 1164431"/>
                  <a:gd name="connsiteX111" fmla="*/ 183356 w 1466850"/>
                  <a:gd name="connsiteY111" fmla="*/ 221456 h 1164431"/>
                  <a:gd name="connsiteX112" fmla="*/ 183356 w 1466850"/>
                  <a:gd name="connsiteY112" fmla="*/ 254794 h 1164431"/>
                  <a:gd name="connsiteX113" fmla="*/ 161925 w 1466850"/>
                  <a:gd name="connsiteY113" fmla="*/ 304800 h 1164431"/>
                  <a:gd name="connsiteX114" fmla="*/ 140494 w 1466850"/>
                  <a:gd name="connsiteY114" fmla="*/ 323850 h 1164431"/>
                  <a:gd name="connsiteX115" fmla="*/ 71439 w 1466850"/>
                  <a:gd name="connsiteY115" fmla="*/ 300039 h 1164431"/>
                  <a:gd name="connsiteX116" fmla="*/ 59530 w 1466850"/>
                  <a:gd name="connsiteY116" fmla="*/ 302418 h 1164431"/>
                  <a:gd name="connsiteX117" fmla="*/ 30956 w 1466850"/>
                  <a:gd name="connsiteY117" fmla="*/ 295274 h 1164431"/>
                  <a:gd name="connsiteX0" fmla="*/ 30956 w 1466850"/>
                  <a:gd name="connsiteY0" fmla="*/ 295274 h 1164431"/>
                  <a:gd name="connsiteX1" fmla="*/ 19050 w 1466850"/>
                  <a:gd name="connsiteY1" fmla="*/ 381000 h 1164431"/>
                  <a:gd name="connsiteX2" fmla="*/ 19050 w 1466850"/>
                  <a:gd name="connsiteY2" fmla="*/ 397669 h 1164431"/>
                  <a:gd name="connsiteX3" fmla="*/ 0 w 1466850"/>
                  <a:gd name="connsiteY3" fmla="*/ 459581 h 1164431"/>
                  <a:gd name="connsiteX4" fmla="*/ 7144 w 1466850"/>
                  <a:gd name="connsiteY4" fmla="*/ 497681 h 1164431"/>
                  <a:gd name="connsiteX5" fmla="*/ 9525 w 1466850"/>
                  <a:gd name="connsiteY5" fmla="*/ 535781 h 1164431"/>
                  <a:gd name="connsiteX6" fmla="*/ 19050 w 1466850"/>
                  <a:gd name="connsiteY6" fmla="*/ 583406 h 1164431"/>
                  <a:gd name="connsiteX7" fmla="*/ 23812 w 1466850"/>
                  <a:gd name="connsiteY7" fmla="*/ 688181 h 1164431"/>
                  <a:gd name="connsiteX8" fmla="*/ 35719 w 1466850"/>
                  <a:gd name="connsiteY8" fmla="*/ 747712 h 1164431"/>
                  <a:gd name="connsiteX9" fmla="*/ 40481 w 1466850"/>
                  <a:gd name="connsiteY9" fmla="*/ 778669 h 1164431"/>
                  <a:gd name="connsiteX10" fmla="*/ 47625 w 1466850"/>
                  <a:gd name="connsiteY10" fmla="*/ 831056 h 1164431"/>
                  <a:gd name="connsiteX11" fmla="*/ 38100 w 1466850"/>
                  <a:gd name="connsiteY11" fmla="*/ 919162 h 1164431"/>
                  <a:gd name="connsiteX12" fmla="*/ 78581 w 1466850"/>
                  <a:gd name="connsiteY12" fmla="*/ 1028700 h 1164431"/>
                  <a:gd name="connsiteX13" fmla="*/ 71437 w 1466850"/>
                  <a:gd name="connsiteY13" fmla="*/ 1095375 h 1164431"/>
                  <a:gd name="connsiteX14" fmla="*/ 88106 w 1466850"/>
                  <a:gd name="connsiteY14" fmla="*/ 1164431 h 1164431"/>
                  <a:gd name="connsiteX15" fmla="*/ 128587 w 1466850"/>
                  <a:gd name="connsiteY15" fmla="*/ 1145381 h 1164431"/>
                  <a:gd name="connsiteX16" fmla="*/ 242887 w 1466850"/>
                  <a:gd name="connsiteY16" fmla="*/ 1092994 h 1164431"/>
                  <a:gd name="connsiteX17" fmla="*/ 238125 w 1466850"/>
                  <a:gd name="connsiteY17" fmla="*/ 1045369 h 1164431"/>
                  <a:gd name="connsiteX18" fmla="*/ 230981 w 1466850"/>
                  <a:gd name="connsiteY18" fmla="*/ 1035844 h 1164431"/>
                  <a:gd name="connsiteX19" fmla="*/ 252412 w 1466850"/>
                  <a:gd name="connsiteY19" fmla="*/ 1019175 h 1164431"/>
                  <a:gd name="connsiteX20" fmla="*/ 314325 w 1466850"/>
                  <a:gd name="connsiteY20" fmla="*/ 995362 h 1164431"/>
                  <a:gd name="connsiteX21" fmla="*/ 311944 w 1466850"/>
                  <a:gd name="connsiteY21" fmla="*/ 959644 h 1164431"/>
                  <a:gd name="connsiteX22" fmla="*/ 326231 w 1466850"/>
                  <a:gd name="connsiteY22" fmla="*/ 942975 h 1164431"/>
                  <a:gd name="connsiteX23" fmla="*/ 452437 w 1466850"/>
                  <a:gd name="connsiteY23" fmla="*/ 950119 h 1164431"/>
                  <a:gd name="connsiteX24" fmla="*/ 464344 w 1466850"/>
                  <a:gd name="connsiteY24" fmla="*/ 933450 h 1164431"/>
                  <a:gd name="connsiteX25" fmla="*/ 476250 w 1466850"/>
                  <a:gd name="connsiteY25" fmla="*/ 883444 h 1164431"/>
                  <a:gd name="connsiteX26" fmla="*/ 488156 w 1466850"/>
                  <a:gd name="connsiteY26" fmla="*/ 857250 h 1164431"/>
                  <a:gd name="connsiteX27" fmla="*/ 526256 w 1466850"/>
                  <a:gd name="connsiteY27" fmla="*/ 862012 h 1164431"/>
                  <a:gd name="connsiteX28" fmla="*/ 545306 w 1466850"/>
                  <a:gd name="connsiteY28" fmla="*/ 909637 h 1164431"/>
                  <a:gd name="connsiteX29" fmla="*/ 566737 w 1466850"/>
                  <a:gd name="connsiteY29" fmla="*/ 881062 h 1164431"/>
                  <a:gd name="connsiteX30" fmla="*/ 621506 w 1466850"/>
                  <a:gd name="connsiteY30" fmla="*/ 845344 h 1164431"/>
                  <a:gd name="connsiteX31" fmla="*/ 709612 w 1466850"/>
                  <a:gd name="connsiteY31" fmla="*/ 814387 h 1164431"/>
                  <a:gd name="connsiteX32" fmla="*/ 716756 w 1466850"/>
                  <a:gd name="connsiteY32" fmla="*/ 769144 h 1164431"/>
                  <a:gd name="connsiteX33" fmla="*/ 742950 w 1466850"/>
                  <a:gd name="connsiteY33" fmla="*/ 750094 h 1164431"/>
                  <a:gd name="connsiteX34" fmla="*/ 785812 w 1466850"/>
                  <a:gd name="connsiteY34" fmla="*/ 726281 h 1164431"/>
                  <a:gd name="connsiteX35" fmla="*/ 800100 w 1466850"/>
                  <a:gd name="connsiteY35" fmla="*/ 716756 h 1164431"/>
                  <a:gd name="connsiteX36" fmla="*/ 862012 w 1466850"/>
                  <a:gd name="connsiteY36" fmla="*/ 721519 h 1164431"/>
                  <a:gd name="connsiteX37" fmla="*/ 883444 w 1466850"/>
                  <a:gd name="connsiteY37" fmla="*/ 721519 h 1164431"/>
                  <a:gd name="connsiteX38" fmla="*/ 892969 w 1466850"/>
                  <a:gd name="connsiteY38" fmla="*/ 697706 h 1164431"/>
                  <a:gd name="connsiteX39" fmla="*/ 892969 w 1466850"/>
                  <a:gd name="connsiteY39" fmla="*/ 697706 h 1164431"/>
                  <a:gd name="connsiteX40" fmla="*/ 921544 w 1466850"/>
                  <a:gd name="connsiteY40" fmla="*/ 609600 h 1164431"/>
                  <a:gd name="connsiteX41" fmla="*/ 909637 w 1466850"/>
                  <a:gd name="connsiteY41" fmla="*/ 552450 h 1164431"/>
                  <a:gd name="connsiteX42" fmla="*/ 928687 w 1466850"/>
                  <a:gd name="connsiteY42" fmla="*/ 540544 h 1164431"/>
                  <a:gd name="connsiteX43" fmla="*/ 973931 w 1466850"/>
                  <a:gd name="connsiteY43" fmla="*/ 535781 h 1164431"/>
                  <a:gd name="connsiteX44" fmla="*/ 1014412 w 1466850"/>
                  <a:gd name="connsiteY44" fmla="*/ 447675 h 1164431"/>
                  <a:gd name="connsiteX45" fmla="*/ 1038225 w 1466850"/>
                  <a:gd name="connsiteY45" fmla="*/ 445294 h 1164431"/>
                  <a:gd name="connsiteX46" fmla="*/ 1073944 w 1466850"/>
                  <a:gd name="connsiteY46" fmla="*/ 476250 h 1164431"/>
                  <a:gd name="connsiteX47" fmla="*/ 1112044 w 1466850"/>
                  <a:gd name="connsiteY47" fmla="*/ 514350 h 1164431"/>
                  <a:gd name="connsiteX48" fmla="*/ 1171575 w 1466850"/>
                  <a:gd name="connsiteY48" fmla="*/ 540544 h 1164431"/>
                  <a:gd name="connsiteX49" fmla="*/ 1219200 w 1466850"/>
                  <a:gd name="connsiteY49" fmla="*/ 521494 h 1164431"/>
                  <a:gd name="connsiteX50" fmla="*/ 1245394 w 1466850"/>
                  <a:gd name="connsiteY50" fmla="*/ 502444 h 1164431"/>
                  <a:gd name="connsiteX51" fmla="*/ 1278731 w 1466850"/>
                  <a:gd name="connsiteY51" fmla="*/ 511969 h 1164431"/>
                  <a:gd name="connsiteX52" fmla="*/ 1295400 w 1466850"/>
                  <a:gd name="connsiteY52" fmla="*/ 531019 h 1164431"/>
                  <a:gd name="connsiteX53" fmla="*/ 1273969 w 1466850"/>
                  <a:gd name="connsiteY53" fmla="*/ 573881 h 1164431"/>
                  <a:gd name="connsiteX54" fmla="*/ 1271587 w 1466850"/>
                  <a:gd name="connsiteY54" fmla="*/ 602456 h 1164431"/>
                  <a:gd name="connsiteX55" fmla="*/ 1285875 w 1466850"/>
                  <a:gd name="connsiteY55" fmla="*/ 611981 h 1164431"/>
                  <a:gd name="connsiteX56" fmla="*/ 1300162 w 1466850"/>
                  <a:gd name="connsiteY56" fmla="*/ 628650 h 1164431"/>
                  <a:gd name="connsiteX57" fmla="*/ 1321594 w 1466850"/>
                  <a:gd name="connsiteY57" fmla="*/ 666750 h 1164431"/>
                  <a:gd name="connsiteX58" fmla="*/ 1347787 w 1466850"/>
                  <a:gd name="connsiteY58" fmla="*/ 681037 h 1164431"/>
                  <a:gd name="connsiteX59" fmla="*/ 1371600 w 1466850"/>
                  <a:gd name="connsiteY59" fmla="*/ 681037 h 1164431"/>
                  <a:gd name="connsiteX60" fmla="*/ 1376362 w 1466850"/>
                  <a:gd name="connsiteY60" fmla="*/ 628650 h 1164431"/>
                  <a:gd name="connsiteX61" fmla="*/ 1395412 w 1466850"/>
                  <a:gd name="connsiteY61" fmla="*/ 578644 h 1164431"/>
                  <a:gd name="connsiteX62" fmla="*/ 1426369 w 1466850"/>
                  <a:gd name="connsiteY62" fmla="*/ 571500 h 1164431"/>
                  <a:gd name="connsiteX63" fmla="*/ 1466850 w 1466850"/>
                  <a:gd name="connsiteY63" fmla="*/ 552450 h 1164431"/>
                  <a:gd name="connsiteX64" fmla="*/ 1443037 w 1466850"/>
                  <a:gd name="connsiteY64" fmla="*/ 509587 h 1164431"/>
                  <a:gd name="connsiteX65" fmla="*/ 1414462 w 1466850"/>
                  <a:gd name="connsiteY65" fmla="*/ 464344 h 1164431"/>
                  <a:gd name="connsiteX66" fmla="*/ 1388269 w 1466850"/>
                  <a:gd name="connsiteY66" fmla="*/ 438150 h 1164431"/>
                  <a:gd name="connsiteX67" fmla="*/ 1404937 w 1466850"/>
                  <a:gd name="connsiteY67" fmla="*/ 400050 h 1164431"/>
                  <a:gd name="connsiteX68" fmla="*/ 1404937 w 1466850"/>
                  <a:gd name="connsiteY68" fmla="*/ 383381 h 1164431"/>
                  <a:gd name="connsiteX69" fmla="*/ 1431131 w 1466850"/>
                  <a:gd name="connsiteY69" fmla="*/ 338137 h 1164431"/>
                  <a:gd name="connsiteX70" fmla="*/ 1419225 w 1466850"/>
                  <a:gd name="connsiteY70" fmla="*/ 264319 h 1164431"/>
                  <a:gd name="connsiteX71" fmla="*/ 1438275 w 1466850"/>
                  <a:gd name="connsiteY71" fmla="*/ 202406 h 1164431"/>
                  <a:gd name="connsiteX72" fmla="*/ 1435894 w 1466850"/>
                  <a:gd name="connsiteY72" fmla="*/ 173831 h 1164431"/>
                  <a:gd name="connsiteX73" fmla="*/ 1404937 w 1466850"/>
                  <a:gd name="connsiteY73" fmla="*/ 164306 h 1164431"/>
                  <a:gd name="connsiteX74" fmla="*/ 1364456 w 1466850"/>
                  <a:gd name="connsiteY74" fmla="*/ 154781 h 1164431"/>
                  <a:gd name="connsiteX75" fmla="*/ 1293019 w 1466850"/>
                  <a:gd name="connsiteY75" fmla="*/ 154781 h 1164431"/>
                  <a:gd name="connsiteX76" fmla="*/ 1233487 w 1466850"/>
                  <a:gd name="connsiteY76" fmla="*/ 121444 h 1164431"/>
                  <a:gd name="connsiteX77" fmla="*/ 1207294 w 1466850"/>
                  <a:gd name="connsiteY77" fmla="*/ 114300 h 1164431"/>
                  <a:gd name="connsiteX78" fmla="*/ 1188244 w 1466850"/>
                  <a:gd name="connsiteY78" fmla="*/ 126206 h 1164431"/>
                  <a:gd name="connsiteX79" fmla="*/ 1133475 w 1466850"/>
                  <a:gd name="connsiteY79" fmla="*/ 188119 h 1164431"/>
                  <a:gd name="connsiteX80" fmla="*/ 1116806 w 1466850"/>
                  <a:gd name="connsiteY80" fmla="*/ 188119 h 1164431"/>
                  <a:gd name="connsiteX81" fmla="*/ 1078706 w 1466850"/>
                  <a:gd name="connsiteY81" fmla="*/ 142875 h 1164431"/>
                  <a:gd name="connsiteX82" fmla="*/ 1054894 w 1466850"/>
                  <a:gd name="connsiteY82" fmla="*/ 138112 h 1164431"/>
                  <a:gd name="connsiteX83" fmla="*/ 997744 w 1466850"/>
                  <a:gd name="connsiteY83" fmla="*/ 157162 h 1164431"/>
                  <a:gd name="connsiteX84" fmla="*/ 973931 w 1466850"/>
                  <a:gd name="connsiteY84" fmla="*/ 178594 h 1164431"/>
                  <a:gd name="connsiteX85" fmla="*/ 928687 w 1466850"/>
                  <a:gd name="connsiteY85" fmla="*/ 173831 h 1164431"/>
                  <a:gd name="connsiteX86" fmla="*/ 878681 w 1466850"/>
                  <a:gd name="connsiteY86" fmla="*/ 164306 h 1164431"/>
                  <a:gd name="connsiteX87" fmla="*/ 864394 w 1466850"/>
                  <a:gd name="connsiteY87" fmla="*/ 83344 h 1164431"/>
                  <a:gd name="connsiteX88" fmla="*/ 845344 w 1466850"/>
                  <a:gd name="connsiteY88" fmla="*/ 69056 h 1164431"/>
                  <a:gd name="connsiteX89" fmla="*/ 747712 w 1466850"/>
                  <a:gd name="connsiteY89" fmla="*/ 119062 h 1164431"/>
                  <a:gd name="connsiteX90" fmla="*/ 721519 w 1466850"/>
                  <a:gd name="connsiteY90" fmla="*/ 140494 h 1164431"/>
                  <a:gd name="connsiteX91" fmla="*/ 709612 w 1466850"/>
                  <a:gd name="connsiteY91" fmla="*/ 190500 h 1164431"/>
                  <a:gd name="connsiteX92" fmla="*/ 707231 w 1466850"/>
                  <a:gd name="connsiteY92" fmla="*/ 195262 h 1164431"/>
                  <a:gd name="connsiteX93" fmla="*/ 654844 w 1466850"/>
                  <a:gd name="connsiteY93" fmla="*/ 190500 h 1164431"/>
                  <a:gd name="connsiteX94" fmla="*/ 633412 w 1466850"/>
                  <a:gd name="connsiteY94" fmla="*/ 180975 h 1164431"/>
                  <a:gd name="connsiteX95" fmla="*/ 614362 w 1466850"/>
                  <a:gd name="connsiteY95" fmla="*/ 142875 h 1164431"/>
                  <a:gd name="connsiteX96" fmla="*/ 590550 w 1466850"/>
                  <a:gd name="connsiteY96" fmla="*/ 130969 h 1164431"/>
                  <a:gd name="connsiteX97" fmla="*/ 540544 w 1466850"/>
                  <a:gd name="connsiteY97" fmla="*/ 161925 h 1164431"/>
                  <a:gd name="connsiteX98" fmla="*/ 507206 w 1466850"/>
                  <a:gd name="connsiteY98" fmla="*/ 154781 h 1164431"/>
                  <a:gd name="connsiteX99" fmla="*/ 495300 w 1466850"/>
                  <a:gd name="connsiteY99" fmla="*/ 123825 h 1164431"/>
                  <a:gd name="connsiteX100" fmla="*/ 490537 w 1466850"/>
                  <a:gd name="connsiteY100" fmla="*/ 114300 h 1164431"/>
                  <a:gd name="connsiteX101" fmla="*/ 431006 w 1466850"/>
                  <a:gd name="connsiteY101" fmla="*/ 97631 h 1164431"/>
                  <a:gd name="connsiteX102" fmla="*/ 442912 w 1466850"/>
                  <a:gd name="connsiteY102" fmla="*/ 33337 h 1164431"/>
                  <a:gd name="connsiteX103" fmla="*/ 423862 w 1466850"/>
                  <a:gd name="connsiteY103" fmla="*/ 19050 h 1164431"/>
                  <a:gd name="connsiteX104" fmla="*/ 335756 w 1466850"/>
                  <a:gd name="connsiteY104" fmla="*/ 0 h 1164431"/>
                  <a:gd name="connsiteX105" fmla="*/ 302419 w 1466850"/>
                  <a:gd name="connsiteY105" fmla="*/ 35719 h 1164431"/>
                  <a:gd name="connsiteX106" fmla="*/ 266700 w 1466850"/>
                  <a:gd name="connsiteY106" fmla="*/ 50006 h 1164431"/>
                  <a:gd name="connsiteX107" fmla="*/ 271462 w 1466850"/>
                  <a:gd name="connsiteY107" fmla="*/ 95250 h 1164431"/>
                  <a:gd name="connsiteX108" fmla="*/ 316706 w 1466850"/>
                  <a:gd name="connsiteY108" fmla="*/ 121444 h 1164431"/>
                  <a:gd name="connsiteX109" fmla="*/ 302419 w 1466850"/>
                  <a:gd name="connsiteY109" fmla="*/ 145256 h 1164431"/>
                  <a:gd name="connsiteX110" fmla="*/ 247650 w 1466850"/>
                  <a:gd name="connsiteY110" fmla="*/ 159544 h 1164431"/>
                  <a:gd name="connsiteX111" fmla="*/ 214312 w 1466850"/>
                  <a:gd name="connsiteY111" fmla="*/ 216694 h 1164431"/>
                  <a:gd name="connsiteX112" fmla="*/ 183356 w 1466850"/>
                  <a:gd name="connsiteY112" fmla="*/ 221456 h 1164431"/>
                  <a:gd name="connsiteX113" fmla="*/ 183356 w 1466850"/>
                  <a:gd name="connsiteY113" fmla="*/ 254794 h 1164431"/>
                  <a:gd name="connsiteX114" fmla="*/ 161925 w 1466850"/>
                  <a:gd name="connsiteY114" fmla="*/ 304800 h 1164431"/>
                  <a:gd name="connsiteX115" fmla="*/ 140494 w 1466850"/>
                  <a:gd name="connsiteY115" fmla="*/ 323850 h 1164431"/>
                  <a:gd name="connsiteX116" fmla="*/ 71439 w 1466850"/>
                  <a:gd name="connsiteY116" fmla="*/ 300039 h 1164431"/>
                  <a:gd name="connsiteX117" fmla="*/ 59530 w 1466850"/>
                  <a:gd name="connsiteY117" fmla="*/ 302418 h 1164431"/>
                  <a:gd name="connsiteX118" fmla="*/ 30956 w 1466850"/>
                  <a:gd name="connsiteY118" fmla="*/ 295274 h 1164431"/>
                  <a:gd name="connsiteX0" fmla="*/ 30956 w 1466850"/>
                  <a:gd name="connsiteY0" fmla="*/ 295274 h 1200149"/>
                  <a:gd name="connsiteX1" fmla="*/ 19050 w 1466850"/>
                  <a:gd name="connsiteY1" fmla="*/ 381000 h 1200149"/>
                  <a:gd name="connsiteX2" fmla="*/ 19050 w 1466850"/>
                  <a:gd name="connsiteY2" fmla="*/ 397669 h 1200149"/>
                  <a:gd name="connsiteX3" fmla="*/ 0 w 1466850"/>
                  <a:gd name="connsiteY3" fmla="*/ 459581 h 1200149"/>
                  <a:gd name="connsiteX4" fmla="*/ 7144 w 1466850"/>
                  <a:gd name="connsiteY4" fmla="*/ 497681 h 1200149"/>
                  <a:gd name="connsiteX5" fmla="*/ 9525 w 1466850"/>
                  <a:gd name="connsiteY5" fmla="*/ 535781 h 1200149"/>
                  <a:gd name="connsiteX6" fmla="*/ 19050 w 1466850"/>
                  <a:gd name="connsiteY6" fmla="*/ 583406 h 1200149"/>
                  <a:gd name="connsiteX7" fmla="*/ 23812 w 1466850"/>
                  <a:gd name="connsiteY7" fmla="*/ 688181 h 1200149"/>
                  <a:gd name="connsiteX8" fmla="*/ 35719 w 1466850"/>
                  <a:gd name="connsiteY8" fmla="*/ 747712 h 1200149"/>
                  <a:gd name="connsiteX9" fmla="*/ 40481 w 1466850"/>
                  <a:gd name="connsiteY9" fmla="*/ 778669 h 1200149"/>
                  <a:gd name="connsiteX10" fmla="*/ 47625 w 1466850"/>
                  <a:gd name="connsiteY10" fmla="*/ 831056 h 1200149"/>
                  <a:gd name="connsiteX11" fmla="*/ 38100 w 1466850"/>
                  <a:gd name="connsiteY11" fmla="*/ 919162 h 1200149"/>
                  <a:gd name="connsiteX12" fmla="*/ 78581 w 1466850"/>
                  <a:gd name="connsiteY12" fmla="*/ 1028700 h 1200149"/>
                  <a:gd name="connsiteX13" fmla="*/ 71437 w 1466850"/>
                  <a:gd name="connsiteY13" fmla="*/ 1095375 h 1200149"/>
                  <a:gd name="connsiteX14" fmla="*/ 88106 w 1466850"/>
                  <a:gd name="connsiteY14" fmla="*/ 1164431 h 1200149"/>
                  <a:gd name="connsiteX15" fmla="*/ 166687 w 1466850"/>
                  <a:gd name="connsiteY15" fmla="*/ 1200149 h 1200149"/>
                  <a:gd name="connsiteX16" fmla="*/ 242887 w 1466850"/>
                  <a:gd name="connsiteY16" fmla="*/ 1092994 h 1200149"/>
                  <a:gd name="connsiteX17" fmla="*/ 238125 w 1466850"/>
                  <a:gd name="connsiteY17" fmla="*/ 1045369 h 1200149"/>
                  <a:gd name="connsiteX18" fmla="*/ 230981 w 1466850"/>
                  <a:gd name="connsiteY18" fmla="*/ 1035844 h 1200149"/>
                  <a:gd name="connsiteX19" fmla="*/ 252412 w 1466850"/>
                  <a:gd name="connsiteY19" fmla="*/ 1019175 h 1200149"/>
                  <a:gd name="connsiteX20" fmla="*/ 314325 w 1466850"/>
                  <a:gd name="connsiteY20" fmla="*/ 995362 h 1200149"/>
                  <a:gd name="connsiteX21" fmla="*/ 311944 w 1466850"/>
                  <a:gd name="connsiteY21" fmla="*/ 959644 h 1200149"/>
                  <a:gd name="connsiteX22" fmla="*/ 326231 w 1466850"/>
                  <a:gd name="connsiteY22" fmla="*/ 942975 h 1200149"/>
                  <a:gd name="connsiteX23" fmla="*/ 452437 w 1466850"/>
                  <a:gd name="connsiteY23" fmla="*/ 950119 h 1200149"/>
                  <a:gd name="connsiteX24" fmla="*/ 464344 w 1466850"/>
                  <a:gd name="connsiteY24" fmla="*/ 933450 h 1200149"/>
                  <a:gd name="connsiteX25" fmla="*/ 476250 w 1466850"/>
                  <a:gd name="connsiteY25" fmla="*/ 883444 h 1200149"/>
                  <a:gd name="connsiteX26" fmla="*/ 488156 w 1466850"/>
                  <a:gd name="connsiteY26" fmla="*/ 857250 h 1200149"/>
                  <a:gd name="connsiteX27" fmla="*/ 526256 w 1466850"/>
                  <a:gd name="connsiteY27" fmla="*/ 862012 h 1200149"/>
                  <a:gd name="connsiteX28" fmla="*/ 545306 w 1466850"/>
                  <a:gd name="connsiteY28" fmla="*/ 909637 h 1200149"/>
                  <a:gd name="connsiteX29" fmla="*/ 566737 w 1466850"/>
                  <a:gd name="connsiteY29" fmla="*/ 881062 h 1200149"/>
                  <a:gd name="connsiteX30" fmla="*/ 621506 w 1466850"/>
                  <a:gd name="connsiteY30" fmla="*/ 845344 h 1200149"/>
                  <a:gd name="connsiteX31" fmla="*/ 709612 w 1466850"/>
                  <a:gd name="connsiteY31" fmla="*/ 814387 h 1200149"/>
                  <a:gd name="connsiteX32" fmla="*/ 716756 w 1466850"/>
                  <a:gd name="connsiteY32" fmla="*/ 769144 h 1200149"/>
                  <a:gd name="connsiteX33" fmla="*/ 742950 w 1466850"/>
                  <a:gd name="connsiteY33" fmla="*/ 750094 h 1200149"/>
                  <a:gd name="connsiteX34" fmla="*/ 785812 w 1466850"/>
                  <a:gd name="connsiteY34" fmla="*/ 726281 h 1200149"/>
                  <a:gd name="connsiteX35" fmla="*/ 800100 w 1466850"/>
                  <a:gd name="connsiteY35" fmla="*/ 716756 h 1200149"/>
                  <a:gd name="connsiteX36" fmla="*/ 862012 w 1466850"/>
                  <a:gd name="connsiteY36" fmla="*/ 721519 h 1200149"/>
                  <a:gd name="connsiteX37" fmla="*/ 883444 w 1466850"/>
                  <a:gd name="connsiteY37" fmla="*/ 721519 h 1200149"/>
                  <a:gd name="connsiteX38" fmla="*/ 892969 w 1466850"/>
                  <a:gd name="connsiteY38" fmla="*/ 697706 h 1200149"/>
                  <a:gd name="connsiteX39" fmla="*/ 892969 w 1466850"/>
                  <a:gd name="connsiteY39" fmla="*/ 697706 h 1200149"/>
                  <a:gd name="connsiteX40" fmla="*/ 921544 w 1466850"/>
                  <a:gd name="connsiteY40" fmla="*/ 609600 h 1200149"/>
                  <a:gd name="connsiteX41" fmla="*/ 909637 w 1466850"/>
                  <a:gd name="connsiteY41" fmla="*/ 552450 h 1200149"/>
                  <a:gd name="connsiteX42" fmla="*/ 928687 w 1466850"/>
                  <a:gd name="connsiteY42" fmla="*/ 540544 h 1200149"/>
                  <a:gd name="connsiteX43" fmla="*/ 973931 w 1466850"/>
                  <a:gd name="connsiteY43" fmla="*/ 535781 h 1200149"/>
                  <a:gd name="connsiteX44" fmla="*/ 1014412 w 1466850"/>
                  <a:gd name="connsiteY44" fmla="*/ 447675 h 1200149"/>
                  <a:gd name="connsiteX45" fmla="*/ 1038225 w 1466850"/>
                  <a:gd name="connsiteY45" fmla="*/ 445294 h 1200149"/>
                  <a:gd name="connsiteX46" fmla="*/ 1073944 w 1466850"/>
                  <a:gd name="connsiteY46" fmla="*/ 476250 h 1200149"/>
                  <a:gd name="connsiteX47" fmla="*/ 1112044 w 1466850"/>
                  <a:gd name="connsiteY47" fmla="*/ 514350 h 1200149"/>
                  <a:gd name="connsiteX48" fmla="*/ 1171575 w 1466850"/>
                  <a:gd name="connsiteY48" fmla="*/ 540544 h 1200149"/>
                  <a:gd name="connsiteX49" fmla="*/ 1219200 w 1466850"/>
                  <a:gd name="connsiteY49" fmla="*/ 521494 h 1200149"/>
                  <a:gd name="connsiteX50" fmla="*/ 1245394 w 1466850"/>
                  <a:gd name="connsiteY50" fmla="*/ 502444 h 1200149"/>
                  <a:gd name="connsiteX51" fmla="*/ 1278731 w 1466850"/>
                  <a:gd name="connsiteY51" fmla="*/ 511969 h 1200149"/>
                  <a:gd name="connsiteX52" fmla="*/ 1295400 w 1466850"/>
                  <a:gd name="connsiteY52" fmla="*/ 531019 h 1200149"/>
                  <a:gd name="connsiteX53" fmla="*/ 1273969 w 1466850"/>
                  <a:gd name="connsiteY53" fmla="*/ 573881 h 1200149"/>
                  <a:gd name="connsiteX54" fmla="*/ 1271587 w 1466850"/>
                  <a:gd name="connsiteY54" fmla="*/ 602456 h 1200149"/>
                  <a:gd name="connsiteX55" fmla="*/ 1285875 w 1466850"/>
                  <a:gd name="connsiteY55" fmla="*/ 611981 h 1200149"/>
                  <a:gd name="connsiteX56" fmla="*/ 1300162 w 1466850"/>
                  <a:gd name="connsiteY56" fmla="*/ 628650 h 1200149"/>
                  <a:gd name="connsiteX57" fmla="*/ 1321594 w 1466850"/>
                  <a:gd name="connsiteY57" fmla="*/ 666750 h 1200149"/>
                  <a:gd name="connsiteX58" fmla="*/ 1347787 w 1466850"/>
                  <a:gd name="connsiteY58" fmla="*/ 681037 h 1200149"/>
                  <a:gd name="connsiteX59" fmla="*/ 1371600 w 1466850"/>
                  <a:gd name="connsiteY59" fmla="*/ 681037 h 1200149"/>
                  <a:gd name="connsiteX60" fmla="*/ 1376362 w 1466850"/>
                  <a:gd name="connsiteY60" fmla="*/ 628650 h 1200149"/>
                  <a:gd name="connsiteX61" fmla="*/ 1395412 w 1466850"/>
                  <a:gd name="connsiteY61" fmla="*/ 578644 h 1200149"/>
                  <a:gd name="connsiteX62" fmla="*/ 1426369 w 1466850"/>
                  <a:gd name="connsiteY62" fmla="*/ 571500 h 1200149"/>
                  <a:gd name="connsiteX63" fmla="*/ 1466850 w 1466850"/>
                  <a:gd name="connsiteY63" fmla="*/ 552450 h 1200149"/>
                  <a:gd name="connsiteX64" fmla="*/ 1443037 w 1466850"/>
                  <a:gd name="connsiteY64" fmla="*/ 509587 h 1200149"/>
                  <a:gd name="connsiteX65" fmla="*/ 1414462 w 1466850"/>
                  <a:gd name="connsiteY65" fmla="*/ 464344 h 1200149"/>
                  <a:gd name="connsiteX66" fmla="*/ 1388269 w 1466850"/>
                  <a:gd name="connsiteY66" fmla="*/ 438150 h 1200149"/>
                  <a:gd name="connsiteX67" fmla="*/ 1404937 w 1466850"/>
                  <a:gd name="connsiteY67" fmla="*/ 400050 h 1200149"/>
                  <a:gd name="connsiteX68" fmla="*/ 1404937 w 1466850"/>
                  <a:gd name="connsiteY68" fmla="*/ 383381 h 1200149"/>
                  <a:gd name="connsiteX69" fmla="*/ 1431131 w 1466850"/>
                  <a:gd name="connsiteY69" fmla="*/ 338137 h 1200149"/>
                  <a:gd name="connsiteX70" fmla="*/ 1419225 w 1466850"/>
                  <a:gd name="connsiteY70" fmla="*/ 264319 h 1200149"/>
                  <a:gd name="connsiteX71" fmla="*/ 1438275 w 1466850"/>
                  <a:gd name="connsiteY71" fmla="*/ 202406 h 1200149"/>
                  <a:gd name="connsiteX72" fmla="*/ 1435894 w 1466850"/>
                  <a:gd name="connsiteY72" fmla="*/ 173831 h 1200149"/>
                  <a:gd name="connsiteX73" fmla="*/ 1404937 w 1466850"/>
                  <a:gd name="connsiteY73" fmla="*/ 164306 h 1200149"/>
                  <a:gd name="connsiteX74" fmla="*/ 1364456 w 1466850"/>
                  <a:gd name="connsiteY74" fmla="*/ 154781 h 1200149"/>
                  <a:gd name="connsiteX75" fmla="*/ 1293019 w 1466850"/>
                  <a:gd name="connsiteY75" fmla="*/ 154781 h 1200149"/>
                  <a:gd name="connsiteX76" fmla="*/ 1233487 w 1466850"/>
                  <a:gd name="connsiteY76" fmla="*/ 121444 h 1200149"/>
                  <a:gd name="connsiteX77" fmla="*/ 1207294 w 1466850"/>
                  <a:gd name="connsiteY77" fmla="*/ 114300 h 1200149"/>
                  <a:gd name="connsiteX78" fmla="*/ 1188244 w 1466850"/>
                  <a:gd name="connsiteY78" fmla="*/ 126206 h 1200149"/>
                  <a:gd name="connsiteX79" fmla="*/ 1133475 w 1466850"/>
                  <a:gd name="connsiteY79" fmla="*/ 188119 h 1200149"/>
                  <a:gd name="connsiteX80" fmla="*/ 1116806 w 1466850"/>
                  <a:gd name="connsiteY80" fmla="*/ 188119 h 1200149"/>
                  <a:gd name="connsiteX81" fmla="*/ 1078706 w 1466850"/>
                  <a:gd name="connsiteY81" fmla="*/ 142875 h 1200149"/>
                  <a:gd name="connsiteX82" fmla="*/ 1054894 w 1466850"/>
                  <a:gd name="connsiteY82" fmla="*/ 138112 h 1200149"/>
                  <a:gd name="connsiteX83" fmla="*/ 997744 w 1466850"/>
                  <a:gd name="connsiteY83" fmla="*/ 157162 h 1200149"/>
                  <a:gd name="connsiteX84" fmla="*/ 973931 w 1466850"/>
                  <a:gd name="connsiteY84" fmla="*/ 178594 h 1200149"/>
                  <a:gd name="connsiteX85" fmla="*/ 928687 w 1466850"/>
                  <a:gd name="connsiteY85" fmla="*/ 173831 h 1200149"/>
                  <a:gd name="connsiteX86" fmla="*/ 878681 w 1466850"/>
                  <a:gd name="connsiteY86" fmla="*/ 164306 h 1200149"/>
                  <a:gd name="connsiteX87" fmla="*/ 864394 w 1466850"/>
                  <a:gd name="connsiteY87" fmla="*/ 83344 h 1200149"/>
                  <a:gd name="connsiteX88" fmla="*/ 845344 w 1466850"/>
                  <a:gd name="connsiteY88" fmla="*/ 69056 h 1200149"/>
                  <a:gd name="connsiteX89" fmla="*/ 747712 w 1466850"/>
                  <a:gd name="connsiteY89" fmla="*/ 119062 h 1200149"/>
                  <a:gd name="connsiteX90" fmla="*/ 721519 w 1466850"/>
                  <a:gd name="connsiteY90" fmla="*/ 140494 h 1200149"/>
                  <a:gd name="connsiteX91" fmla="*/ 709612 w 1466850"/>
                  <a:gd name="connsiteY91" fmla="*/ 190500 h 1200149"/>
                  <a:gd name="connsiteX92" fmla="*/ 707231 w 1466850"/>
                  <a:gd name="connsiteY92" fmla="*/ 195262 h 1200149"/>
                  <a:gd name="connsiteX93" fmla="*/ 654844 w 1466850"/>
                  <a:gd name="connsiteY93" fmla="*/ 190500 h 1200149"/>
                  <a:gd name="connsiteX94" fmla="*/ 633412 w 1466850"/>
                  <a:gd name="connsiteY94" fmla="*/ 180975 h 1200149"/>
                  <a:gd name="connsiteX95" fmla="*/ 614362 w 1466850"/>
                  <a:gd name="connsiteY95" fmla="*/ 142875 h 1200149"/>
                  <a:gd name="connsiteX96" fmla="*/ 590550 w 1466850"/>
                  <a:gd name="connsiteY96" fmla="*/ 130969 h 1200149"/>
                  <a:gd name="connsiteX97" fmla="*/ 540544 w 1466850"/>
                  <a:gd name="connsiteY97" fmla="*/ 161925 h 1200149"/>
                  <a:gd name="connsiteX98" fmla="*/ 507206 w 1466850"/>
                  <a:gd name="connsiteY98" fmla="*/ 154781 h 1200149"/>
                  <a:gd name="connsiteX99" fmla="*/ 495300 w 1466850"/>
                  <a:gd name="connsiteY99" fmla="*/ 123825 h 1200149"/>
                  <a:gd name="connsiteX100" fmla="*/ 490537 w 1466850"/>
                  <a:gd name="connsiteY100" fmla="*/ 114300 h 1200149"/>
                  <a:gd name="connsiteX101" fmla="*/ 431006 w 1466850"/>
                  <a:gd name="connsiteY101" fmla="*/ 97631 h 1200149"/>
                  <a:gd name="connsiteX102" fmla="*/ 442912 w 1466850"/>
                  <a:gd name="connsiteY102" fmla="*/ 33337 h 1200149"/>
                  <a:gd name="connsiteX103" fmla="*/ 423862 w 1466850"/>
                  <a:gd name="connsiteY103" fmla="*/ 19050 h 1200149"/>
                  <a:gd name="connsiteX104" fmla="*/ 335756 w 1466850"/>
                  <a:gd name="connsiteY104" fmla="*/ 0 h 1200149"/>
                  <a:gd name="connsiteX105" fmla="*/ 302419 w 1466850"/>
                  <a:gd name="connsiteY105" fmla="*/ 35719 h 1200149"/>
                  <a:gd name="connsiteX106" fmla="*/ 266700 w 1466850"/>
                  <a:gd name="connsiteY106" fmla="*/ 50006 h 1200149"/>
                  <a:gd name="connsiteX107" fmla="*/ 271462 w 1466850"/>
                  <a:gd name="connsiteY107" fmla="*/ 95250 h 1200149"/>
                  <a:gd name="connsiteX108" fmla="*/ 316706 w 1466850"/>
                  <a:gd name="connsiteY108" fmla="*/ 121444 h 1200149"/>
                  <a:gd name="connsiteX109" fmla="*/ 302419 w 1466850"/>
                  <a:gd name="connsiteY109" fmla="*/ 145256 h 1200149"/>
                  <a:gd name="connsiteX110" fmla="*/ 247650 w 1466850"/>
                  <a:gd name="connsiteY110" fmla="*/ 159544 h 1200149"/>
                  <a:gd name="connsiteX111" fmla="*/ 214312 w 1466850"/>
                  <a:gd name="connsiteY111" fmla="*/ 216694 h 1200149"/>
                  <a:gd name="connsiteX112" fmla="*/ 183356 w 1466850"/>
                  <a:gd name="connsiteY112" fmla="*/ 221456 h 1200149"/>
                  <a:gd name="connsiteX113" fmla="*/ 183356 w 1466850"/>
                  <a:gd name="connsiteY113" fmla="*/ 254794 h 1200149"/>
                  <a:gd name="connsiteX114" fmla="*/ 161925 w 1466850"/>
                  <a:gd name="connsiteY114" fmla="*/ 304800 h 1200149"/>
                  <a:gd name="connsiteX115" fmla="*/ 140494 w 1466850"/>
                  <a:gd name="connsiteY115" fmla="*/ 323850 h 1200149"/>
                  <a:gd name="connsiteX116" fmla="*/ 71439 w 1466850"/>
                  <a:gd name="connsiteY116" fmla="*/ 300039 h 1200149"/>
                  <a:gd name="connsiteX117" fmla="*/ 59530 w 1466850"/>
                  <a:gd name="connsiteY117" fmla="*/ 302418 h 1200149"/>
                  <a:gd name="connsiteX118" fmla="*/ 30956 w 1466850"/>
                  <a:gd name="connsiteY118" fmla="*/ 295274 h 1200149"/>
                  <a:gd name="connsiteX0" fmla="*/ 30956 w 1466850"/>
                  <a:gd name="connsiteY0" fmla="*/ 295274 h 1200149"/>
                  <a:gd name="connsiteX1" fmla="*/ 19050 w 1466850"/>
                  <a:gd name="connsiteY1" fmla="*/ 381000 h 1200149"/>
                  <a:gd name="connsiteX2" fmla="*/ 19050 w 1466850"/>
                  <a:gd name="connsiteY2" fmla="*/ 397669 h 1200149"/>
                  <a:gd name="connsiteX3" fmla="*/ 0 w 1466850"/>
                  <a:gd name="connsiteY3" fmla="*/ 459581 h 1200149"/>
                  <a:gd name="connsiteX4" fmla="*/ 7144 w 1466850"/>
                  <a:gd name="connsiteY4" fmla="*/ 497681 h 1200149"/>
                  <a:gd name="connsiteX5" fmla="*/ 9525 w 1466850"/>
                  <a:gd name="connsiteY5" fmla="*/ 535781 h 1200149"/>
                  <a:gd name="connsiteX6" fmla="*/ 19050 w 1466850"/>
                  <a:gd name="connsiteY6" fmla="*/ 583406 h 1200149"/>
                  <a:gd name="connsiteX7" fmla="*/ 23812 w 1466850"/>
                  <a:gd name="connsiteY7" fmla="*/ 688181 h 1200149"/>
                  <a:gd name="connsiteX8" fmla="*/ 35719 w 1466850"/>
                  <a:gd name="connsiteY8" fmla="*/ 747712 h 1200149"/>
                  <a:gd name="connsiteX9" fmla="*/ 40481 w 1466850"/>
                  <a:gd name="connsiteY9" fmla="*/ 778669 h 1200149"/>
                  <a:gd name="connsiteX10" fmla="*/ 47625 w 1466850"/>
                  <a:gd name="connsiteY10" fmla="*/ 831056 h 1200149"/>
                  <a:gd name="connsiteX11" fmla="*/ 38100 w 1466850"/>
                  <a:gd name="connsiteY11" fmla="*/ 919162 h 1200149"/>
                  <a:gd name="connsiteX12" fmla="*/ 78581 w 1466850"/>
                  <a:gd name="connsiteY12" fmla="*/ 1028700 h 1200149"/>
                  <a:gd name="connsiteX13" fmla="*/ 71437 w 1466850"/>
                  <a:gd name="connsiteY13" fmla="*/ 1095375 h 1200149"/>
                  <a:gd name="connsiteX14" fmla="*/ 88106 w 1466850"/>
                  <a:gd name="connsiteY14" fmla="*/ 1164431 h 1200149"/>
                  <a:gd name="connsiteX15" fmla="*/ 166687 w 1466850"/>
                  <a:gd name="connsiteY15" fmla="*/ 1200149 h 1200149"/>
                  <a:gd name="connsiteX16" fmla="*/ 185737 w 1466850"/>
                  <a:gd name="connsiteY16" fmla="*/ 1173956 h 1200149"/>
                  <a:gd name="connsiteX17" fmla="*/ 242887 w 1466850"/>
                  <a:gd name="connsiteY17" fmla="*/ 1092994 h 1200149"/>
                  <a:gd name="connsiteX18" fmla="*/ 238125 w 1466850"/>
                  <a:gd name="connsiteY18" fmla="*/ 1045369 h 1200149"/>
                  <a:gd name="connsiteX19" fmla="*/ 230981 w 1466850"/>
                  <a:gd name="connsiteY19" fmla="*/ 1035844 h 1200149"/>
                  <a:gd name="connsiteX20" fmla="*/ 252412 w 1466850"/>
                  <a:gd name="connsiteY20" fmla="*/ 1019175 h 1200149"/>
                  <a:gd name="connsiteX21" fmla="*/ 314325 w 1466850"/>
                  <a:gd name="connsiteY21" fmla="*/ 995362 h 1200149"/>
                  <a:gd name="connsiteX22" fmla="*/ 311944 w 1466850"/>
                  <a:gd name="connsiteY22" fmla="*/ 959644 h 1200149"/>
                  <a:gd name="connsiteX23" fmla="*/ 326231 w 1466850"/>
                  <a:gd name="connsiteY23" fmla="*/ 942975 h 1200149"/>
                  <a:gd name="connsiteX24" fmla="*/ 452437 w 1466850"/>
                  <a:gd name="connsiteY24" fmla="*/ 950119 h 1200149"/>
                  <a:gd name="connsiteX25" fmla="*/ 464344 w 1466850"/>
                  <a:gd name="connsiteY25" fmla="*/ 933450 h 1200149"/>
                  <a:gd name="connsiteX26" fmla="*/ 476250 w 1466850"/>
                  <a:gd name="connsiteY26" fmla="*/ 883444 h 1200149"/>
                  <a:gd name="connsiteX27" fmla="*/ 488156 w 1466850"/>
                  <a:gd name="connsiteY27" fmla="*/ 857250 h 1200149"/>
                  <a:gd name="connsiteX28" fmla="*/ 526256 w 1466850"/>
                  <a:gd name="connsiteY28" fmla="*/ 862012 h 1200149"/>
                  <a:gd name="connsiteX29" fmla="*/ 545306 w 1466850"/>
                  <a:gd name="connsiteY29" fmla="*/ 909637 h 1200149"/>
                  <a:gd name="connsiteX30" fmla="*/ 566737 w 1466850"/>
                  <a:gd name="connsiteY30" fmla="*/ 881062 h 1200149"/>
                  <a:gd name="connsiteX31" fmla="*/ 621506 w 1466850"/>
                  <a:gd name="connsiteY31" fmla="*/ 845344 h 1200149"/>
                  <a:gd name="connsiteX32" fmla="*/ 709612 w 1466850"/>
                  <a:gd name="connsiteY32" fmla="*/ 814387 h 1200149"/>
                  <a:gd name="connsiteX33" fmla="*/ 716756 w 1466850"/>
                  <a:gd name="connsiteY33" fmla="*/ 769144 h 1200149"/>
                  <a:gd name="connsiteX34" fmla="*/ 742950 w 1466850"/>
                  <a:gd name="connsiteY34" fmla="*/ 750094 h 1200149"/>
                  <a:gd name="connsiteX35" fmla="*/ 785812 w 1466850"/>
                  <a:gd name="connsiteY35" fmla="*/ 726281 h 1200149"/>
                  <a:gd name="connsiteX36" fmla="*/ 800100 w 1466850"/>
                  <a:gd name="connsiteY36" fmla="*/ 716756 h 1200149"/>
                  <a:gd name="connsiteX37" fmla="*/ 862012 w 1466850"/>
                  <a:gd name="connsiteY37" fmla="*/ 721519 h 1200149"/>
                  <a:gd name="connsiteX38" fmla="*/ 883444 w 1466850"/>
                  <a:gd name="connsiteY38" fmla="*/ 721519 h 1200149"/>
                  <a:gd name="connsiteX39" fmla="*/ 892969 w 1466850"/>
                  <a:gd name="connsiteY39" fmla="*/ 697706 h 1200149"/>
                  <a:gd name="connsiteX40" fmla="*/ 892969 w 1466850"/>
                  <a:gd name="connsiteY40" fmla="*/ 697706 h 1200149"/>
                  <a:gd name="connsiteX41" fmla="*/ 921544 w 1466850"/>
                  <a:gd name="connsiteY41" fmla="*/ 609600 h 1200149"/>
                  <a:gd name="connsiteX42" fmla="*/ 909637 w 1466850"/>
                  <a:gd name="connsiteY42" fmla="*/ 552450 h 1200149"/>
                  <a:gd name="connsiteX43" fmla="*/ 928687 w 1466850"/>
                  <a:gd name="connsiteY43" fmla="*/ 540544 h 1200149"/>
                  <a:gd name="connsiteX44" fmla="*/ 973931 w 1466850"/>
                  <a:gd name="connsiteY44" fmla="*/ 535781 h 1200149"/>
                  <a:gd name="connsiteX45" fmla="*/ 1014412 w 1466850"/>
                  <a:gd name="connsiteY45" fmla="*/ 447675 h 1200149"/>
                  <a:gd name="connsiteX46" fmla="*/ 1038225 w 1466850"/>
                  <a:gd name="connsiteY46" fmla="*/ 445294 h 1200149"/>
                  <a:gd name="connsiteX47" fmla="*/ 1073944 w 1466850"/>
                  <a:gd name="connsiteY47" fmla="*/ 476250 h 1200149"/>
                  <a:gd name="connsiteX48" fmla="*/ 1112044 w 1466850"/>
                  <a:gd name="connsiteY48" fmla="*/ 514350 h 1200149"/>
                  <a:gd name="connsiteX49" fmla="*/ 1171575 w 1466850"/>
                  <a:gd name="connsiteY49" fmla="*/ 540544 h 1200149"/>
                  <a:gd name="connsiteX50" fmla="*/ 1219200 w 1466850"/>
                  <a:gd name="connsiteY50" fmla="*/ 521494 h 1200149"/>
                  <a:gd name="connsiteX51" fmla="*/ 1245394 w 1466850"/>
                  <a:gd name="connsiteY51" fmla="*/ 502444 h 1200149"/>
                  <a:gd name="connsiteX52" fmla="*/ 1278731 w 1466850"/>
                  <a:gd name="connsiteY52" fmla="*/ 511969 h 1200149"/>
                  <a:gd name="connsiteX53" fmla="*/ 1295400 w 1466850"/>
                  <a:gd name="connsiteY53" fmla="*/ 531019 h 1200149"/>
                  <a:gd name="connsiteX54" fmla="*/ 1273969 w 1466850"/>
                  <a:gd name="connsiteY54" fmla="*/ 573881 h 1200149"/>
                  <a:gd name="connsiteX55" fmla="*/ 1271587 w 1466850"/>
                  <a:gd name="connsiteY55" fmla="*/ 602456 h 1200149"/>
                  <a:gd name="connsiteX56" fmla="*/ 1285875 w 1466850"/>
                  <a:gd name="connsiteY56" fmla="*/ 611981 h 1200149"/>
                  <a:gd name="connsiteX57" fmla="*/ 1300162 w 1466850"/>
                  <a:gd name="connsiteY57" fmla="*/ 628650 h 1200149"/>
                  <a:gd name="connsiteX58" fmla="*/ 1321594 w 1466850"/>
                  <a:gd name="connsiteY58" fmla="*/ 666750 h 1200149"/>
                  <a:gd name="connsiteX59" fmla="*/ 1347787 w 1466850"/>
                  <a:gd name="connsiteY59" fmla="*/ 681037 h 1200149"/>
                  <a:gd name="connsiteX60" fmla="*/ 1371600 w 1466850"/>
                  <a:gd name="connsiteY60" fmla="*/ 681037 h 1200149"/>
                  <a:gd name="connsiteX61" fmla="*/ 1376362 w 1466850"/>
                  <a:gd name="connsiteY61" fmla="*/ 628650 h 1200149"/>
                  <a:gd name="connsiteX62" fmla="*/ 1395412 w 1466850"/>
                  <a:gd name="connsiteY62" fmla="*/ 578644 h 1200149"/>
                  <a:gd name="connsiteX63" fmla="*/ 1426369 w 1466850"/>
                  <a:gd name="connsiteY63" fmla="*/ 571500 h 1200149"/>
                  <a:gd name="connsiteX64" fmla="*/ 1466850 w 1466850"/>
                  <a:gd name="connsiteY64" fmla="*/ 552450 h 1200149"/>
                  <a:gd name="connsiteX65" fmla="*/ 1443037 w 1466850"/>
                  <a:gd name="connsiteY65" fmla="*/ 509587 h 1200149"/>
                  <a:gd name="connsiteX66" fmla="*/ 1414462 w 1466850"/>
                  <a:gd name="connsiteY66" fmla="*/ 464344 h 1200149"/>
                  <a:gd name="connsiteX67" fmla="*/ 1388269 w 1466850"/>
                  <a:gd name="connsiteY67" fmla="*/ 438150 h 1200149"/>
                  <a:gd name="connsiteX68" fmla="*/ 1404937 w 1466850"/>
                  <a:gd name="connsiteY68" fmla="*/ 400050 h 1200149"/>
                  <a:gd name="connsiteX69" fmla="*/ 1404937 w 1466850"/>
                  <a:gd name="connsiteY69" fmla="*/ 383381 h 1200149"/>
                  <a:gd name="connsiteX70" fmla="*/ 1431131 w 1466850"/>
                  <a:gd name="connsiteY70" fmla="*/ 338137 h 1200149"/>
                  <a:gd name="connsiteX71" fmla="*/ 1419225 w 1466850"/>
                  <a:gd name="connsiteY71" fmla="*/ 264319 h 1200149"/>
                  <a:gd name="connsiteX72" fmla="*/ 1438275 w 1466850"/>
                  <a:gd name="connsiteY72" fmla="*/ 202406 h 1200149"/>
                  <a:gd name="connsiteX73" fmla="*/ 1435894 w 1466850"/>
                  <a:gd name="connsiteY73" fmla="*/ 173831 h 1200149"/>
                  <a:gd name="connsiteX74" fmla="*/ 1404937 w 1466850"/>
                  <a:gd name="connsiteY74" fmla="*/ 164306 h 1200149"/>
                  <a:gd name="connsiteX75" fmla="*/ 1364456 w 1466850"/>
                  <a:gd name="connsiteY75" fmla="*/ 154781 h 1200149"/>
                  <a:gd name="connsiteX76" fmla="*/ 1293019 w 1466850"/>
                  <a:gd name="connsiteY76" fmla="*/ 154781 h 1200149"/>
                  <a:gd name="connsiteX77" fmla="*/ 1233487 w 1466850"/>
                  <a:gd name="connsiteY77" fmla="*/ 121444 h 1200149"/>
                  <a:gd name="connsiteX78" fmla="*/ 1207294 w 1466850"/>
                  <a:gd name="connsiteY78" fmla="*/ 114300 h 1200149"/>
                  <a:gd name="connsiteX79" fmla="*/ 1188244 w 1466850"/>
                  <a:gd name="connsiteY79" fmla="*/ 126206 h 1200149"/>
                  <a:gd name="connsiteX80" fmla="*/ 1133475 w 1466850"/>
                  <a:gd name="connsiteY80" fmla="*/ 188119 h 1200149"/>
                  <a:gd name="connsiteX81" fmla="*/ 1116806 w 1466850"/>
                  <a:gd name="connsiteY81" fmla="*/ 188119 h 1200149"/>
                  <a:gd name="connsiteX82" fmla="*/ 1078706 w 1466850"/>
                  <a:gd name="connsiteY82" fmla="*/ 142875 h 1200149"/>
                  <a:gd name="connsiteX83" fmla="*/ 1054894 w 1466850"/>
                  <a:gd name="connsiteY83" fmla="*/ 138112 h 1200149"/>
                  <a:gd name="connsiteX84" fmla="*/ 997744 w 1466850"/>
                  <a:gd name="connsiteY84" fmla="*/ 157162 h 1200149"/>
                  <a:gd name="connsiteX85" fmla="*/ 973931 w 1466850"/>
                  <a:gd name="connsiteY85" fmla="*/ 178594 h 1200149"/>
                  <a:gd name="connsiteX86" fmla="*/ 928687 w 1466850"/>
                  <a:gd name="connsiteY86" fmla="*/ 173831 h 1200149"/>
                  <a:gd name="connsiteX87" fmla="*/ 878681 w 1466850"/>
                  <a:gd name="connsiteY87" fmla="*/ 164306 h 1200149"/>
                  <a:gd name="connsiteX88" fmla="*/ 864394 w 1466850"/>
                  <a:gd name="connsiteY88" fmla="*/ 83344 h 1200149"/>
                  <a:gd name="connsiteX89" fmla="*/ 845344 w 1466850"/>
                  <a:gd name="connsiteY89" fmla="*/ 69056 h 1200149"/>
                  <a:gd name="connsiteX90" fmla="*/ 747712 w 1466850"/>
                  <a:gd name="connsiteY90" fmla="*/ 119062 h 1200149"/>
                  <a:gd name="connsiteX91" fmla="*/ 721519 w 1466850"/>
                  <a:gd name="connsiteY91" fmla="*/ 140494 h 1200149"/>
                  <a:gd name="connsiteX92" fmla="*/ 709612 w 1466850"/>
                  <a:gd name="connsiteY92" fmla="*/ 190500 h 1200149"/>
                  <a:gd name="connsiteX93" fmla="*/ 707231 w 1466850"/>
                  <a:gd name="connsiteY93" fmla="*/ 195262 h 1200149"/>
                  <a:gd name="connsiteX94" fmla="*/ 654844 w 1466850"/>
                  <a:gd name="connsiteY94" fmla="*/ 190500 h 1200149"/>
                  <a:gd name="connsiteX95" fmla="*/ 633412 w 1466850"/>
                  <a:gd name="connsiteY95" fmla="*/ 180975 h 1200149"/>
                  <a:gd name="connsiteX96" fmla="*/ 614362 w 1466850"/>
                  <a:gd name="connsiteY96" fmla="*/ 142875 h 1200149"/>
                  <a:gd name="connsiteX97" fmla="*/ 590550 w 1466850"/>
                  <a:gd name="connsiteY97" fmla="*/ 130969 h 1200149"/>
                  <a:gd name="connsiteX98" fmla="*/ 540544 w 1466850"/>
                  <a:gd name="connsiteY98" fmla="*/ 161925 h 1200149"/>
                  <a:gd name="connsiteX99" fmla="*/ 507206 w 1466850"/>
                  <a:gd name="connsiteY99" fmla="*/ 154781 h 1200149"/>
                  <a:gd name="connsiteX100" fmla="*/ 495300 w 1466850"/>
                  <a:gd name="connsiteY100" fmla="*/ 123825 h 1200149"/>
                  <a:gd name="connsiteX101" fmla="*/ 490537 w 1466850"/>
                  <a:gd name="connsiteY101" fmla="*/ 114300 h 1200149"/>
                  <a:gd name="connsiteX102" fmla="*/ 431006 w 1466850"/>
                  <a:gd name="connsiteY102" fmla="*/ 97631 h 1200149"/>
                  <a:gd name="connsiteX103" fmla="*/ 442912 w 1466850"/>
                  <a:gd name="connsiteY103" fmla="*/ 33337 h 1200149"/>
                  <a:gd name="connsiteX104" fmla="*/ 423862 w 1466850"/>
                  <a:gd name="connsiteY104" fmla="*/ 19050 h 1200149"/>
                  <a:gd name="connsiteX105" fmla="*/ 335756 w 1466850"/>
                  <a:gd name="connsiteY105" fmla="*/ 0 h 1200149"/>
                  <a:gd name="connsiteX106" fmla="*/ 302419 w 1466850"/>
                  <a:gd name="connsiteY106" fmla="*/ 35719 h 1200149"/>
                  <a:gd name="connsiteX107" fmla="*/ 266700 w 1466850"/>
                  <a:gd name="connsiteY107" fmla="*/ 50006 h 1200149"/>
                  <a:gd name="connsiteX108" fmla="*/ 271462 w 1466850"/>
                  <a:gd name="connsiteY108" fmla="*/ 95250 h 1200149"/>
                  <a:gd name="connsiteX109" fmla="*/ 316706 w 1466850"/>
                  <a:gd name="connsiteY109" fmla="*/ 121444 h 1200149"/>
                  <a:gd name="connsiteX110" fmla="*/ 302419 w 1466850"/>
                  <a:gd name="connsiteY110" fmla="*/ 145256 h 1200149"/>
                  <a:gd name="connsiteX111" fmla="*/ 247650 w 1466850"/>
                  <a:gd name="connsiteY111" fmla="*/ 159544 h 1200149"/>
                  <a:gd name="connsiteX112" fmla="*/ 214312 w 1466850"/>
                  <a:gd name="connsiteY112" fmla="*/ 216694 h 1200149"/>
                  <a:gd name="connsiteX113" fmla="*/ 183356 w 1466850"/>
                  <a:gd name="connsiteY113" fmla="*/ 221456 h 1200149"/>
                  <a:gd name="connsiteX114" fmla="*/ 183356 w 1466850"/>
                  <a:gd name="connsiteY114" fmla="*/ 254794 h 1200149"/>
                  <a:gd name="connsiteX115" fmla="*/ 161925 w 1466850"/>
                  <a:gd name="connsiteY115" fmla="*/ 304800 h 1200149"/>
                  <a:gd name="connsiteX116" fmla="*/ 140494 w 1466850"/>
                  <a:gd name="connsiteY116" fmla="*/ 323850 h 1200149"/>
                  <a:gd name="connsiteX117" fmla="*/ 71439 w 1466850"/>
                  <a:gd name="connsiteY117" fmla="*/ 300039 h 1200149"/>
                  <a:gd name="connsiteX118" fmla="*/ 59530 w 1466850"/>
                  <a:gd name="connsiteY118" fmla="*/ 302418 h 1200149"/>
                  <a:gd name="connsiteX119" fmla="*/ 30956 w 1466850"/>
                  <a:gd name="connsiteY119" fmla="*/ 295274 h 1200149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242887 w 1466850"/>
                  <a:gd name="connsiteY17" fmla="*/ 1092994 h 1209675"/>
                  <a:gd name="connsiteX18" fmla="*/ 238125 w 1466850"/>
                  <a:gd name="connsiteY18" fmla="*/ 1045369 h 1209675"/>
                  <a:gd name="connsiteX19" fmla="*/ 230981 w 1466850"/>
                  <a:gd name="connsiteY19" fmla="*/ 1035844 h 1209675"/>
                  <a:gd name="connsiteX20" fmla="*/ 252412 w 1466850"/>
                  <a:gd name="connsiteY20" fmla="*/ 1019175 h 1209675"/>
                  <a:gd name="connsiteX21" fmla="*/ 314325 w 1466850"/>
                  <a:gd name="connsiteY21" fmla="*/ 995362 h 1209675"/>
                  <a:gd name="connsiteX22" fmla="*/ 311944 w 1466850"/>
                  <a:gd name="connsiteY22" fmla="*/ 959644 h 1209675"/>
                  <a:gd name="connsiteX23" fmla="*/ 326231 w 1466850"/>
                  <a:gd name="connsiteY23" fmla="*/ 942975 h 1209675"/>
                  <a:gd name="connsiteX24" fmla="*/ 452437 w 1466850"/>
                  <a:gd name="connsiteY24" fmla="*/ 950119 h 1209675"/>
                  <a:gd name="connsiteX25" fmla="*/ 464344 w 1466850"/>
                  <a:gd name="connsiteY25" fmla="*/ 933450 h 1209675"/>
                  <a:gd name="connsiteX26" fmla="*/ 476250 w 1466850"/>
                  <a:gd name="connsiteY26" fmla="*/ 883444 h 1209675"/>
                  <a:gd name="connsiteX27" fmla="*/ 488156 w 1466850"/>
                  <a:gd name="connsiteY27" fmla="*/ 857250 h 1209675"/>
                  <a:gd name="connsiteX28" fmla="*/ 526256 w 1466850"/>
                  <a:gd name="connsiteY28" fmla="*/ 862012 h 1209675"/>
                  <a:gd name="connsiteX29" fmla="*/ 545306 w 1466850"/>
                  <a:gd name="connsiteY29" fmla="*/ 909637 h 1209675"/>
                  <a:gd name="connsiteX30" fmla="*/ 566737 w 1466850"/>
                  <a:gd name="connsiteY30" fmla="*/ 881062 h 1209675"/>
                  <a:gd name="connsiteX31" fmla="*/ 621506 w 1466850"/>
                  <a:gd name="connsiteY31" fmla="*/ 845344 h 1209675"/>
                  <a:gd name="connsiteX32" fmla="*/ 709612 w 1466850"/>
                  <a:gd name="connsiteY32" fmla="*/ 814387 h 1209675"/>
                  <a:gd name="connsiteX33" fmla="*/ 716756 w 1466850"/>
                  <a:gd name="connsiteY33" fmla="*/ 769144 h 1209675"/>
                  <a:gd name="connsiteX34" fmla="*/ 742950 w 1466850"/>
                  <a:gd name="connsiteY34" fmla="*/ 750094 h 1209675"/>
                  <a:gd name="connsiteX35" fmla="*/ 785812 w 1466850"/>
                  <a:gd name="connsiteY35" fmla="*/ 726281 h 1209675"/>
                  <a:gd name="connsiteX36" fmla="*/ 800100 w 1466850"/>
                  <a:gd name="connsiteY36" fmla="*/ 716756 h 1209675"/>
                  <a:gd name="connsiteX37" fmla="*/ 862012 w 1466850"/>
                  <a:gd name="connsiteY37" fmla="*/ 721519 h 1209675"/>
                  <a:gd name="connsiteX38" fmla="*/ 883444 w 1466850"/>
                  <a:gd name="connsiteY38" fmla="*/ 721519 h 1209675"/>
                  <a:gd name="connsiteX39" fmla="*/ 892969 w 1466850"/>
                  <a:gd name="connsiteY39" fmla="*/ 697706 h 1209675"/>
                  <a:gd name="connsiteX40" fmla="*/ 892969 w 1466850"/>
                  <a:gd name="connsiteY40" fmla="*/ 697706 h 1209675"/>
                  <a:gd name="connsiteX41" fmla="*/ 921544 w 1466850"/>
                  <a:gd name="connsiteY41" fmla="*/ 609600 h 1209675"/>
                  <a:gd name="connsiteX42" fmla="*/ 909637 w 1466850"/>
                  <a:gd name="connsiteY42" fmla="*/ 552450 h 1209675"/>
                  <a:gd name="connsiteX43" fmla="*/ 928687 w 1466850"/>
                  <a:gd name="connsiteY43" fmla="*/ 540544 h 1209675"/>
                  <a:gd name="connsiteX44" fmla="*/ 973931 w 1466850"/>
                  <a:gd name="connsiteY44" fmla="*/ 535781 h 1209675"/>
                  <a:gd name="connsiteX45" fmla="*/ 1014412 w 1466850"/>
                  <a:gd name="connsiteY45" fmla="*/ 447675 h 1209675"/>
                  <a:gd name="connsiteX46" fmla="*/ 1038225 w 1466850"/>
                  <a:gd name="connsiteY46" fmla="*/ 445294 h 1209675"/>
                  <a:gd name="connsiteX47" fmla="*/ 1073944 w 1466850"/>
                  <a:gd name="connsiteY47" fmla="*/ 476250 h 1209675"/>
                  <a:gd name="connsiteX48" fmla="*/ 1112044 w 1466850"/>
                  <a:gd name="connsiteY48" fmla="*/ 514350 h 1209675"/>
                  <a:gd name="connsiteX49" fmla="*/ 1171575 w 1466850"/>
                  <a:gd name="connsiteY49" fmla="*/ 540544 h 1209675"/>
                  <a:gd name="connsiteX50" fmla="*/ 1219200 w 1466850"/>
                  <a:gd name="connsiteY50" fmla="*/ 521494 h 1209675"/>
                  <a:gd name="connsiteX51" fmla="*/ 1245394 w 1466850"/>
                  <a:gd name="connsiteY51" fmla="*/ 502444 h 1209675"/>
                  <a:gd name="connsiteX52" fmla="*/ 1278731 w 1466850"/>
                  <a:gd name="connsiteY52" fmla="*/ 511969 h 1209675"/>
                  <a:gd name="connsiteX53" fmla="*/ 1295400 w 1466850"/>
                  <a:gd name="connsiteY53" fmla="*/ 531019 h 1209675"/>
                  <a:gd name="connsiteX54" fmla="*/ 1273969 w 1466850"/>
                  <a:gd name="connsiteY54" fmla="*/ 573881 h 1209675"/>
                  <a:gd name="connsiteX55" fmla="*/ 1271587 w 1466850"/>
                  <a:gd name="connsiteY55" fmla="*/ 602456 h 1209675"/>
                  <a:gd name="connsiteX56" fmla="*/ 1285875 w 1466850"/>
                  <a:gd name="connsiteY56" fmla="*/ 611981 h 1209675"/>
                  <a:gd name="connsiteX57" fmla="*/ 1300162 w 1466850"/>
                  <a:gd name="connsiteY57" fmla="*/ 628650 h 1209675"/>
                  <a:gd name="connsiteX58" fmla="*/ 1321594 w 1466850"/>
                  <a:gd name="connsiteY58" fmla="*/ 666750 h 1209675"/>
                  <a:gd name="connsiteX59" fmla="*/ 1347787 w 1466850"/>
                  <a:gd name="connsiteY59" fmla="*/ 681037 h 1209675"/>
                  <a:gd name="connsiteX60" fmla="*/ 1371600 w 1466850"/>
                  <a:gd name="connsiteY60" fmla="*/ 681037 h 1209675"/>
                  <a:gd name="connsiteX61" fmla="*/ 1376362 w 1466850"/>
                  <a:gd name="connsiteY61" fmla="*/ 628650 h 1209675"/>
                  <a:gd name="connsiteX62" fmla="*/ 1395412 w 1466850"/>
                  <a:gd name="connsiteY62" fmla="*/ 578644 h 1209675"/>
                  <a:gd name="connsiteX63" fmla="*/ 1426369 w 1466850"/>
                  <a:gd name="connsiteY63" fmla="*/ 571500 h 1209675"/>
                  <a:gd name="connsiteX64" fmla="*/ 1466850 w 1466850"/>
                  <a:gd name="connsiteY64" fmla="*/ 552450 h 1209675"/>
                  <a:gd name="connsiteX65" fmla="*/ 1443037 w 1466850"/>
                  <a:gd name="connsiteY65" fmla="*/ 509587 h 1209675"/>
                  <a:gd name="connsiteX66" fmla="*/ 1414462 w 1466850"/>
                  <a:gd name="connsiteY66" fmla="*/ 464344 h 1209675"/>
                  <a:gd name="connsiteX67" fmla="*/ 1388269 w 1466850"/>
                  <a:gd name="connsiteY67" fmla="*/ 438150 h 1209675"/>
                  <a:gd name="connsiteX68" fmla="*/ 1404937 w 1466850"/>
                  <a:gd name="connsiteY68" fmla="*/ 400050 h 1209675"/>
                  <a:gd name="connsiteX69" fmla="*/ 1404937 w 1466850"/>
                  <a:gd name="connsiteY69" fmla="*/ 383381 h 1209675"/>
                  <a:gd name="connsiteX70" fmla="*/ 1431131 w 1466850"/>
                  <a:gd name="connsiteY70" fmla="*/ 338137 h 1209675"/>
                  <a:gd name="connsiteX71" fmla="*/ 1419225 w 1466850"/>
                  <a:gd name="connsiteY71" fmla="*/ 264319 h 1209675"/>
                  <a:gd name="connsiteX72" fmla="*/ 1438275 w 1466850"/>
                  <a:gd name="connsiteY72" fmla="*/ 202406 h 1209675"/>
                  <a:gd name="connsiteX73" fmla="*/ 1435894 w 1466850"/>
                  <a:gd name="connsiteY73" fmla="*/ 173831 h 1209675"/>
                  <a:gd name="connsiteX74" fmla="*/ 1404937 w 1466850"/>
                  <a:gd name="connsiteY74" fmla="*/ 164306 h 1209675"/>
                  <a:gd name="connsiteX75" fmla="*/ 1364456 w 1466850"/>
                  <a:gd name="connsiteY75" fmla="*/ 154781 h 1209675"/>
                  <a:gd name="connsiteX76" fmla="*/ 1293019 w 1466850"/>
                  <a:gd name="connsiteY76" fmla="*/ 154781 h 1209675"/>
                  <a:gd name="connsiteX77" fmla="*/ 1233487 w 1466850"/>
                  <a:gd name="connsiteY77" fmla="*/ 121444 h 1209675"/>
                  <a:gd name="connsiteX78" fmla="*/ 1207294 w 1466850"/>
                  <a:gd name="connsiteY78" fmla="*/ 114300 h 1209675"/>
                  <a:gd name="connsiteX79" fmla="*/ 1188244 w 1466850"/>
                  <a:gd name="connsiteY79" fmla="*/ 126206 h 1209675"/>
                  <a:gd name="connsiteX80" fmla="*/ 1133475 w 1466850"/>
                  <a:gd name="connsiteY80" fmla="*/ 188119 h 1209675"/>
                  <a:gd name="connsiteX81" fmla="*/ 1116806 w 1466850"/>
                  <a:gd name="connsiteY81" fmla="*/ 188119 h 1209675"/>
                  <a:gd name="connsiteX82" fmla="*/ 1078706 w 1466850"/>
                  <a:gd name="connsiteY82" fmla="*/ 142875 h 1209675"/>
                  <a:gd name="connsiteX83" fmla="*/ 1054894 w 1466850"/>
                  <a:gd name="connsiteY83" fmla="*/ 138112 h 1209675"/>
                  <a:gd name="connsiteX84" fmla="*/ 997744 w 1466850"/>
                  <a:gd name="connsiteY84" fmla="*/ 157162 h 1209675"/>
                  <a:gd name="connsiteX85" fmla="*/ 973931 w 1466850"/>
                  <a:gd name="connsiteY85" fmla="*/ 178594 h 1209675"/>
                  <a:gd name="connsiteX86" fmla="*/ 928687 w 1466850"/>
                  <a:gd name="connsiteY86" fmla="*/ 173831 h 1209675"/>
                  <a:gd name="connsiteX87" fmla="*/ 878681 w 1466850"/>
                  <a:gd name="connsiteY87" fmla="*/ 164306 h 1209675"/>
                  <a:gd name="connsiteX88" fmla="*/ 864394 w 1466850"/>
                  <a:gd name="connsiteY88" fmla="*/ 83344 h 1209675"/>
                  <a:gd name="connsiteX89" fmla="*/ 845344 w 1466850"/>
                  <a:gd name="connsiteY89" fmla="*/ 69056 h 1209675"/>
                  <a:gd name="connsiteX90" fmla="*/ 747712 w 1466850"/>
                  <a:gd name="connsiteY90" fmla="*/ 119062 h 1209675"/>
                  <a:gd name="connsiteX91" fmla="*/ 721519 w 1466850"/>
                  <a:gd name="connsiteY91" fmla="*/ 140494 h 1209675"/>
                  <a:gd name="connsiteX92" fmla="*/ 709612 w 1466850"/>
                  <a:gd name="connsiteY92" fmla="*/ 190500 h 1209675"/>
                  <a:gd name="connsiteX93" fmla="*/ 707231 w 1466850"/>
                  <a:gd name="connsiteY93" fmla="*/ 195262 h 1209675"/>
                  <a:gd name="connsiteX94" fmla="*/ 654844 w 1466850"/>
                  <a:gd name="connsiteY94" fmla="*/ 190500 h 1209675"/>
                  <a:gd name="connsiteX95" fmla="*/ 633412 w 1466850"/>
                  <a:gd name="connsiteY95" fmla="*/ 180975 h 1209675"/>
                  <a:gd name="connsiteX96" fmla="*/ 614362 w 1466850"/>
                  <a:gd name="connsiteY96" fmla="*/ 142875 h 1209675"/>
                  <a:gd name="connsiteX97" fmla="*/ 590550 w 1466850"/>
                  <a:gd name="connsiteY97" fmla="*/ 130969 h 1209675"/>
                  <a:gd name="connsiteX98" fmla="*/ 540544 w 1466850"/>
                  <a:gd name="connsiteY98" fmla="*/ 161925 h 1209675"/>
                  <a:gd name="connsiteX99" fmla="*/ 507206 w 1466850"/>
                  <a:gd name="connsiteY99" fmla="*/ 154781 h 1209675"/>
                  <a:gd name="connsiteX100" fmla="*/ 495300 w 1466850"/>
                  <a:gd name="connsiteY100" fmla="*/ 123825 h 1209675"/>
                  <a:gd name="connsiteX101" fmla="*/ 490537 w 1466850"/>
                  <a:gd name="connsiteY101" fmla="*/ 114300 h 1209675"/>
                  <a:gd name="connsiteX102" fmla="*/ 431006 w 1466850"/>
                  <a:gd name="connsiteY102" fmla="*/ 97631 h 1209675"/>
                  <a:gd name="connsiteX103" fmla="*/ 442912 w 1466850"/>
                  <a:gd name="connsiteY103" fmla="*/ 33337 h 1209675"/>
                  <a:gd name="connsiteX104" fmla="*/ 423862 w 1466850"/>
                  <a:gd name="connsiteY104" fmla="*/ 19050 h 1209675"/>
                  <a:gd name="connsiteX105" fmla="*/ 335756 w 1466850"/>
                  <a:gd name="connsiteY105" fmla="*/ 0 h 1209675"/>
                  <a:gd name="connsiteX106" fmla="*/ 302419 w 1466850"/>
                  <a:gd name="connsiteY106" fmla="*/ 35719 h 1209675"/>
                  <a:gd name="connsiteX107" fmla="*/ 266700 w 1466850"/>
                  <a:gd name="connsiteY107" fmla="*/ 50006 h 1209675"/>
                  <a:gd name="connsiteX108" fmla="*/ 271462 w 1466850"/>
                  <a:gd name="connsiteY108" fmla="*/ 95250 h 1209675"/>
                  <a:gd name="connsiteX109" fmla="*/ 316706 w 1466850"/>
                  <a:gd name="connsiteY109" fmla="*/ 121444 h 1209675"/>
                  <a:gd name="connsiteX110" fmla="*/ 302419 w 1466850"/>
                  <a:gd name="connsiteY110" fmla="*/ 145256 h 1209675"/>
                  <a:gd name="connsiteX111" fmla="*/ 247650 w 1466850"/>
                  <a:gd name="connsiteY111" fmla="*/ 159544 h 1209675"/>
                  <a:gd name="connsiteX112" fmla="*/ 214312 w 1466850"/>
                  <a:gd name="connsiteY112" fmla="*/ 216694 h 1209675"/>
                  <a:gd name="connsiteX113" fmla="*/ 183356 w 1466850"/>
                  <a:gd name="connsiteY113" fmla="*/ 221456 h 1209675"/>
                  <a:gd name="connsiteX114" fmla="*/ 183356 w 1466850"/>
                  <a:gd name="connsiteY114" fmla="*/ 254794 h 1209675"/>
                  <a:gd name="connsiteX115" fmla="*/ 161925 w 1466850"/>
                  <a:gd name="connsiteY115" fmla="*/ 304800 h 1209675"/>
                  <a:gd name="connsiteX116" fmla="*/ 140494 w 1466850"/>
                  <a:gd name="connsiteY116" fmla="*/ 323850 h 1209675"/>
                  <a:gd name="connsiteX117" fmla="*/ 71439 w 1466850"/>
                  <a:gd name="connsiteY117" fmla="*/ 300039 h 1209675"/>
                  <a:gd name="connsiteX118" fmla="*/ 59530 w 1466850"/>
                  <a:gd name="connsiteY118" fmla="*/ 302418 h 1209675"/>
                  <a:gd name="connsiteX119" fmla="*/ 30956 w 1466850"/>
                  <a:gd name="connsiteY119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219075 w 1466850"/>
                  <a:gd name="connsiteY17" fmla="*/ 1150144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59544 w 1466850"/>
                  <a:gd name="connsiteY17" fmla="*/ 1112044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85875 w 1466850"/>
                  <a:gd name="connsiteY56" fmla="*/ 611981 h 1209675"/>
                  <a:gd name="connsiteX57" fmla="*/ 1300162 w 1466850"/>
                  <a:gd name="connsiteY57" fmla="*/ 628650 h 1209675"/>
                  <a:gd name="connsiteX58" fmla="*/ 1321594 w 1466850"/>
                  <a:gd name="connsiteY58" fmla="*/ 666750 h 1209675"/>
                  <a:gd name="connsiteX59" fmla="*/ 1347787 w 1466850"/>
                  <a:gd name="connsiteY59" fmla="*/ 681037 h 1209675"/>
                  <a:gd name="connsiteX60" fmla="*/ 1371600 w 1466850"/>
                  <a:gd name="connsiteY60" fmla="*/ 681037 h 1209675"/>
                  <a:gd name="connsiteX61" fmla="*/ 1376362 w 1466850"/>
                  <a:gd name="connsiteY61" fmla="*/ 628650 h 1209675"/>
                  <a:gd name="connsiteX62" fmla="*/ 1395412 w 1466850"/>
                  <a:gd name="connsiteY62" fmla="*/ 578644 h 1209675"/>
                  <a:gd name="connsiteX63" fmla="*/ 1426369 w 1466850"/>
                  <a:gd name="connsiteY63" fmla="*/ 571500 h 1209675"/>
                  <a:gd name="connsiteX64" fmla="*/ 1466850 w 1466850"/>
                  <a:gd name="connsiteY64" fmla="*/ 552450 h 1209675"/>
                  <a:gd name="connsiteX65" fmla="*/ 1443037 w 1466850"/>
                  <a:gd name="connsiteY65" fmla="*/ 509587 h 1209675"/>
                  <a:gd name="connsiteX66" fmla="*/ 1414462 w 1466850"/>
                  <a:gd name="connsiteY66" fmla="*/ 464344 h 1209675"/>
                  <a:gd name="connsiteX67" fmla="*/ 1388269 w 1466850"/>
                  <a:gd name="connsiteY67" fmla="*/ 438150 h 1209675"/>
                  <a:gd name="connsiteX68" fmla="*/ 1404937 w 1466850"/>
                  <a:gd name="connsiteY68" fmla="*/ 400050 h 1209675"/>
                  <a:gd name="connsiteX69" fmla="*/ 1404937 w 1466850"/>
                  <a:gd name="connsiteY69" fmla="*/ 383381 h 1209675"/>
                  <a:gd name="connsiteX70" fmla="*/ 1431131 w 1466850"/>
                  <a:gd name="connsiteY70" fmla="*/ 338137 h 1209675"/>
                  <a:gd name="connsiteX71" fmla="*/ 1419225 w 1466850"/>
                  <a:gd name="connsiteY71" fmla="*/ 264319 h 1209675"/>
                  <a:gd name="connsiteX72" fmla="*/ 1438275 w 1466850"/>
                  <a:gd name="connsiteY72" fmla="*/ 202406 h 1209675"/>
                  <a:gd name="connsiteX73" fmla="*/ 1435894 w 1466850"/>
                  <a:gd name="connsiteY73" fmla="*/ 173831 h 1209675"/>
                  <a:gd name="connsiteX74" fmla="*/ 1404937 w 1466850"/>
                  <a:gd name="connsiteY74" fmla="*/ 164306 h 1209675"/>
                  <a:gd name="connsiteX75" fmla="*/ 1364456 w 1466850"/>
                  <a:gd name="connsiteY75" fmla="*/ 154781 h 1209675"/>
                  <a:gd name="connsiteX76" fmla="*/ 1293019 w 1466850"/>
                  <a:gd name="connsiteY76" fmla="*/ 154781 h 1209675"/>
                  <a:gd name="connsiteX77" fmla="*/ 1233487 w 1466850"/>
                  <a:gd name="connsiteY77" fmla="*/ 121444 h 1209675"/>
                  <a:gd name="connsiteX78" fmla="*/ 1207294 w 1466850"/>
                  <a:gd name="connsiteY78" fmla="*/ 114300 h 1209675"/>
                  <a:gd name="connsiteX79" fmla="*/ 1188244 w 1466850"/>
                  <a:gd name="connsiteY79" fmla="*/ 126206 h 1209675"/>
                  <a:gd name="connsiteX80" fmla="*/ 1133475 w 1466850"/>
                  <a:gd name="connsiteY80" fmla="*/ 188119 h 1209675"/>
                  <a:gd name="connsiteX81" fmla="*/ 1116806 w 1466850"/>
                  <a:gd name="connsiteY81" fmla="*/ 188119 h 1209675"/>
                  <a:gd name="connsiteX82" fmla="*/ 1078706 w 1466850"/>
                  <a:gd name="connsiteY82" fmla="*/ 142875 h 1209675"/>
                  <a:gd name="connsiteX83" fmla="*/ 1054894 w 1466850"/>
                  <a:gd name="connsiteY83" fmla="*/ 138112 h 1209675"/>
                  <a:gd name="connsiteX84" fmla="*/ 997744 w 1466850"/>
                  <a:gd name="connsiteY84" fmla="*/ 157162 h 1209675"/>
                  <a:gd name="connsiteX85" fmla="*/ 973931 w 1466850"/>
                  <a:gd name="connsiteY85" fmla="*/ 178594 h 1209675"/>
                  <a:gd name="connsiteX86" fmla="*/ 928687 w 1466850"/>
                  <a:gd name="connsiteY86" fmla="*/ 173831 h 1209675"/>
                  <a:gd name="connsiteX87" fmla="*/ 878681 w 1466850"/>
                  <a:gd name="connsiteY87" fmla="*/ 164306 h 1209675"/>
                  <a:gd name="connsiteX88" fmla="*/ 864394 w 1466850"/>
                  <a:gd name="connsiteY88" fmla="*/ 83344 h 1209675"/>
                  <a:gd name="connsiteX89" fmla="*/ 845344 w 1466850"/>
                  <a:gd name="connsiteY89" fmla="*/ 69056 h 1209675"/>
                  <a:gd name="connsiteX90" fmla="*/ 747712 w 1466850"/>
                  <a:gd name="connsiteY90" fmla="*/ 119062 h 1209675"/>
                  <a:gd name="connsiteX91" fmla="*/ 721519 w 1466850"/>
                  <a:gd name="connsiteY91" fmla="*/ 140494 h 1209675"/>
                  <a:gd name="connsiteX92" fmla="*/ 709612 w 1466850"/>
                  <a:gd name="connsiteY92" fmla="*/ 190500 h 1209675"/>
                  <a:gd name="connsiteX93" fmla="*/ 707231 w 1466850"/>
                  <a:gd name="connsiteY93" fmla="*/ 195262 h 1209675"/>
                  <a:gd name="connsiteX94" fmla="*/ 654844 w 1466850"/>
                  <a:gd name="connsiteY94" fmla="*/ 190500 h 1209675"/>
                  <a:gd name="connsiteX95" fmla="*/ 633412 w 1466850"/>
                  <a:gd name="connsiteY95" fmla="*/ 180975 h 1209675"/>
                  <a:gd name="connsiteX96" fmla="*/ 614362 w 1466850"/>
                  <a:gd name="connsiteY96" fmla="*/ 142875 h 1209675"/>
                  <a:gd name="connsiteX97" fmla="*/ 590550 w 1466850"/>
                  <a:gd name="connsiteY97" fmla="*/ 130969 h 1209675"/>
                  <a:gd name="connsiteX98" fmla="*/ 540544 w 1466850"/>
                  <a:gd name="connsiteY98" fmla="*/ 161925 h 1209675"/>
                  <a:gd name="connsiteX99" fmla="*/ 507206 w 1466850"/>
                  <a:gd name="connsiteY99" fmla="*/ 154781 h 1209675"/>
                  <a:gd name="connsiteX100" fmla="*/ 495300 w 1466850"/>
                  <a:gd name="connsiteY100" fmla="*/ 123825 h 1209675"/>
                  <a:gd name="connsiteX101" fmla="*/ 490537 w 1466850"/>
                  <a:gd name="connsiteY101" fmla="*/ 114300 h 1209675"/>
                  <a:gd name="connsiteX102" fmla="*/ 431006 w 1466850"/>
                  <a:gd name="connsiteY102" fmla="*/ 97631 h 1209675"/>
                  <a:gd name="connsiteX103" fmla="*/ 442912 w 1466850"/>
                  <a:gd name="connsiteY103" fmla="*/ 33337 h 1209675"/>
                  <a:gd name="connsiteX104" fmla="*/ 423862 w 1466850"/>
                  <a:gd name="connsiteY104" fmla="*/ 19050 h 1209675"/>
                  <a:gd name="connsiteX105" fmla="*/ 335756 w 1466850"/>
                  <a:gd name="connsiteY105" fmla="*/ 0 h 1209675"/>
                  <a:gd name="connsiteX106" fmla="*/ 302419 w 1466850"/>
                  <a:gd name="connsiteY106" fmla="*/ 35719 h 1209675"/>
                  <a:gd name="connsiteX107" fmla="*/ 266700 w 1466850"/>
                  <a:gd name="connsiteY107" fmla="*/ 50006 h 1209675"/>
                  <a:gd name="connsiteX108" fmla="*/ 271462 w 1466850"/>
                  <a:gd name="connsiteY108" fmla="*/ 95250 h 1209675"/>
                  <a:gd name="connsiteX109" fmla="*/ 316706 w 1466850"/>
                  <a:gd name="connsiteY109" fmla="*/ 121444 h 1209675"/>
                  <a:gd name="connsiteX110" fmla="*/ 302419 w 1466850"/>
                  <a:gd name="connsiteY110" fmla="*/ 145256 h 1209675"/>
                  <a:gd name="connsiteX111" fmla="*/ 247650 w 1466850"/>
                  <a:gd name="connsiteY111" fmla="*/ 159544 h 1209675"/>
                  <a:gd name="connsiteX112" fmla="*/ 214312 w 1466850"/>
                  <a:gd name="connsiteY112" fmla="*/ 216694 h 1209675"/>
                  <a:gd name="connsiteX113" fmla="*/ 183356 w 1466850"/>
                  <a:gd name="connsiteY113" fmla="*/ 221456 h 1209675"/>
                  <a:gd name="connsiteX114" fmla="*/ 183356 w 1466850"/>
                  <a:gd name="connsiteY114" fmla="*/ 254794 h 1209675"/>
                  <a:gd name="connsiteX115" fmla="*/ 161925 w 1466850"/>
                  <a:gd name="connsiteY115" fmla="*/ 304800 h 1209675"/>
                  <a:gd name="connsiteX116" fmla="*/ 140494 w 1466850"/>
                  <a:gd name="connsiteY116" fmla="*/ 323850 h 1209675"/>
                  <a:gd name="connsiteX117" fmla="*/ 71439 w 1466850"/>
                  <a:gd name="connsiteY117" fmla="*/ 300039 h 1209675"/>
                  <a:gd name="connsiteX118" fmla="*/ 59530 w 1466850"/>
                  <a:gd name="connsiteY118" fmla="*/ 302418 h 1209675"/>
                  <a:gd name="connsiteX119" fmla="*/ 30956 w 1466850"/>
                  <a:gd name="connsiteY119" fmla="*/ 295274 h 12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466850" h="1209675">
                    <a:moveTo>
                      <a:pt x="30956" y="295274"/>
                    </a:moveTo>
                    <a:lnTo>
                      <a:pt x="19050" y="381000"/>
                    </a:lnTo>
                    <a:lnTo>
                      <a:pt x="19050" y="397669"/>
                    </a:lnTo>
                    <a:lnTo>
                      <a:pt x="0" y="459581"/>
                    </a:lnTo>
                    <a:lnTo>
                      <a:pt x="7144" y="497681"/>
                    </a:lnTo>
                    <a:lnTo>
                      <a:pt x="9525" y="535781"/>
                    </a:lnTo>
                    <a:lnTo>
                      <a:pt x="19050" y="583406"/>
                    </a:lnTo>
                    <a:lnTo>
                      <a:pt x="23812" y="688181"/>
                    </a:lnTo>
                    <a:lnTo>
                      <a:pt x="35719" y="747712"/>
                    </a:lnTo>
                    <a:lnTo>
                      <a:pt x="40481" y="778669"/>
                    </a:lnTo>
                    <a:lnTo>
                      <a:pt x="47625" y="831056"/>
                    </a:lnTo>
                    <a:lnTo>
                      <a:pt x="38100" y="919162"/>
                    </a:lnTo>
                    <a:lnTo>
                      <a:pt x="78581" y="1028700"/>
                    </a:lnTo>
                    <a:lnTo>
                      <a:pt x="71437" y="1095375"/>
                    </a:lnTo>
                    <a:lnTo>
                      <a:pt x="88106" y="1164431"/>
                    </a:lnTo>
                    <a:lnTo>
                      <a:pt x="166687" y="1200149"/>
                    </a:lnTo>
                    <a:lnTo>
                      <a:pt x="202406" y="1209675"/>
                    </a:lnTo>
                    <a:lnTo>
                      <a:pt x="188119" y="1145381"/>
                    </a:lnTo>
                    <a:cubicBezTo>
                      <a:pt x="211137" y="1135063"/>
                      <a:pt x="224631" y="1110456"/>
                      <a:pt x="242887" y="1092994"/>
                    </a:cubicBezTo>
                    <a:lnTo>
                      <a:pt x="238125" y="1045369"/>
                    </a:lnTo>
                    <a:lnTo>
                      <a:pt x="230981" y="1035844"/>
                    </a:lnTo>
                    <a:lnTo>
                      <a:pt x="252412" y="1019175"/>
                    </a:lnTo>
                    <a:lnTo>
                      <a:pt x="314325" y="995362"/>
                    </a:lnTo>
                    <a:lnTo>
                      <a:pt x="311944" y="959644"/>
                    </a:lnTo>
                    <a:lnTo>
                      <a:pt x="326231" y="942975"/>
                    </a:lnTo>
                    <a:lnTo>
                      <a:pt x="452437" y="950119"/>
                    </a:lnTo>
                    <a:lnTo>
                      <a:pt x="464344" y="933450"/>
                    </a:lnTo>
                    <a:lnTo>
                      <a:pt x="476250" y="883444"/>
                    </a:lnTo>
                    <a:lnTo>
                      <a:pt x="488156" y="857250"/>
                    </a:lnTo>
                    <a:lnTo>
                      <a:pt x="526256" y="862012"/>
                    </a:lnTo>
                    <a:lnTo>
                      <a:pt x="545306" y="909637"/>
                    </a:lnTo>
                    <a:lnTo>
                      <a:pt x="566737" y="881062"/>
                    </a:lnTo>
                    <a:lnTo>
                      <a:pt x="621506" y="845344"/>
                    </a:lnTo>
                    <a:lnTo>
                      <a:pt x="709612" y="814387"/>
                    </a:lnTo>
                    <a:lnTo>
                      <a:pt x="716756" y="769144"/>
                    </a:lnTo>
                    <a:lnTo>
                      <a:pt x="742950" y="750094"/>
                    </a:lnTo>
                    <a:lnTo>
                      <a:pt x="785812" y="726281"/>
                    </a:lnTo>
                    <a:lnTo>
                      <a:pt x="800100" y="716756"/>
                    </a:lnTo>
                    <a:lnTo>
                      <a:pt x="862012" y="721519"/>
                    </a:lnTo>
                    <a:lnTo>
                      <a:pt x="883444" y="721519"/>
                    </a:lnTo>
                    <a:lnTo>
                      <a:pt x="892969" y="697706"/>
                    </a:lnTo>
                    <a:lnTo>
                      <a:pt x="892969" y="697706"/>
                    </a:lnTo>
                    <a:lnTo>
                      <a:pt x="921544" y="609600"/>
                    </a:lnTo>
                    <a:lnTo>
                      <a:pt x="909637" y="552450"/>
                    </a:lnTo>
                    <a:lnTo>
                      <a:pt x="928687" y="540544"/>
                    </a:lnTo>
                    <a:lnTo>
                      <a:pt x="973931" y="535781"/>
                    </a:lnTo>
                    <a:lnTo>
                      <a:pt x="1014412" y="447675"/>
                    </a:lnTo>
                    <a:lnTo>
                      <a:pt x="1038225" y="445294"/>
                    </a:lnTo>
                    <a:lnTo>
                      <a:pt x="1073944" y="476250"/>
                    </a:lnTo>
                    <a:lnTo>
                      <a:pt x="1112044" y="514350"/>
                    </a:lnTo>
                    <a:lnTo>
                      <a:pt x="1171575" y="540544"/>
                    </a:lnTo>
                    <a:lnTo>
                      <a:pt x="1219200" y="521494"/>
                    </a:lnTo>
                    <a:lnTo>
                      <a:pt x="1245394" y="502444"/>
                    </a:lnTo>
                    <a:lnTo>
                      <a:pt x="1278731" y="511969"/>
                    </a:lnTo>
                    <a:lnTo>
                      <a:pt x="1295400" y="531019"/>
                    </a:lnTo>
                    <a:lnTo>
                      <a:pt x="1273969" y="573881"/>
                    </a:lnTo>
                    <a:lnTo>
                      <a:pt x="1285875" y="611981"/>
                    </a:lnTo>
                    <a:lnTo>
                      <a:pt x="1300162" y="628650"/>
                    </a:lnTo>
                    <a:lnTo>
                      <a:pt x="1321594" y="666750"/>
                    </a:lnTo>
                    <a:lnTo>
                      <a:pt x="1347787" y="681037"/>
                    </a:lnTo>
                    <a:lnTo>
                      <a:pt x="1371600" y="681037"/>
                    </a:lnTo>
                    <a:lnTo>
                      <a:pt x="1376362" y="628650"/>
                    </a:lnTo>
                    <a:lnTo>
                      <a:pt x="1395412" y="578644"/>
                    </a:lnTo>
                    <a:lnTo>
                      <a:pt x="1426369" y="571500"/>
                    </a:lnTo>
                    <a:lnTo>
                      <a:pt x="1466850" y="552450"/>
                    </a:lnTo>
                    <a:lnTo>
                      <a:pt x="1443037" y="509587"/>
                    </a:lnTo>
                    <a:lnTo>
                      <a:pt x="1414462" y="464344"/>
                    </a:lnTo>
                    <a:lnTo>
                      <a:pt x="1388269" y="438150"/>
                    </a:lnTo>
                    <a:lnTo>
                      <a:pt x="1404937" y="400050"/>
                    </a:lnTo>
                    <a:lnTo>
                      <a:pt x="1404937" y="383381"/>
                    </a:lnTo>
                    <a:lnTo>
                      <a:pt x="1431131" y="338137"/>
                    </a:lnTo>
                    <a:lnTo>
                      <a:pt x="1419225" y="264319"/>
                    </a:lnTo>
                    <a:lnTo>
                      <a:pt x="1438275" y="202406"/>
                    </a:lnTo>
                    <a:lnTo>
                      <a:pt x="1435894" y="173831"/>
                    </a:lnTo>
                    <a:lnTo>
                      <a:pt x="1404937" y="164306"/>
                    </a:lnTo>
                    <a:lnTo>
                      <a:pt x="1364456" y="154781"/>
                    </a:lnTo>
                    <a:lnTo>
                      <a:pt x="1293019" y="154781"/>
                    </a:lnTo>
                    <a:lnTo>
                      <a:pt x="1233487" y="121444"/>
                    </a:lnTo>
                    <a:lnTo>
                      <a:pt x="1207294" y="114300"/>
                    </a:lnTo>
                    <a:lnTo>
                      <a:pt x="1188244" y="126206"/>
                    </a:lnTo>
                    <a:lnTo>
                      <a:pt x="1133475" y="188119"/>
                    </a:lnTo>
                    <a:lnTo>
                      <a:pt x="1116806" y="188119"/>
                    </a:lnTo>
                    <a:lnTo>
                      <a:pt x="1078706" y="142875"/>
                    </a:lnTo>
                    <a:lnTo>
                      <a:pt x="1054894" y="138112"/>
                    </a:lnTo>
                    <a:lnTo>
                      <a:pt x="997744" y="157162"/>
                    </a:lnTo>
                    <a:lnTo>
                      <a:pt x="973931" y="178594"/>
                    </a:lnTo>
                    <a:lnTo>
                      <a:pt x="928687" y="173831"/>
                    </a:lnTo>
                    <a:lnTo>
                      <a:pt x="878681" y="164306"/>
                    </a:lnTo>
                    <a:lnTo>
                      <a:pt x="864394" y="83344"/>
                    </a:lnTo>
                    <a:lnTo>
                      <a:pt x="845344" y="69056"/>
                    </a:lnTo>
                    <a:lnTo>
                      <a:pt x="747712" y="119062"/>
                    </a:lnTo>
                    <a:lnTo>
                      <a:pt x="721519" y="140494"/>
                    </a:lnTo>
                    <a:lnTo>
                      <a:pt x="709612" y="190500"/>
                    </a:lnTo>
                    <a:lnTo>
                      <a:pt x="707231" y="195262"/>
                    </a:lnTo>
                    <a:lnTo>
                      <a:pt x="654844" y="190500"/>
                    </a:lnTo>
                    <a:lnTo>
                      <a:pt x="633412" y="180975"/>
                    </a:lnTo>
                    <a:lnTo>
                      <a:pt x="614362" y="142875"/>
                    </a:lnTo>
                    <a:lnTo>
                      <a:pt x="590550" y="130969"/>
                    </a:lnTo>
                    <a:lnTo>
                      <a:pt x="540544" y="161925"/>
                    </a:lnTo>
                    <a:lnTo>
                      <a:pt x="507206" y="154781"/>
                    </a:lnTo>
                    <a:lnTo>
                      <a:pt x="495300" y="123825"/>
                    </a:lnTo>
                    <a:lnTo>
                      <a:pt x="490537" y="114300"/>
                    </a:lnTo>
                    <a:lnTo>
                      <a:pt x="431006" y="97631"/>
                    </a:lnTo>
                    <a:lnTo>
                      <a:pt x="442912" y="33337"/>
                    </a:lnTo>
                    <a:lnTo>
                      <a:pt x="423862" y="19050"/>
                    </a:lnTo>
                    <a:lnTo>
                      <a:pt x="335756" y="0"/>
                    </a:lnTo>
                    <a:lnTo>
                      <a:pt x="302419" y="35719"/>
                    </a:lnTo>
                    <a:lnTo>
                      <a:pt x="266700" y="50006"/>
                    </a:lnTo>
                    <a:lnTo>
                      <a:pt x="271462" y="95250"/>
                    </a:lnTo>
                    <a:lnTo>
                      <a:pt x="316706" y="121444"/>
                    </a:lnTo>
                    <a:lnTo>
                      <a:pt x="302419" y="145256"/>
                    </a:lnTo>
                    <a:lnTo>
                      <a:pt x="247650" y="159544"/>
                    </a:lnTo>
                    <a:lnTo>
                      <a:pt x="214312" y="216694"/>
                    </a:lnTo>
                    <a:lnTo>
                      <a:pt x="183356" y="221456"/>
                    </a:lnTo>
                    <a:lnTo>
                      <a:pt x="183356" y="254794"/>
                    </a:lnTo>
                    <a:lnTo>
                      <a:pt x="161925" y="304800"/>
                    </a:lnTo>
                    <a:lnTo>
                      <a:pt x="140494" y="323850"/>
                    </a:lnTo>
                    <a:lnTo>
                      <a:pt x="71439" y="300039"/>
                    </a:lnTo>
                    <a:lnTo>
                      <a:pt x="59530" y="302418"/>
                    </a:lnTo>
                    <a:lnTo>
                      <a:pt x="30956" y="295274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5870" name="Group 149">
              <a:extLst>
                <a:ext uri="{FF2B5EF4-FFF2-40B4-BE49-F238E27FC236}">
                  <a16:creationId xmlns:a16="http://schemas.microsoft.com/office/drawing/2014/main" id="{F743F381-B7D9-906B-0803-3A43233A61C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478660" y="3702438"/>
              <a:ext cx="1856305" cy="2023492"/>
              <a:chOff x="1500721" y="3992854"/>
              <a:chExt cx="2264586" cy="2378508"/>
            </a:xfrm>
          </p:grpSpPr>
          <p:sp>
            <p:nvSpPr>
              <p:cNvPr id="151" name="Freeform 387">
                <a:extLst>
                  <a:ext uri="{FF2B5EF4-FFF2-40B4-BE49-F238E27FC236}">
                    <a16:creationId xmlns:a16="http://schemas.microsoft.com/office/drawing/2014/main" id="{5A2148C6-2E71-2DFD-0419-894B031CEC39}"/>
                  </a:ext>
                </a:extLst>
              </p:cNvPr>
              <p:cNvSpPr/>
              <p:nvPr/>
            </p:nvSpPr>
            <p:spPr>
              <a:xfrm rot="21396613">
                <a:off x="2054128" y="3993127"/>
                <a:ext cx="1711020" cy="1396871"/>
              </a:xfrm>
              <a:custGeom>
                <a:avLst/>
                <a:gdLst>
                  <a:gd name="connsiteX0" fmla="*/ 688181 w 1562100"/>
                  <a:gd name="connsiteY0" fmla="*/ 1000125 h 1126331"/>
                  <a:gd name="connsiteX1" fmla="*/ 688181 w 1562100"/>
                  <a:gd name="connsiteY1" fmla="*/ 914400 h 1126331"/>
                  <a:gd name="connsiteX2" fmla="*/ 692944 w 1562100"/>
                  <a:gd name="connsiteY2" fmla="*/ 871537 h 1126331"/>
                  <a:gd name="connsiteX3" fmla="*/ 692944 w 1562100"/>
                  <a:gd name="connsiteY3" fmla="*/ 826294 h 1126331"/>
                  <a:gd name="connsiteX4" fmla="*/ 676275 w 1562100"/>
                  <a:gd name="connsiteY4" fmla="*/ 802481 h 1126331"/>
                  <a:gd name="connsiteX5" fmla="*/ 690563 w 1562100"/>
                  <a:gd name="connsiteY5" fmla="*/ 750094 h 1126331"/>
                  <a:gd name="connsiteX6" fmla="*/ 685800 w 1562100"/>
                  <a:gd name="connsiteY6" fmla="*/ 723900 h 1126331"/>
                  <a:gd name="connsiteX7" fmla="*/ 697706 w 1562100"/>
                  <a:gd name="connsiteY7" fmla="*/ 678656 h 1126331"/>
                  <a:gd name="connsiteX8" fmla="*/ 714375 w 1562100"/>
                  <a:gd name="connsiteY8" fmla="*/ 654844 h 1126331"/>
                  <a:gd name="connsiteX9" fmla="*/ 721519 w 1562100"/>
                  <a:gd name="connsiteY9" fmla="*/ 621506 h 1126331"/>
                  <a:gd name="connsiteX10" fmla="*/ 735806 w 1562100"/>
                  <a:gd name="connsiteY10" fmla="*/ 602456 h 1126331"/>
                  <a:gd name="connsiteX11" fmla="*/ 792956 w 1562100"/>
                  <a:gd name="connsiteY11" fmla="*/ 592931 h 1126331"/>
                  <a:gd name="connsiteX12" fmla="*/ 838200 w 1562100"/>
                  <a:gd name="connsiteY12" fmla="*/ 576262 h 1126331"/>
                  <a:gd name="connsiteX13" fmla="*/ 876300 w 1562100"/>
                  <a:gd name="connsiteY13" fmla="*/ 535781 h 1126331"/>
                  <a:gd name="connsiteX14" fmla="*/ 923925 w 1562100"/>
                  <a:gd name="connsiteY14" fmla="*/ 521494 h 1126331"/>
                  <a:gd name="connsiteX15" fmla="*/ 995363 w 1562100"/>
                  <a:gd name="connsiteY15" fmla="*/ 516731 h 1126331"/>
                  <a:gd name="connsiteX16" fmla="*/ 1040606 w 1562100"/>
                  <a:gd name="connsiteY16" fmla="*/ 507206 h 1126331"/>
                  <a:gd name="connsiteX17" fmla="*/ 1119188 w 1562100"/>
                  <a:gd name="connsiteY17" fmla="*/ 400050 h 1126331"/>
                  <a:gd name="connsiteX18" fmla="*/ 1126331 w 1562100"/>
                  <a:gd name="connsiteY18" fmla="*/ 366712 h 1126331"/>
                  <a:gd name="connsiteX19" fmla="*/ 1152525 w 1562100"/>
                  <a:gd name="connsiteY19" fmla="*/ 338137 h 1126331"/>
                  <a:gd name="connsiteX20" fmla="*/ 1197769 w 1562100"/>
                  <a:gd name="connsiteY20" fmla="*/ 328612 h 1126331"/>
                  <a:gd name="connsiteX21" fmla="*/ 1290638 w 1562100"/>
                  <a:gd name="connsiteY21" fmla="*/ 252412 h 1126331"/>
                  <a:gd name="connsiteX22" fmla="*/ 1314450 w 1562100"/>
                  <a:gd name="connsiteY22" fmla="*/ 250031 h 1126331"/>
                  <a:gd name="connsiteX23" fmla="*/ 1409700 w 1562100"/>
                  <a:gd name="connsiteY23" fmla="*/ 169069 h 1126331"/>
                  <a:gd name="connsiteX24" fmla="*/ 1414463 w 1562100"/>
                  <a:gd name="connsiteY24" fmla="*/ 150019 h 1126331"/>
                  <a:gd name="connsiteX25" fmla="*/ 1507331 w 1562100"/>
                  <a:gd name="connsiteY25" fmla="*/ 95250 h 1126331"/>
                  <a:gd name="connsiteX26" fmla="*/ 1543050 w 1562100"/>
                  <a:gd name="connsiteY26" fmla="*/ 50006 h 1126331"/>
                  <a:gd name="connsiteX27" fmla="*/ 1562100 w 1562100"/>
                  <a:gd name="connsiteY27" fmla="*/ 11906 h 1126331"/>
                  <a:gd name="connsiteX28" fmla="*/ 1512094 w 1562100"/>
                  <a:gd name="connsiteY28" fmla="*/ 30956 h 1126331"/>
                  <a:gd name="connsiteX29" fmla="*/ 1478756 w 1562100"/>
                  <a:gd name="connsiteY29" fmla="*/ 30956 h 1126331"/>
                  <a:gd name="connsiteX30" fmla="*/ 1452563 w 1562100"/>
                  <a:gd name="connsiteY30" fmla="*/ 69056 h 1126331"/>
                  <a:gd name="connsiteX31" fmla="*/ 1421606 w 1562100"/>
                  <a:gd name="connsiteY31" fmla="*/ 66675 h 1126331"/>
                  <a:gd name="connsiteX32" fmla="*/ 1366838 w 1562100"/>
                  <a:gd name="connsiteY32" fmla="*/ 35719 h 1126331"/>
                  <a:gd name="connsiteX33" fmla="*/ 1323975 w 1562100"/>
                  <a:gd name="connsiteY33" fmla="*/ 23812 h 1126331"/>
                  <a:gd name="connsiteX34" fmla="*/ 1238250 w 1562100"/>
                  <a:gd name="connsiteY34" fmla="*/ 59531 h 1126331"/>
                  <a:gd name="connsiteX35" fmla="*/ 1223963 w 1562100"/>
                  <a:gd name="connsiteY35" fmla="*/ 97631 h 1126331"/>
                  <a:gd name="connsiteX36" fmla="*/ 1195388 w 1562100"/>
                  <a:gd name="connsiteY36" fmla="*/ 154781 h 1126331"/>
                  <a:gd name="connsiteX37" fmla="*/ 1109663 w 1562100"/>
                  <a:gd name="connsiteY37" fmla="*/ 116681 h 1126331"/>
                  <a:gd name="connsiteX38" fmla="*/ 1097756 w 1562100"/>
                  <a:gd name="connsiteY38" fmla="*/ 159544 h 1126331"/>
                  <a:gd name="connsiteX39" fmla="*/ 1083469 w 1562100"/>
                  <a:gd name="connsiteY39" fmla="*/ 192881 h 1126331"/>
                  <a:gd name="connsiteX40" fmla="*/ 959644 w 1562100"/>
                  <a:gd name="connsiteY40" fmla="*/ 223837 h 1126331"/>
                  <a:gd name="connsiteX41" fmla="*/ 945356 w 1562100"/>
                  <a:gd name="connsiteY41" fmla="*/ 219075 h 1126331"/>
                  <a:gd name="connsiteX42" fmla="*/ 926306 w 1562100"/>
                  <a:gd name="connsiteY42" fmla="*/ 240506 h 1126331"/>
                  <a:gd name="connsiteX43" fmla="*/ 890588 w 1562100"/>
                  <a:gd name="connsiteY43" fmla="*/ 247650 h 1126331"/>
                  <a:gd name="connsiteX44" fmla="*/ 854869 w 1562100"/>
                  <a:gd name="connsiteY44" fmla="*/ 197644 h 1126331"/>
                  <a:gd name="connsiteX45" fmla="*/ 835819 w 1562100"/>
                  <a:gd name="connsiteY45" fmla="*/ 185737 h 1126331"/>
                  <a:gd name="connsiteX46" fmla="*/ 826294 w 1562100"/>
                  <a:gd name="connsiteY46" fmla="*/ 140494 h 1126331"/>
                  <a:gd name="connsiteX47" fmla="*/ 792956 w 1562100"/>
                  <a:gd name="connsiteY47" fmla="*/ 123825 h 1126331"/>
                  <a:gd name="connsiteX48" fmla="*/ 759619 w 1562100"/>
                  <a:gd name="connsiteY48" fmla="*/ 116681 h 1126331"/>
                  <a:gd name="connsiteX49" fmla="*/ 740569 w 1562100"/>
                  <a:gd name="connsiteY49" fmla="*/ 111919 h 1126331"/>
                  <a:gd name="connsiteX50" fmla="*/ 728663 w 1562100"/>
                  <a:gd name="connsiteY50" fmla="*/ 102394 h 1126331"/>
                  <a:gd name="connsiteX51" fmla="*/ 735806 w 1562100"/>
                  <a:gd name="connsiteY51" fmla="*/ 76200 h 1126331"/>
                  <a:gd name="connsiteX52" fmla="*/ 742950 w 1562100"/>
                  <a:gd name="connsiteY52" fmla="*/ 52387 h 1126331"/>
                  <a:gd name="connsiteX53" fmla="*/ 700088 w 1562100"/>
                  <a:gd name="connsiteY53" fmla="*/ 2381 h 1126331"/>
                  <a:gd name="connsiteX54" fmla="*/ 328613 w 1562100"/>
                  <a:gd name="connsiteY54" fmla="*/ 0 h 1126331"/>
                  <a:gd name="connsiteX55" fmla="*/ 292894 w 1562100"/>
                  <a:gd name="connsiteY55" fmla="*/ 102394 h 1126331"/>
                  <a:gd name="connsiteX56" fmla="*/ 264319 w 1562100"/>
                  <a:gd name="connsiteY56" fmla="*/ 109537 h 1126331"/>
                  <a:gd name="connsiteX57" fmla="*/ 261938 w 1562100"/>
                  <a:gd name="connsiteY57" fmla="*/ 123825 h 1126331"/>
                  <a:gd name="connsiteX58" fmla="*/ 261938 w 1562100"/>
                  <a:gd name="connsiteY58" fmla="*/ 157162 h 1126331"/>
                  <a:gd name="connsiteX59" fmla="*/ 228600 w 1562100"/>
                  <a:gd name="connsiteY59" fmla="*/ 200025 h 1126331"/>
                  <a:gd name="connsiteX60" fmla="*/ 271463 w 1562100"/>
                  <a:gd name="connsiteY60" fmla="*/ 216694 h 1126331"/>
                  <a:gd name="connsiteX61" fmla="*/ 278606 w 1562100"/>
                  <a:gd name="connsiteY61" fmla="*/ 235744 h 1126331"/>
                  <a:gd name="connsiteX62" fmla="*/ 257175 w 1562100"/>
                  <a:gd name="connsiteY62" fmla="*/ 271462 h 1126331"/>
                  <a:gd name="connsiteX63" fmla="*/ 221456 w 1562100"/>
                  <a:gd name="connsiteY63" fmla="*/ 280987 h 1126331"/>
                  <a:gd name="connsiteX64" fmla="*/ 221456 w 1562100"/>
                  <a:gd name="connsiteY64" fmla="*/ 321469 h 1126331"/>
                  <a:gd name="connsiteX65" fmla="*/ 254794 w 1562100"/>
                  <a:gd name="connsiteY65" fmla="*/ 359569 h 1126331"/>
                  <a:gd name="connsiteX66" fmla="*/ 226219 w 1562100"/>
                  <a:gd name="connsiteY66" fmla="*/ 423862 h 1126331"/>
                  <a:gd name="connsiteX67" fmla="*/ 180975 w 1562100"/>
                  <a:gd name="connsiteY67" fmla="*/ 452437 h 1126331"/>
                  <a:gd name="connsiteX68" fmla="*/ 183356 w 1562100"/>
                  <a:gd name="connsiteY68" fmla="*/ 469106 h 1126331"/>
                  <a:gd name="connsiteX69" fmla="*/ 204788 w 1562100"/>
                  <a:gd name="connsiteY69" fmla="*/ 478631 h 1126331"/>
                  <a:gd name="connsiteX70" fmla="*/ 219075 w 1562100"/>
                  <a:gd name="connsiteY70" fmla="*/ 488156 h 1126331"/>
                  <a:gd name="connsiteX71" fmla="*/ 223838 w 1562100"/>
                  <a:gd name="connsiteY71" fmla="*/ 507206 h 1126331"/>
                  <a:gd name="connsiteX72" fmla="*/ 195263 w 1562100"/>
                  <a:gd name="connsiteY72" fmla="*/ 533400 h 1126331"/>
                  <a:gd name="connsiteX73" fmla="*/ 123825 w 1562100"/>
                  <a:gd name="connsiteY73" fmla="*/ 578644 h 1126331"/>
                  <a:gd name="connsiteX74" fmla="*/ 123825 w 1562100"/>
                  <a:gd name="connsiteY74" fmla="*/ 614362 h 1126331"/>
                  <a:gd name="connsiteX75" fmla="*/ 135731 w 1562100"/>
                  <a:gd name="connsiteY75" fmla="*/ 645319 h 1126331"/>
                  <a:gd name="connsiteX76" fmla="*/ 123825 w 1562100"/>
                  <a:gd name="connsiteY76" fmla="*/ 685800 h 1126331"/>
                  <a:gd name="connsiteX77" fmla="*/ 76200 w 1562100"/>
                  <a:gd name="connsiteY77" fmla="*/ 681037 h 1126331"/>
                  <a:gd name="connsiteX78" fmla="*/ 52388 w 1562100"/>
                  <a:gd name="connsiteY78" fmla="*/ 626269 h 1126331"/>
                  <a:gd name="connsiteX79" fmla="*/ 33338 w 1562100"/>
                  <a:gd name="connsiteY79" fmla="*/ 619125 h 1126331"/>
                  <a:gd name="connsiteX80" fmla="*/ 23813 w 1562100"/>
                  <a:gd name="connsiteY80" fmla="*/ 657225 h 1126331"/>
                  <a:gd name="connsiteX81" fmla="*/ 21431 w 1562100"/>
                  <a:gd name="connsiteY81" fmla="*/ 666750 h 1126331"/>
                  <a:gd name="connsiteX82" fmla="*/ 7144 w 1562100"/>
                  <a:gd name="connsiteY82" fmla="*/ 683419 h 1126331"/>
                  <a:gd name="connsiteX83" fmla="*/ 0 w 1562100"/>
                  <a:gd name="connsiteY83" fmla="*/ 740569 h 1126331"/>
                  <a:gd name="connsiteX84" fmla="*/ 23813 w 1562100"/>
                  <a:gd name="connsiteY84" fmla="*/ 769144 h 1126331"/>
                  <a:gd name="connsiteX85" fmla="*/ 16669 w 1562100"/>
                  <a:gd name="connsiteY85" fmla="*/ 809625 h 1126331"/>
                  <a:gd name="connsiteX86" fmla="*/ 35719 w 1562100"/>
                  <a:gd name="connsiteY86" fmla="*/ 814387 h 1126331"/>
                  <a:gd name="connsiteX87" fmla="*/ 69056 w 1562100"/>
                  <a:gd name="connsiteY87" fmla="*/ 814387 h 1126331"/>
                  <a:gd name="connsiteX88" fmla="*/ 85725 w 1562100"/>
                  <a:gd name="connsiteY88" fmla="*/ 804862 h 1126331"/>
                  <a:gd name="connsiteX89" fmla="*/ 135731 w 1562100"/>
                  <a:gd name="connsiteY89" fmla="*/ 862012 h 1126331"/>
                  <a:gd name="connsiteX90" fmla="*/ 123825 w 1562100"/>
                  <a:gd name="connsiteY90" fmla="*/ 881062 h 1126331"/>
                  <a:gd name="connsiteX91" fmla="*/ 133350 w 1562100"/>
                  <a:gd name="connsiteY91" fmla="*/ 909637 h 1126331"/>
                  <a:gd name="connsiteX92" fmla="*/ 164306 w 1562100"/>
                  <a:gd name="connsiteY92" fmla="*/ 928687 h 1126331"/>
                  <a:gd name="connsiteX93" fmla="*/ 190500 w 1562100"/>
                  <a:gd name="connsiteY93" fmla="*/ 938212 h 1126331"/>
                  <a:gd name="connsiteX94" fmla="*/ 216694 w 1562100"/>
                  <a:gd name="connsiteY94" fmla="*/ 945356 h 1126331"/>
                  <a:gd name="connsiteX95" fmla="*/ 228600 w 1562100"/>
                  <a:gd name="connsiteY95" fmla="*/ 947737 h 1126331"/>
                  <a:gd name="connsiteX96" fmla="*/ 240506 w 1562100"/>
                  <a:gd name="connsiteY96" fmla="*/ 909637 h 1126331"/>
                  <a:gd name="connsiteX97" fmla="*/ 269081 w 1562100"/>
                  <a:gd name="connsiteY97" fmla="*/ 914400 h 1126331"/>
                  <a:gd name="connsiteX98" fmla="*/ 288131 w 1562100"/>
                  <a:gd name="connsiteY98" fmla="*/ 902494 h 1126331"/>
                  <a:gd name="connsiteX99" fmla="*/ 307181 w 1562100"/>
                  <a:gd name="connsiteY99" fmla="*/ 952500 h 1126331"/>
                  <a:gd name="connsiteX100" fmla="*/ 330994 w 1562100"/>
                  <a:gd name="connsiteY100" fmla="*/ 966787 h 1126331"/>
                  <a:gd name="connsiteX101" fmla="*/ 340519 w 1562100"/>
                  <a:gd name="connsiteY101" fmla="*/ 995362 h 1126331"/>
                  <a:gd name="connsiteX102" fmla="*/ 357188 w 1562100"/>
                  <a:gd name="connsiteY102" fmla="*/ 1004887 h 1126331"/>
                  <a:gd name="connsiteX103" fmla="*/ 364331 w 1562100"/>
                  <a:gd name="connsiteY103" fmla="*/ 1035844 h 1126331"/>
                  <a:gd name="connsiteX104" fmla="*/ 335756 w 1562100"/>
                  <a:gd name="connsiteY104" fmla="*/ 1062037 h 1126331"/>
                  <a:gd name="connsiteX105" fmla="*/ 309563 w 1562100"/>
                  <a:gd name="connsiteY105" fmla="*/ 1078706 h 1126331"/>
                  <a:gd name="connsiteX106" fmla="*/ 297656 w 1562100"/>
                  <a:gd name="connsiteY106" fmla="*/ 1102519 h 1126331"/>
                  <a:gd name="connsiteX107" fmla="*/ 302419 w 1562100"/>
                  <a:gd name="connsiteY107" fmla="*/ 1126331 h 1126331"/>
                  <a:gd name="connsiteX108" fmla="*/ 342900 w 1562100"/>
                  <a:gd name="connsiteY108" fmla="*/ 1126331 h 1126331"/>
                  <a:gd name="connsiteX109" fmla="*/ 390525 w 1562100"/>
                  <a:gd name="connsiteY109" fmla="*/ 1121569 h 1126331"/>
                  <a:gd name="connsiteX110" fmla="*/ 428625 w 1562100"/>
                  <a:gd name="connsiteY110" fmla="*/ 1112044 h 1126331"/>
                  <a:gd name="connsiteX111" fmla="*/ 454819 w 1562100"/>
                  <a:gd name="connsiteY111" fmla="*/ 1119187 h 1126331"/>
                  <a:gd name="connsiteX112" fmla="*/ 473869 w 1562100"/>
                  <a:gd name="connsiteY112" fmla="*/ 1097756 h 1126331"/>
                  <a:gd name="connsiteX113" fmla="*/ 492919 w 1562100"/>
                  <a:gd name="connsiteY113" fmla="*/ 1097756 h 1126331"/>
                  <a:gd name="connsiteX114" fmla="*/ 507206 w 1562100"/>
                  <a:gd name="connsiteY114" fmla="*/ 1066800 h 1126331"/>
                  <a:gd name="connsiteX115" fmla="*/ 557213 w 1562100"/>
                  <a:gd name="connsiteY115" fmla="*/ 1052512 h 1126331"/>
                  <a:gd name="connsiteX116" fmla="*/ 583406 w 1562100"/>
                  <a:gd name="connsiteY116" fmla="*/ 1033462 h 1126331"/>
                  <a:gd name="connsiteX117" fmla="*/ 590550 w 1562100"/>
                  <a:gd name="connsiteY117" fmla="*/ 995362 h 1126331"/>
                  <a:gd name="connsiteX118" fmla="*/ 607219 w 1562100"/>
                  <a:gd name="connsiteY118" fmla="*/ 969169 h 1126331"/>
                  <a:gd name="connsiteX119" fmla="*/ 688181 w 1562100"/>
                  <a:gd name="connsiteY119" fmla="*/ 1000125 h 1126331"/>
                  <a:gd name="connsiteX0" fmla="*/ 688181 w 1562100"/>
                  <a:gd name="connsiteY0" fmla="*/ 1000125 h 1126331"/>
                  <a:gd name="connsiteX1" fmla="*/ 688181 w 1562100"/>
                  <a:gd name="connsiteY1" fmla="*/ 914400 h 1126331"/>
                  <a:gd name="connsiteX2" fmla="*/ 692944 w 1562100"/>
                  <a:gd name="connsiteY2" fmla="*/ 871537 h 1126331"/>
                  <a:gd name="connsiteX3" fmla="*/ 692944 w 1562100"/>
                  <a:gd name="connsiteY3" fmla="*/ 826294 h 1126331"/>
                  <a:gd name="connsiteX4" fmla="*/ 676275 w 1562100"/>
                  <a:gd name="connsiteY4" fmla="*/ 802481 h 1126331"/>
                  <a:gd name="connsiteX5" fmla="*/ 690563 w 1562100"/>
                  <a:gd name="connsiteY5" fmla="*/ 750094 h 1126331"/>
                  <a:gd name="connsiteX6" fmla="*/ 685800 w 1562100"/>
                  <a:gd name="connsiteY6" fmla="*/ 723900 h 1126331"/>
                  <a:gd name="connsiteX7" fmla="*/ 697706 w 1562100"/>
                  <a:gd name="connsiteY7" fmla="*/ 678656 h 1126331"/>
                  <a:gd name="connsiteX8" fmla="*/ 714375 w 1562100"/>
                  <a:gd name="connsiteY8" fmla="*/ 654844 h 1126331"/>
                  <a:gd name="connsiteX9" fmla="*/ 721519 w 1562100"/>
                  <a:gd name="connsiteY9" fmla="*/ 621506 h 1126331"/>
                  <a:gd name="connsiteX10" fmla="*/ 735806 w 1562100"/>
                  <a:gd name="connsiteY10" fmla="*/ 602456 h 1126331"/>
                  <a:gd name="connsiteX11" fmla="*/ 792956 w 1562100"/>
                  <a:gd name="connsiteY11" fmla="*/ 592931 h 1126331"/>
                  <a:gd name="connsiteX12" fmla="*/ 838200 w 1562100"/>
                  <a:gd name="connsiteY12" fmla="*/ 576262 h 1126331"/>
                  <a:gd name="connsiteX13" fmla="*/ 876300 w 1562100"/>
                  <a:gd name="connsiteY13" fmla="*/ 535781 h 1126331"/>
                  <a:gd name="connsiteX14" fmla="*/ 923925 w 1562100"/>
                  <a:gd name="connsiteY14" fmla="*/ 521494 h 1126331"/>
                  <a:gd name="connsiteX15" fmla="*/ 995363 w 1562100"/>
                  <a:gd name="connsiteY15" fmla="*/ 516731 h 1126331"/>
                  <a:gd name="connsiteX16" fmla="*/ 1040606 w 1562100"/>
                  <a:gd name="connsiteY16" fmla="*/ 507206 h 1126331"/>
                  <a:gd name="connsiteX17" fmla="*/ 1119188 w 1562100"/>
                  <a:gd name="connsiteY17" fmla="*/ 400050 h 1126331"/>
                  <a:gd name="connsiteX18" fmla="*/ 1126331 w 1562100"/>
                  <a:gd name="connsiteY18" fmla="*/ 366712 h 1126331"/>
                  <a:gd name="connsiteX19" fmla="*/ 1152525 w 1562100"/>
                  <a:gd name="connsiteY19" fmla="*/ 338137 h 1126331"/>
                  <a:gd name="connsiteX20" fmla="*/ 1197769 w 1562100"/>
                  <a:gd name="connsiteY20" fmla="*/ 328612 h 1126331"/>
                  <a:gd name="connsiteX21" fmla="*/ 1290638 w 1562100"/>
                  <a:gd name="connsiteY21" fmla="*/ 252412 h 1126331"/>
                  <a:gd name="connsiteX22" fmla="*/ 1314450 w 1562100"/>
                  <a:gd name="connsiteY22" fmla="*/ 250031 h 1126331"/>
                  <a:gd name="connsiteX23" fmla="*/ 1409700 w 1562100"/>
                  <a:gd name="connsiteY23" fmla="*/ 169069 h 1126331"/>
                  <a:gd name="connsiteX24" fmla="*/ 1414463 w 1562100"/>
                  <a:gd name="connsiteY24" fmla="*/ 150019 h 1126331"/>
                  <a:gd name="connsiteX25" fmla="*/ 1507331 w 1562100"/>
                  <a:gd name="connsiteY25" fmla="*/ 95250 h 1126331"/>
                  <a:gd name="connsiteX26" fmla="*/ 1543050 w 1562100"/>
                  <a:gd name="connsiteY26" fmla="*/ 50006 h 1126331"/>
                  <a:gd name="connsiteX27" fmla="*/ 1562100 w 1562100"/>
                  <a:gd name="connsiteY27" fmla="*/ 11906 h 1126331"/>
                  <a:gd name="connsiteX28" fmla="*/ 1512094 w 1562100"/>
                  <a:gd name="connsiteY28" fmla="*/ 30956 h 1126331"/>
                  <a:gd name="connsiteX29" fmla="*/ 1478756 w 1562100"/>
                  <a:gd name="connsiteY29" fmla="*/ 30956 h 1126331"/>
                  <a:gd name="connsiteX30" fmla="*/ 1452563 w 1562100"/>
                  <a:gd name="connsiteY30" fmla="*/ 69056 h 1126331"/>
                  <a:gd name="connsiteX31" fmla="*/ 1421606 w 1562100"/>
                  <a:gd name="connsiteY31" fmla="*/ 66675 h 1126331"/>
                  <a:gd name="connsiteX32" fmla="*/ 1366838 w 1562100"/>
                  <a:gd name="connsiteY32" fmla="*/ 35719 h 1126331"/>
                  <a:gd name="connsiteX33" fmla="*/ 1323975 w 1562100"/>
                  <a:gd name="connsiteY33" fmla="*/ 23812 h 1126331"/>
                  <a:gd name="connsiteX34" fmla="*/ 1238250 w 1562100"/>
                  <a:gd name="connsiteY34" fmla="*/ 59531 h 1126331"/>
                  <a:gd name="connsiteX35" fmla="*/ 1223963 w 1562100"/>
                  <a:gd name="connsiteY35" fmla="*/ 97631 h 1126331"/>
                  <a:gd name="connsiteX36" fmla="*/ 1195388 w 1562100"/>
                  <a:gd name="connsiteY36" fmla="*/ 154781 h 1126331"/>
                  <a:gd name="connsiteX37" fmla="*/ 1109663 w 1562100"/>
                  <a:gd name="connsiteY37" fmla="*/ 116681 h 1126331"/>
                  <a:gd name="connsiteX38" fmla="*/ 1097756 w 1562100"/>
                  <a:gd name="connsiteY38" fmla="*/ 159544 h 1126331"/>
                  <a:gd name="connsiteX39" fmla="*/ 1083469 w 1562100"/>
                  <a:gd name="connsiteY39" fmla="*/ 192881 h 1126331"/>
                  <a:gd name="connsiteX40" fmla="*/ 959644 w 1562100"/>
                  <a:gd name="connsiteY40" fmla="*/ 223837 h 1126331"/>
                  <a:gd name="connsiteX41" fmla="*/ 945356 w 1562100"/>
                  <a:gd name="connsiteY41" fmla="*/ 219075 h 1126331"/>
                  <a:gd name="connsiteX42" fmla="*/ 926306 w 1562100"/>
                  <a:gd name="connsiteY42" fmla="*/ 240506 h 1126331"/>
                  <a:gd name="connsiteX43" fmla="*/ 890588 w 1562100"/>
                  <a:gd name="connsiteY43" fmla="*/ 247650 h 1126331"/>
                  <a:gd name="connsiteX44" fmla="*/ 854869 w 1562100"/>
                  <a:gd name="connsiteY44" fmla="*/ 197644 h 1126331"/>
                  <a:gd name="connsiteX45" fmla="*/ 835819 w 1562100"/>
                  <a:gd name="connsiteY45" fmla="*/ 185737 h 1126331"/>
                  <a:gd name="connsiteX46" fmla="*/ 826294 w 1562100"/>
                  <a:gd name="connsiteY46" fmla="*/ 140494 h 1126331"/>
                  <a:gd name="connsiteX47" fmla="*/ 792956 w 1562100"/>
                  <a:gd name="connsiteY47" fmla="*/ 123825 h 1126331"/>
                  <a:gd name="connsiteX48" fmla="*/ 759619 w 1562100"/>
                  <a:gd name="connsiteY48" fmla="*/ 116681 h 1126331"/>
                  <a:gd name="connsiteX49" fmla="*/ 740569 w 1562100"/>
                  <a:gd name="connsiteY49" fmla="*/ 111919 h 1126331"/>
                  <a:gd name="connsiteX50" fmla="*/ 728663 w 1562100"/>
                  <a:gd name="connsiteY50" fmla="*/ 102394 h 1126331"/>
                  <a:gd name="connsiteX51" fmla="*/ 735806 w 1562100"/>
                  <a:gd name="connsiteY51" fmla="*/ 76200 h 1126331"/>
                  <a:gd name="connsiteX52" fmla="*/ 742950 w 1562100"/>
                  <a:gd name="connsiteY52" fmla="*/ 52387 h 1126331"/>
                  <a:gd name="connsiteX53" fmla="*/ 700088 w 1562100"/>
                  <a:gd name="connsiteY53" fmla="*/ 2381 h 1126331"/>
                  <a:gd name="connsiteX54" fmla="*/ 378619 w 1562100"/>
                  <a:gd name="connsiteY54" fmla="*/ 2381 h 1126331"/>
                  <a:gd name="connsiteX55" fmla="*/ 328613 w 1562100"/>
                  <a:gd name="connsiteY55" fmla="*/ 0 h 1126331"/>
                  <a:gd name="connsiteX56" fmla="*/ 292894 w 1562100"/>
                  <a:gd name="connsiteY56" fmla="*/ 102394 h 1126331"/>
                  <a:gd name="connsiteX57" fmla="*/ 264319 w 1562100"/>
                  <a:gd name="connsiteY57" fmla="*/ 109537 h 1126331"/>
                  <a:gd name="connsiteX58" fmla="*/ 261938 w 1562100"/>
                  <a:gd name="connsiteY58" fmla="*/ 123825 h 1126331"/>
                  <a:gd name="connsiteX59" fmla="*/ 261938 w 1562100"/>
                  <a:gd name="connsiteY59" fmla="*/ 157162 h 1126331"/>
                  <a:gd name="connsiteX60" fmla="*/ 228600 w 1562100"/>
                  <a:gd name="connsiteY60" fmla="*/ 200025 h 1126331"/>
                  <a:gd name="connsiteX61" fmla="*/ 271463 w 1562100"/>
                  <a:gd name="connsiteY61" fmla="*/ 216694 h 1126331"/>
                  <a:gd name="connsiteX62" fmla="*/ 278606 w 1562100"/>
                  <a:gd name="connsiteY62" fmla="*/ 235744 h 1126331"/>
                  <a:gd name="connsiteX63" fmla="*/ 257175 w 1562100"/>
                  <a:gd name="connsiteY63" fmla="*/ 271462 h 1126331"/>
                  <a:gd name="connsiteX64" fmla="*/ 221456 w 1562100"/>
                  <a:gd name="connsiteY64" fmla="*/ 280987 h 1126331"/>
                  <a:gd name="connsiteX65" fmla="*/ 221456 w 1562100"/>
                  <a:gd name="connsiteY65" fmla="*/ 321469 h 1126331"/>
                  <a:gd name="connsiteX66" fmla="*/ 254794 w 1562100"/>
                  <a:gd name="connsiteY66" fmla="*/ 359569 h 1126331"/>
                  <a:gd name="connsiteX67" fmla="*/ 226219 w 1562100"/>
                  <a:gd name="connsiteY67" fmla="*/ 423862 h 1126331"/>
                  <a:gd name="connsiteX68" fmla="*/ 180975 w 1562100"/>
                  <a:gd name="connsiteY68" fmla="*/ 452437 h 1126331"/>
                  <a:gd name="connsiteX69" fmla="*/ 183356 w 1562100"/>
                  <a:gd name="connsiteY69" fmla="*/ 469106 h 1126331"/>
                  <a:gd name="connsiteX70" fmla="*/ 204788 w 1562100"/>
                  <a:gd name="connsiteY70" fmla="*/ 478631 h 1126331"/>
                  <a:gd name="connsiteX71" fmla="*/ 219075 w 1562100"/>
                  <a:gd name="connsiteY71" fmla="*/ 488156 h 1126331"/>
                  <a:gd name="connsiteX72" fmla="*/ 223838 w 1562100"/>
                  <a:gd name="connsiteY72" fmla="*/ 507206 h 1126331"/>
                  <a:gd name="connsiteX73" fmla="*/ 195263 w 1562100"/>
                  <a:gd name="connsiteY73" fmla="*/ 533400 h 1126331"/>
                  <a:gd name="connsiteX74" fmla="*/ 123825 w 1562100"/>
                  <a:gd name="connsiteY74" fmla="*/ 578644 h 1126331"/>
                  <a:gd name="connsiteX75" fmla="*/ 123825 w 1562100"/>
                  <a:gd name="connsiteY75" fmla="*/ 614362 h 1126331"/>
                  <a:gd name="connsiteX76" fmla="*/ 135731 w 1562100"/>
                  <a:gd name="connsiteY76" fmla="*/ 645319 h 1126331"/>
                  <a:gd name="connsiteX77" fmla="*/ 123825 w 1562100"/>
                  <a:gd name="connsiteY77" fmla="*/ 685800 h 1126331"/>
                  <a:gd name="connsiteX78" fmla="*/ 76200 w 1562100"/>
                  <a:gd name="connsiteY78" fmla="*/ 681037 h 1126331"/>
                  <a:gd name="connsiteX79" fmla="*/ 52388 w 1562100"/>
                  <a:gd name="connsiteY79" fmla="*/ 626269 h 1126331"/>
                  <a:gd name="connsiteX80" fmla="*/ 33338 w 1562100"/>
                  <a:gd name="connsiteY80" fmla="*/ 619125 h 1126331"/>
                  <a:gd name="connsiteX81" fmla="*/ 23813 w 1562100"/>
                  <a:gd name="connsiteY81" fmla="*/ 657225 h 1126331"/>
                  <a:gd name="connsiteX82" fmla="*/ 21431 w 1562100"/>
                  <a:gd name="connsiteY82" fmla="*/ 666750 h 1126331"/>
                  <a:gd name="connsiteX83" fmla="*/ 7144 w 1562100"/>
                  <a:gd name="connsiteY83" fmla="*/ 683419 h 1126331"/>
                  <a:gd name="connsiteX84" fmla="*/ 0 w 1562100"/>
                  <a:gd name="connsiteY84" fmla="*/ 740569 h 1126331"/>
                  <a:gd name="connsiteX85" fmla="*/ 23813 w 1562100"/>
                  <a:gd name="connsiteY85" fmla="*/ 769144 h 1126331"/>
                  <a:gd name="connsiteX86" fmla="*/ 16669 w 1562100"/>
                  <a:gd name="connsiteY86" fmla="*/ 809625 h 1126331"/>
                  <a:gd name="connsiteX87" fmla="*/ 35719 w 1562100"/>
                  <a:gd name="connsiteY87" fmla="*/ 814387 h 1126331"/>
                  <a:gd name="connsiteX88" fmla="*/ 69056 w 1562100"/>
                  <a:gd name="connsiteY88" fmla="*/ 814387 h 1126331"/>
                  <a:gd name="connsiteX89" fmla="*/ 85725 w 1562100"/>
                  <a:gd name="connsiteY89" fmla="*/ 804862 h 1126331"/>
                  <a:gd name="connsiteX90" fmla="*/ 135731 w 1562100"/>
                  <a:gd name="connsiteY90" fmla="*/ 862012 h 1126331"/>
                  <a:gd name="connsiteX91" fmla="*/ 123825 w 1562100"/>
                  <a:gd name="connsiteY91" fmla="*/ 881062 h 1126331"/>
                  <a:gd name="connsiteX92" fmla="*/ 133350 w 1562100"/>
                  <a:gd name="connsiteY92" fmla="*/ 909637 h 1126331"/>
                  <a:gd name="connsiteX93" fmla="*/ 164306 w 1562100"/>
                  <a:gd name="connsiteY93" fmla="*/ 928687 h 1126331"/>
                  <a:gd name="connsiteX94" fmla="*/ 190500 w 1562100"/>
                  <a:gd name="connsiteY94" fmla="*/ 938212 h 1126331"/>
                  <a:gd name="connsiteX95" fmla="*/ 216694 w 1562100"/>
                  <a:gd name="connsiteY95" fmla="*/ 945356 h 1126331"/>
                  <a:gd name="connsiteX96" fmla="*/ 228600 w 1562100"/>
                  <a:gd name="connsiteY96" fmla="*/ 947737 h 1126331"/>
                  <a:gd name="connsiteX97" fmla="*/ 240506 w 1562100"/>
                  <a:gd name="connsiteY97" fmla="*/ 909637 h 1126331"/>
                  <a:gd name="connsiteX98" fmla="*/ 269081 w 1562100"/>
                  <a:gd name="connsiteY98" fmla="*/ 914400 h 1126331"/>
                  <a:gd name="connsiteX99" fmla="*/ 288131 w 1562100"/>
                  <a:gd name="connsiteY99" fmla="*/ 902494 h 1126331"/>
                  <a:gd name="connsiteX100" fmla="*/ 307181 w 1562100"/>
                  <a:gd name="connsiteY100" fmla="*/ 952500 h 1126331"/>
                  <a:gd name="connsiteX101" fmla="*/ 330994 w 1562100"/>
                  <a:gd name="connsiteY101" fmla="*/ 966787 h 1126331"/>
                  <a:gd name="connsiteX102" fmla="*/ 340519 w 1562100"/>
                  <a:gd name="connsiteY102" fmla="*/ 995362 h 1126331"/>
                  <a:gd name="connsiteX103" fmla="*/ 357188 w 1562100"/>
                  <a:gd name="connsiteY103" fmla="*/ 1004887 h 1126331"/>
                  <a:gd name="connsiteX104" fmla="*/ 364331 w 1562100"/>
                  <a:gd name="connsiteY104" fmla="*/ 1035844 h 1126331"/>
                  <a:gd name="connsiteX105" fmla="*/ 335756 w 1562100"/>
                  <a:gd name="connsiteY105" fmla="*/ 1062037 h 1126331"/>
                  <a:gd name="connsiteX106" fmla="*/ 309563 w 1562100"/>
                  <a:gd name="connsiteY106" fmla="*/ 1078706 h 1126331"/>
                  <a:gd name="connsiteX107" fmla="*/ 297656 w 1562100"/>
                  <a:gd name="connsiteY107" fmla="*/ 1102519 h 1126331"/>
                  <a:gd name="connsiteX108" fmla="*/ 302419 w 1562100"/>
                  <a:gd name="connsiteY108" fmla="*/ 1126331 h 1126331"/>
                  <a:gd name="connsiteX109" fmla="*/ 342900 w 1562100"/>
                  <a:gd name="connsiteY109" fmla="*/ 1126331 h 1126331"/>
                  <a:gd name="connsiteX110" fmla="*/ 390525 w 1562100"/>
                  <a:gd name="connsiteY110" fmla="*/ 1121569 h 1126331"/>
                  <a:gd name="connsiteX111" fmla="*/ 428625 w 1562100"/>
                  <a:gd name="connsiteY111" fmla="*/ 1112044 h 1126331"/>
                  <a:gd name="connsiteX112" fmla="*/ 454819 w 1562100"/>
                  <a:gd name="connsiteY112" fmla="*/ 1119187 h 1126331"/>
                  <a:gd name="connsiteX113" fmla="*/ 473869 w 1562100"/>
                  <a:gd name="connsiteY113" fmla="*/ 1097756 h 1126331"/>
                  <a:gd name="connsiteX114" fmla="*/ 492919 w 1562100"/>
                  <a:gd name="connsiteY114" fmla="*/ 1097756 h 1126331"/>
                  <a:gd name="connsiteX115" fmla="*/ 507206 w 1562100"/>
                  <a:gd name="connsiteY115" fmla="*/ 1066800 h 1126331"/>
                  <a:gd name="connsiteX116" fmla="*/ 557213 w 1562100"/>
                  <a:gd name="connsiteY116" fmla="*/ 1052512 h 1126331"/>
                  <a:gd name="connsiteX117" fmla="*/ 583406 w 1562100"/>
                  <a:gd name="connsiteY117" fmla="*/ 1033462 h 1126331"/>
                  <a:gd name="connsiteX118" fmla="*/ 590550 w 1562100"/>
                  <a:gd name="connsiteY118" fmla="*/ 995362 h 1126331"/>
                  <a:gd name="connsiteX119" fmla="*/ 607219 w 1562100"/>
                  <a:gd name="connsiteY119" fmla="*/ 969169 h 1126331"/>
                  <a:gd name="connsiteX120" fmla="*/ 688181 w 1562100"/>
                  <a:gd name="connsiteY120" fmla="*/ 1000125 h 1126331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14326 w 1562100"/>
                  <a:gd name="connsiteY54" fmla="*/ 0 h 1204913"/>
                  <a:gd name="connsiteX55" fmla="*/ 328613 w 1562100"/>
                  <a:gd name="connsiteY55" fmla="*/ 78582 h 1204913"/>
                  <a:gd name="connsiteX56" fmla="*/ 292894 w 1562100"/>
                  <a:gd name="connsiteY56" fmla="*/ 180976 h 1204913"/>
                  <a:gd name="connsiteX57" fmla="*/ 264319 w 1562100"/>
                  <a:gd name="connsiteY57" fmla="*/ 188119 h 1204913"/>
                  <a:gd name="connsiteX58" fmla="*/ 261938 w 1562100"/>
                  <a:gd name="connsiteY58" fmla="*/ 202407 h 1204913"/>
                  <a:gd name="connsiteX59" fmla="*/ 261938 w 1562100"/>
                  <a:gd name="connsiteY59" fmla="*/ 235744 h 1204913"/>
                  <a:gd name="connsiteX60" fmla="*/ 228600 w 1562100"/>
                  <a:gd name="connsiteY60" fmla="*/ 278607 h 1204913"/>
                  <a:gd name="connsiteX61" fmla="*/ 271463 w 1562100"/>
                  <a:gd name="connsiteY61" fmla="*/ 295276 h 1204913"/>
                  <a:gd name="connsiteX62" fmla="*/ 278606 w 1562100"/>
                  <a:gd name="connsiteY62" fmla="*/ 314326 h 1204913"/>
                  <a:gd name="connsiteX63" fmla="*/ 257175 w 1562100"/>
                  <a:gd name="connsiteY63" fmla="*/ 350044 h 1204913"/>
                  <a:gd name="connsiteX64" fmla="*/ 221456 w 1562100"/>
                  <a:gd name="connsiteY64" fmla="*/ 359569 h 1204913"/>
                  <a:gd name="connsiteX65" fmla="*/ 221456 w 1562100"/>
                  <a:gd name="connsiteY65" fmla="*/ 400051 h 1204913"/>
                  <a:gd name="connsiteX66" fmla="*/ 254794 w 1562100"/>
                  <a:gd name="connsiteY66" fmla="*/ 438151 h 1204913"/>
                  <a:gd name="connsiteX67" fmla="*/ 226219 w 1562100"/>
                  <a:gd name="connsiteY67" fmla="*/ 502444 h 1204913"/>
                  <a:gd name="connsiteX68" fmla="*/ 180975 w 1562100"/>
                  <a:gd name="connsiteY68" fmla="*/ 531019 h 1204913"/>
                  <a:gd name="connsiteX69" fmla="*/ 183356 w 1562100"/>
                  <a:gd name="connsiteY69" fmla="*/ 547688 h 1204913"/>
                  <a:gd name="connsiteX70" fmla="*/ 204788 w 1562100"/>
                  <a:gd name="connsiteY70" fmla="*/ 557213 h 1204913"/>
                  <a:gd name="connsiteX71" fmla="*/ 219075 w 1562100"/>
                  <a:gd name="connsiteY71" fmla="*/ 566738 h 1204913"/>
                  <a:gd name="connsiteX72" fmla="*/ 223838 w 1562100"/>
                  <a:gd name="connsiteY72" fmla="*/ 585788 h 1204913"/>
                  <a:gd name="connsiteX73" fmla="*/ 195263 w 1562100"/>
                  <a:gd name="connsiteY73" fmla="*/ 611982 h 1204913"/>
                  <a:gd name="connsiteX74" fmla="*/ 123825 w 1562100"/>
                  <a:gd name="connsiteY74" fmla="*/ 657226 h 1204913"/>
                  <a:gd name="connsiteX75" fmla="*/ 123825 w 1562100"/>
                  <a:gd name="connsiteY75" fmla="*/ 692944 h 1204913"/>
                  <a:gd name="connsiteX76" fmla="*/ 135731 w 1562100"/>
                  <a:gd name="connsiteY76" fmla="*/ 723901 h 1204913"/>
                  <a:gd name="connsiteX77" fmla="*/ 123825 w 1562100"/>
                  <a:gd name="connsiteY77" fmla="*/ 764382 h 1204913"/>
                  <a:gd name="connsiteX78" fmla="*/ 76200 w 1562100"/>
                  <a:gd name="connsiteY78" fmla="*/ 759619 h 1204913"/>
                  <a:gd name="connsiteX79" fmla="*/ 52388 w 1562100"/>
                  <a:gd name="connsiteY79" fmla="*/ 704851 h 1204913"/>
                  <a:gd name="connsiteX80" fmla="*/ 33338 w 1562100"/>
                  <a:gd name="connsiteY80" fmla="*/ 697707 h 1204913"/>
                  <a:gd name="connsiteX81" fmla="*/ 23813 w 1562100"/>
                  <a:gd name="connsiteY81" fmla="*/ 735807 h 1204913"/>
                  <a:gd name="connsiteX82" fmla="*/ 21431 w 1562100"/>
                  <a:gd name="connsiteY82" fmla="*/ 745332 h 1204913"/>
                  <a:gd name="connsiteX83" fmla="*/ 7144 w 1562100"/>
                  <a:gd name="connsiteY83" fmla="*/ 762001 h 1204913"/>
                  <a:gd name="connsiteX84" fmla="*/ 0 w 1562100"/>
                  <a:gd name="connsiteY84" fmla="*/ 819151 h 1204913"/>
                  <a:gd name="connsiteX85" fmla="*/ 23813 w 1562100"/>
                  <a:gd name="connsiteY85" fmla="*/ 847726 h 1204913"/>
                  <a:gd name="connsiteX86" fmla="*/ 16669 w 1562100"/>
                  <a:gd name="connsiteY86" fmla="*/ 888207 h 1204913"/>
                  <a:gd name="connsiteX87" fmla="*/ 35719 w 1562100"/>
                  <a:gd name="connsiteY87" fmla="*/ 892969 h 1204913"/>
                  <a:gd name="connsiteX88" fmla="*/ 69056 w 1562100"/>
                  <a:gd name="connsiteY88" fmla="*/ 892969 h 1204913"/>
                  <a:gd name="connsiteX89" fmla="*/ 85725 w 1562100"/>
                  <a:gd name="connsiteY89" fmla="*/ 883444 h 1204913"/>
                  <a:gd name="connsiteX90" fmla="*/ 135731 w 1562100"/>
                  <a:gd name="connsiteY90" fmla="*/ 940594 h 1204913"/>
                  <a:gd name="connsiteX91" fmla="*/ 123825 w 1562100"/>
                  <a:gd name="connsiteY91" fmla="*/ 959644 h 1204913"/>
                  <a:gd name="connsiteX92" fmla="*/ 133350 w 1562100"/>
                  <a:gd name="connsiteY92" fmla="*/ 988219 h 1204913"/>
                  <a:gd name="connsiteX93" fmla="*/ 164306 w 1562100"/>
                  <a:gd name="connsiteY93" fmla="*/ 1007269 h 1204913"/>
                  <a:gd name="connsiteX94" fmla="*/ 190500 w 1562100"/>
                  <a:gd name="connsiteY94" fmla="*/ 1016794 h 1204913"/>
                  <a:gd name="connsiteX95" fmla="*/ 216694 w 1562100"/>
                  <a:gd name="connsiteY95" fmla="*/ 1023938 h 1204913"/>
                  <a:gd name="connsiteX96" fmla="*/ 228600 w 1562100"/>
                  <a:gd name="connsiteY96" fmla="*/ 1026319 h 1204913"/>
                  <a:gd name="connsiteX97" fmla="*/ 240506 w 1562100"/>
                  <a:gd name="connsiteY97" fmla="*/ 988219 h 1204913"/>
                  <a:gd name="connsiteX98" fmla="*/ 269081 w 1562100"/>
                  <a:gd name="connsiteY98" fmla="*/ 992982 h 1204913"/>
                  <a:gd name="connsiteX99" fmla="*/ 288131 w 1562100"/>
                  <a:gd name="connsiteY99" fmla="*/ 981076 h 1204913"/>
                  <a:gd name="connsiteX100" fmla="*/ 307181 w 1562100"/>
                  <a:gd name="connsiteY100" fmla="*/ 1031082 h 1204913"/>
                  <a:gd name="connsiteX101" fmla="*/ 330994 w 1562100"/>
                  <a:gd name="connsiteY101" fmla="*/ 1045369 h 1204913"/>
                  <a:gd name="connsiteX102" fmla="*/ 340519 w 1562100"/>
                  <a:gd name="connsiteY102" fmla="*/ 1073944 h 1204913"/>
                  <a:gd name="connsiteX103" fmla="*/ 357188 w 1562100"/>
                  <a:gd name="connsiteY103" fmla="*/ 1083469 h 1204913"/>
                  <a:gd name="connsiteX104" fmla="*/ 364331 w 1562100"/>
                  <a:gd name="connsiteY104" fmla="*/ 1114426 h 1204913"/>
                  <a:gd name="connsiteX105" fmla="*/ 335756 w 1562100"/>
                  <a:gd name="connsiteY105" fmla="*/ 1140619 h 1204913"/>
                  <a:gd name="connsiteX106" fmla="*/ 309563 w 1562100"/>
                  <a:gd name="connsiteY106" fmla="*/ 1157288 h 1204913"/>
                  <a:gd name="connsiteX107" fmla="*/ 297656 w 1562100"/>
                  <a:gd name="connsiteY107" fmla="*/ 1181101 h 1204913"/>
                  <a:gd name="connsiteX108" fmla="*/ 302419 w 1562100"/>
                  <a:gd name="connsiteY108" fmla="*/ 1204913 h 1204913"/>
                  <a:gd name="connsiteX109" fmla="*/ 342900 w 1562100"/>
                  <a:gd name="connsiteY109" fmla="*/ 1204913 h 1204913"/>
                  <a:gd name="connsiteX110" fmla="*/ 390525 w 1562100"/>
                  <a:gd name="connsiteY110" fmla="*/ 1200151 h 1204913"/>
                  <a:gd name="connsiteX111" fmla="*/ 428625 w 1562100"/>
                  <a:gd name="connsiteY111" fmla="*/ 1190626 h 1204913"/>
                  <a:gd name="connsiteX112" fmla="*/ 454819 w 1562100"/>
                  <a:gd name="connsiteY112" fmla="*/ 1197769 h 1204913"/>
                  <a:gd name="connsiteX113" fmla="*/ 473869 w 1562100"/>
                  <a:gd name="connsiteY113" fmla="*/ 1176338 h 1204913"/>
                  <a:gd name="connsiteX114" fmla="*/ 492919 w 1562100"/>
                  <a:gd name="connsiteY114" fmla="*/ 1176338 h 1204913"/>
                  <a:gd name="connsiteX115" fmla="*/ 507206 w 1562100"/>
                  <a:gd name="connsiteY115" fmla="*/ 1145382 h 1204913"/>
                  <a:gd name="connsiteX116" fmla="*/ 557213 w 1562100"/>
                  <a:gd name="connsiteY116" fmla="*/ 1131094 h 1204913"/>
                  <a:gd name="connsiteX117" fmla="*/ 583406 w 1562100"/>
                  <a:gd name="connsiteY117" fmla="*/ 1112044 h 1204913"/>
                  <a:gd name="connsiteX118" fmla="*/ 590550 w 1562100"/>
                  <a:gd name="connsiteY118" fmla="*/ 1073944 h 1204913"/>
                  <a:gd name="connsiteX119" fmla="*/ 607219 w 1562100"/>
                  <a:gd name="connsiteY119" fmla="*/ 1047751 h 1204913"/>
                  <a:gd name="connsiteX120" fmla="*/ 688181 w 1562100"/>
                  <a:gd name="connsiteY120" fmla="*/ 1078707 h 1204913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92906 w 1562100"/>
                  <a:gd name="connsiteY54" fmla="*/ 19051 h 1204913"/>
                  <a:gd name="connsiteX55" fmla="*/ 314326 w 1562100"/>
                  <a:gd name="connsiteY55" fmla="*/ 0 h 1204913"/>
                  <a:gd name="connsiteX56" fmla="*/ 328613 w 1562100"/>
                  <a:gd name="connsiteY56" fmla="*/ 78582 h 1204913"/>
                  <a:gd name="connsiteX57" fmla="*/ 292894 w 1562100"/>
                  <a:gd name="connsiteY57" fmla="*/ 180976 h 1204913"/>
                  <a:gd name="connsiteX58" fmla="*/ 264319 w 1562100"/>
                  <a:gd name="connsiteY58" fmla="*/ 188119 h 1204913"/>
                  <a:gd name="connsiteX59" fmla="*/ 261938 w 1562100"/>
                  <a:gd name="connsiteY59" fmla="*/ 202407 h 1204913"/>
                  <a:gd name="connsiteX60" fmla="*/ 261938 w 1562100"/>
                  <a:gd name="connsiteY60" fmla="*/ 235744 h 1204913"/>
                  <a:gd name="connsiteX61" fmla="*/ 228600 w 1562100"/>
                  <a:gd name="connsiteY61" fmla="*/ 278607 h 1204913"/>
                  <a:gd name="connsiteX62" fmla="*/ 271463 w 1562100"/>
                  <a:gd name="connsiteY62" fmla="*/ 295276 h 1204913"/>
                  <a:gd name="connsiteX63" fmla="*/ 278606 w 1562100"/>
                  <a:gd name="connsiteY63" fmla="*/ 314326 h 1204913"/>
                  <a:gd name="connsiteX64" fmla="*/ 257175 w 1562100"/>
                  <a:gd name="connsiteY64" fmla="*/ 350044 h 1204913"/>
                  <a:gd name="connsiteX65" fmla="*/ 221456 w 1562100"/>
                  <a:gd name="connsiteY65" fmla="*/ 359569 h 1204913"/>
                  <a:gd name="connsiteX66" fmla="*/ 221456 w 1562100"/>
                  <a:gd name="connsiteY66" fmla="*/ 400051 h 1204913"/>
                  <a:gd name="connsiteX67" fmla="*/ 254794 w 1562100"/>
                  <a:gd name="connsiteY67" fmla="*/ 438151 h 1204913"/>
                  <a:gd name="connsiteX68" fmla="*/ 226219 w 1562100"/>
                  <a:gd name="connsiteY68" fmla="*/ 502444 h 1204913"/>
                  <a:gd name="connsiteX69" fmla="*/ 180975 w 1562100"/>
                  <a:gd name="connsiteY69" fmla="*/ 531019 h 1204913"/>
                  <a:gd name="connsiteX70" fmla="*/ 183356 w 1562100"/>
                  <a:gd name="connsiteY70" fmla="*/ 547688 h 1204913"/>
                  <a:gd name="connsiteX71" fmla="*/ 204788 w 1562100"/>
                  <a:gd name="connsiteY71" fmla="*/ 557213 h 1204913"/>
                  <a:gd name="connsiteX72" fmla="*/ 219075 w 1562100"/>
                  <a:gd name="connsiteY72" fmla="*/ 566738 h 1204913"/>
                  <a:gd name="connsiteX73" fmla="*/ 223838 w 1562100"/>
                  <a:gd name="connsiteY73" fmla="*/ 585788 h 1204913"/>
                  <a:gd name="connsiteX74" fmla="*/ 195263 w 1562100"/>
                  <a:gd name="connsiteY74" fmla="*/ 611982 h 1204913"/>
                  <a:gd name="connsiteX75" fmla="*/ 123825 w 1562100"/>
                  <a:gd name="connsiteY75" fmla="*/ 657226 h 1204913"/>
                  <a:gd name="connsiteX76" fmla="*/ 123825 w 1562100"/>
                  <a:gd name="connsiteY76" fmla="*/ 692944 h 1204913"/>
                  <a:gd name="connsiteX77" fmla="*/ 135731 w 1562100"/>
                  <a:gd name="connsiteY77" fmla="*/ 723901 h 1204913"/>
                  <a:gd name="connsiteX78" fmla="*/ 123825 w 1562100"/>
                  <a:gd name="connsiteY78" fmla="*/ 764382 h 1204913"/>
                  <a:gd name="connsiteX79" fmla="*/ 76200 w 1562100"/>
                  <a:gd name="connsiteY79" fmla="*/ 759619 h 1204913"/>
                  <a:gd name="connsiteX80" fmla="*/ 52388 w 1562100"/>
                  <a:gd name="connsiteY80" fmla="*/ 704851 h 1204913"/>
                  <a:gd name="connsiteX81" fmla="*/ 33338 w 1562100"/>
                  <a:gd name="connsiteY81" fmla="*/ 697707 h 1204913"/>
                  <a:gd name="connsiteX82" fmla="*/ 23813 w 1562100"/>
                  <a:gd name="connsiteY82" fmla="*/ 735807 h 1204913"/>
                  <a:gd name="connsiteX83" fmla="*/ 21431 w 1562100"/>
                  <a:gd name="connsiteY83" fmla="*/ 745332 h 1204913"/>
                  <a:gd name="connsiteX84" fmla="*/ 7144 w 1562100"/>
                  <a:gd name="connsiteY84" fmla="*/ 762001 h 1204913"/>
                  <a:gd name="connsiteX85" fmla="*/ 0 w 1562100"/>
                  <a:gd name="connsiteY85" fmla="*/ 819151 h 1204913"/>
                  <a:gd name="connsiteX86" fmla="*/ 23813 w 1562100"/>
                  <a:gd name="connsiteY86" fmla="*/ 847726 h 1204913"/>
                  <a:gd name="connsiteX87" fmla="*/ 16669 w 1562100"/>
                  <a:gd name="connsiteY87" fmla="*/ 888207 h 1204913"/>
                  <a:gd name="connsiteX88" fmla="*/ 35719 w 1562100"/>
                  <a:gd name="connsiteY88" fmla="*/ 892969 h 1204913"/>
                  <a:gd name="connsiteX89" fmla="*/ 69056 w 1562100"/>
                  <a:gd name="connsiteY89" fmla="*/ 892969 h 1204913"/>
                  <a:gd name="connsiteX90" fmla="*/ 85725 w 1562100"/>
                  <a:gd name="connsiteY90" fmla="*/ 883444 h 1204913"/>
                  <a:gd name="connsiteX91" fmla="*/ 135731 w 1562100"/>
                  <a:gd name="connsiteY91" fmla="*/ 940594 h 1204913"/>
                  <a:gd name="connsiteX92" fmla="*/ 123825 w 1562100"/>
                  <a:gd name="connsiteY92" fmla="*/ 959644 h 1204913"/>
                  <a:gd name="connsiteX93" fmla="*/ 133350 w 1562100"/>
                  <a:gd name="connsiteY93" fmla="*/ 988219 h 1204913"/>
                  <a:gd name="connsiteX94" fmla="*/ 164306 w 1562100"/>
                  <a:gd name="connsiteY94" fmla="*/ 1007269 h 1204913"/>
                  <a:gd name="connsiteX95" fmla="*/ 190500 w 1562100"/>
                  <a:gd name="connsiteY95" fmla="*/ 1016794 h 1204913"/>
                  <a:gd name="connsiteX96" fmla="*/ 216694 w 1562100"/>
                  <a:gd name="connsiteY96" fmla="*/ 1023938 h 1204913"/>
                  <a:gd name="connsiteX97" fmla="*/ 228600 w 1562100"/>
                  <a:gd name="connsiteY97" fmla="*/ 1026319 h 1204913"/>
                  <a:gd name="connsiteX98" fmla="*/ 240506 w 1562100"/>
                  <a:gd name="connsiteY98" fmla="*/ 988219 h 1204913"/>
                  <a:gd name="connsiteX99" fmla="*/ 269081 w 1562100"/>
                  <a:gd name="connsiteY99" fmla="*/ 992982 h 1204913"/>
                  <a:gd name="connsiteX100" fmla="*/ 288131 w 1562100"/>
                  <a:gd name="connsiteY100" fmla="*/ 981076 h 1204913"/>
                  <a:gd name="connsiteX101" fmla="*/ 307181 w 1562100"/>
                  <a:gd name="connsiteY101" fmla="*/ 1031082 h 1204913"/>
                  <a:gd name="connsiteX102" fmla="*/ 330994 w 1562100"/>
                  <a:gd name="connsiteY102" fmla="*/ 1045369 h 1204913"/>
                  <a:gd name="connsiteX103" fmla="*/ 340519 w 1562100"/>
                  <a:gd name="connsiteY103" fmla="*/ 1073944 h 1204913"/>
                  <a:gd name="connsiteX104" fmla="*/ 357188 w 1562100"/>
                  <a:gd name="connsiteY104" fmla="*/ 1083469 h 1204913"/>
                  <a:gd name="connsiteX105" fmla="*/ 364331 w 1562100"/>
                  <a:gd name="connsiteY105" fmla="*/ 1114426 h 1204913"/>
                  <a:gd name="connsiteX106" fmla="*/ 335756 w 1562100"/>
                  <a:gd name="connsiteY106" fmla="*/ 1140619 h 1204913"/>
                  <a:gd name="connsiteX107" fmla="*/ 309563 w 1562100"/>
                  <a:gd name="connsiteY107" fmla="*/ 1157288 h 1204913"/>
                  <a:gd name="connsiteX108" fmla="*/ 297656 w 1562100"/>
                  <a:gd name="connsiteY108" fmla="*/ 1181101 h 1204913"/>
                  <a:gd name="connsiteX109" fmla="*/ 302419 w 1562100"/>
                  <a:gd name="connsiteY109" fmla="*/ 1204913 h 1204913"/>
                  <a:gd name="connsiteX110" fmla="*/ 342900 w 1562100"/>
                  <a:gd name="connsiteY110" fmla="*/ 1204913 h 1204913"/>
                  <a:gd name="connsiteX111" fmla="*/ 390525 w 1562100"/>
                  <a:gd name="connsiteY111" fmla="*/ 1200151 h 1204913"/>
                  <a:gd name="connsiteX112" fmla="*/ 428625 w 1562100"/>
                  <a:gd name="connsiteY112" fmla="*/ 1190626 h 1204913"/>
                  <a:gd name="connsiteX113" fmla="*/ 454819 w 1562100"/>
                  <a:gd name="connsiteY113" fmla="*/ 1197769 h 1204913"/>
                  <a:gd name="connsiteX114" fmla="*/ 473869 w 1562100"/>
                  <a:gd name="connsiteY114" fmla="*/ 1176338 h 1204913"/>
                  <a:gd name="connsiteX115" fmla="*/ 492919 w 1562100"/>
                  <a:gd name="connsiteY115" fmla="*/ 1176338 h 1204913"/>
                  <a:gd name="connsiteX116" fmla="*/ 507206 w 1562100"/>
                  <a:gd name="connsiteY116" fmla="*/ 1145382 h 1204913"/>
                  <a:gd name="connsiteX117" fmla="*/ 557213 w 1562100"/>
                  <a:gd name="connsiteY117" fmla="*/ 1131094 h 1204913"/>
                  <a:gd name="connsiteX118" fmla="*/ 583406 w 1562100"/>
                  <a:gd name="connsiteY118" fmla="*/ 1112044 h 1204913"/>
                  <a:gd name="connsiteX119" fmla="*/ 590550 w 1562100"/>
                  <a:gd name="connsiteY119" fmla="*/ 1073944 h 1204913"/>
                  <a:gd name="connsiteX120" fmla="*/ 607219 w 1562100"/>
                  <a:gd name="connsiteY120" fmla="*/ 1047751 h 1204913"/>
                  <a:gd name="connsiteX121" fmla="*/ 688181 w 1562100"/>
                  <a:gd name="connsiteY121" fmla="*/ 1078707 h 1204913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92906 w 1562100"/>
                  <a:gd name="connsiteY54" fmla="*/ 19051 h 1204913"/>
                  <a:gd name="connsiteX55" fmla="*/ 314326 w 1562100"/>
                  <a:gd name="connsiteY55" fmla="*/ 0 h 1204913"/>
                  <a:gd name="connsiteX56" fmla="*/ 328613 w 1562100"/>
                  <a:gd name="connsiteY56" fmla="*/ 78582 h 1204913"/>
                  <a:gd name="connsiteX57" fmla="*/ 292894 w 1562100"/>
                  <a:gd name="connsiteY57" fmla="*/ 180976 h 1204913"/>
                  <a:gd name="connsiteX58" fmla="*/ 264319 w 1562100"/>
                  <a:gd name="connsiteY58" fmla="*/ 188119 h 1204913"/>
                  <a:gd name="connsiteX59" fmla="*/ 261938 w 1562100"/>
                  <a:gd name="connsiteY59" fmla="*/ 202407 h 1204913"/>
                  <a:gd name="connsiteX60" fmla="*/ 261938 w 1562100"/>
                  <a:gd name="connsiteY60" fmla="*/ 235744 h 1204913"/>
                  <a:gd name="connsiteX61" fmla="*/ 228600 w 1562100"/>
                  <a:gd name="connsiteY61" fmla="*/ 278607 h 1204913"/>
                  <a:gd name="connsiteX62" fmla="*/ 271463 w 1562100"/>
                  <a:gd name="connsiteY62" fmla="*/ 295276 h 1204913"/>
                  <a:gd name="connsiteX63" fmla="*/ 278606 w 1562100"/>
                  <a:gd name="connsiteY63" fmla="*/ 314326 h 1204913"/>
                  <a:gd name="connsiteX64" fmla="*/ 257175 w 1562100"/>
                  <a:gd name="connsiteY64" fmla="*/ 350044 h 1204913"/>
                  <a:gd name="connsiteX65" fmla="*/ 221456 w 1562100"/>
                  <a:gd name="connsiteY65" fmla="*/ 359569 h 1204913"/>
                  <a:gd name="connsiteX66" fmla="*/ 221456 w 1562100"/>
                  <a:gd name="connsiteY66" fmla="*/ 400051 h 1204913"/>
                  <a:gd name="connsiteX67" fmla="*/ 254794 w 1562100"/>
                  <a:gd name="connsiteY67" fmla="*/ 438151 h 1204913"/>
                  <a:gd name="connsiteX68" fmla="*/ 226219 w 1562100"/>
                  <a:gd name="connsiteY68" fmla="*/ 502444 h 1204913"/>
                  <a:gd name="connsiteX69" fmla="*/ 180975 w 1562100"/>
                  <a:gd name="connsiteY69" fmla="*/ 531019 h 1204913"/>
                  <a:gd name="connsiteX70" fmla="*/ 183356 w 1562100"/>
                  <a:gd name="connsiteY70" fmla="*/ 547688 h 1204913"/>
                  <a:gd name="connsiteX71" fmla="*/ 204788 w 1562100"/>
                  <a:gd name="connsiteY71" fmla="*/ 557213 h 1204913"/>
                  <a:gd name="connsiteX72" fmla="*/ 219075 w 1562100"/>
                  <a:gd name="connsiteY72" fmla="*/ 566738 h 1204913"/>
                  <a:gd name="connsiteX73" fmla="*/ 223838 w 1562100"/>
                  <a:gd name="connsiteY73" fmla="*/ 585788 h 1204913"/>
                  <a:gd name="connsiteX74" fmla="*/ 195263 w 1562100"/>
                  <a:gd name="connsiteY74" fmla="*/ 611982 h 1204913"/>
                  <a:gd name="connsiteX75" fmla="*/ 123825 w 1562100"/>
                  <a:gd name="connsiteY75" fmla="*/ 657226 h 1204913"/>
                  <a:gd name="connsiteX76" fmla="*/ 123825 w 1562100"/>
                  <a:gd name="connsiteY76" fmla="*/ 692944 h 1204913"/>
                  <a:gd name="connsiteX77" fmla="*/ 135731 w 1562100"/>
                  <a:gd name="connsiteY77" fmla="*/ 723901 h 1204913"/>
                  <a:gd name="connsiteX78" fmla="*/ 123825 w 1562100"/>
                  <a:gd name="connsiteY78" fmla="*/ 764382 h 1204913"/>
                  <a:gd name="connsiteX79" fmla="*/ 76200 w 1562100"/>
                  <a:gd name="connsiteY79" fmla="*/ 759619 h 1204913"/>
                  <a:gd name="connsiteX80" fmla="*/ 52388 w 1562100"/>
                  <a:gd name="connsiteY80" fmla="*/ 704851 h 1204913"/>
                  <a:gd name="connsiteX81" fmla="*/ 33338 w 1562100"/>
                  <a:gd name="connsiteY81" fmla="*/ 697707 h 1204913"/>
                  <a:gd name="connsiteX82" fmla="*/ 23813 w 1562100"/>
                  <a:gd name="connsiteY82" fmla="*/ 735807 h 1204913"/>
                  <a:gd name="connsiteX83" fmla="*/ 21431 w 1562100"/>
                  <a:gd name="connsiteY83" fmla="*/ 745332 h 1204913"/>
                  <a:gd name="connsiteX84" fmla="*/ 7144 w 1562100"/>
                  <a:gd name="connsiteY84" fmla="*/ 762001 h 1204913"/>
                  <a:gd name="connsiteX85" fmla="*/ 0 w 1562100"/>
                  <a:gd name="connsiteY85" fmla="*/ 819151 h 1204913"/>
                  <a:gd name="connsiteX86" fmla="*/ 23813 w 1562100"/>
                  <a:gd name="connsiteY86" fmla="*/ 847726 h 1204913"/>
                  <a:gd name="connsiteX87" fmla="*/ 16669 w 1562100"/>
                  <a:gd name="connsiteY87" fmla="*/ 888207 h 1204913"/>
                  <a:gd name="connsiteX88" fmla="*/ 35719 w 1562100"/>
                  <a:gd name="connsiteY88" fmla="*/ 892969 h 1204913"/>
                  <a:gd name="connsiteX89" fmla="*/ 69056 w 1562100"/>
                  <a:gd name="connsiteY89" fmla="*/ 892969 h 1204913"/>
                  <a:gd name="connsiteX90" fmla="*/ 85725 w 1562100"/>
                  <a:gd name="connsiteY90" fmla="*/ 883444 h 1204913"/>
                  <a:gd name="connsiteX91" fmla="*/ 135731 w 1562100"/>
                  <a:gd name="connsiteY91" fmla="*/ 940594 h 1204913"/>
                  <a:gd name="connsiteX92" fmla="*/ 123825 w 1562100"/>
                  <a:gd name="connsiteY92" fmla="*/ 959644 h 1204913"/>
                  <a:gd name="connsiteX93" fmla="*/ 133350 w 1562100"/>
                  <a:gd name="connsiteY93" fmla="*/ 988219 h 1204913"/>
                  <a:gd name="connsiteX94" fmla="*/ 164306 w 1562100"/>
                  <a:gd name="connsiteY94" fmla="*/ 1007269 h 1204913"/>
                  <a:gd name="connsiteX95" fmla="*/ 190500 w 1562100"/>
                  <a:gd name="connsiteY95" fmla="*/ 1016794 h 1204913"/>
                  <a:gd name="connsiteX96" fmla="*/ 216694 w 1562100"/>
                  <a:gd name="connsiteY96" fmla="*/ 1023938 h 1204913"/>
                  <a:gd name="connsiteX97" fmla="*/ 228600 w 1562100"/>
                  <a:gd name="connsiteY97" fmla="*/ 1026319 h 1204913"/>
                  <a:gd name="connsiteX98" fmla="*/ 240506 w 1562100"/>
                  <a:gd name="connsiteY98" fmla="*/ 988219 h 1204913"/>
                  <a:gd name="connsiteX99" fmla="*/ 269081 w 1562100"/>
                  <a:gd name="connsiteY99" fmla="*/ 992982 h 1204913"/>
                  <a:gd name="connsiteX100" fmla="*/ 288131 w 1562100"/>
                  <a:gd name="connsiteY100" fmla="*/ 981076 h 1204913"/>
                  <a:gd name="connsiteX101" fmla="*/ 307181 w 1562100"/>
                  <a:gd name="connsiteY101" fmla="*/ 1031082 h 1204913"/>
                  <a:gd name="connsiteX102" fmla="*/ 330994 w 1562100"/>
                  <a:gd name="connsiteY102" fmla="*/ 1045369 h 1204913"/>
                  <a:gd name="connsiteX103" fmla="*/ 340519 w 1562100"/>
                  <a:gd name="connsiteY103" fmla="*/ 1073944 h 1204913"/>
                  <a:gd name="connsiteX104" fmla="*/ 357188 w 1562100"/>
                  <a:gd name="connsiteY104" fmla="*/ 1083469 h 1204913"/>
                  <a:gd name="connsiteX105" fmla="*/ 364331 w 1562100"/>
                  <a:gd name="connsiteY105" fmla="*/ 1114426 h 1204913"/>
                  <a:gd name="connsiteX106" fmla="*/ 335756 w 1562100"/>
                  <a:gd name="connsiteY106" fmla="*/ 1140619 h 1204913"/>
                  <a:gd name="connsiteX107" fmla="*/ 309563 w 1562100"/>
                  <a:gd name="connsiteY107" fmla="*/ 1157288 h 1204913"/>
                  <a:gd name="connsiteX108" fmla="*/ 297656 w 1562100"/>
                  <a:gd name="connsiteY108" fmla="*/ 1181101 h 1204913"/>
                  <a:gd name="connsiteX109" fmla="*/ 302419 w 1562100"/>
                  <a:gd name="connsiteY109" fmla="*/ 1204913 h 1204913"/>
                  <a:gd name="connsiteX110" fmla="*/ 342900 w 1562100"/>
                  <a:gd name="connsiteY110" fmla="*/ 1204913 h 1204913"/>
                  <a:gd name="connsiteX111" fmla="*/ 390525 w 1562100"/>
                  <a:gd name="connsiteY111" fmla="*/ 1200151 h 1204913"/>
                  <a:gd name="connsiteX112" fmla="*/ 428625 w 1562100"/>
                  <a:gd name="connsiteY112" fmla="*/ 1190626 h 1204913"/>
                  <a:gd name="connsiteX113" fmla="*/ 454819 w 1562100"/>
                  <a:gd name="connsiteY113" fmla="*/ 1197769 h 1204913"/>
                  <a:gd name="connsiteX114" fmla="*/ 473869 w 1562100"/>
                  <a:gd name="connsiteY114" fmla="*/ 1176338 h 1204913"/>
                  <a:gd name="connsiteX115" fmla="*/ 492919 w 1562100"/>
                  <a:gd name="connsiteY115" fmla="*/ 1176338 h 1204913"/>
                  <a:gd name="connsiteX116" fmla="*/ 507206 w 1562100"/>
                  <a:gd name="connsiteY116" fmla="*/ 1145382 h 1204913"/>
                  <a:gd name="connsiteX117" fmla="*/ 557213 w 1562100"/>
                  <a:gd name="connsiteY117" fmla="*/ 1131094 h 1204913"/>
                  <a:gd name="connsiteX118" fmla="*/ 583406 w 1562100"/>
                  <a:gd name="connsiteY118" fmla="*/ 1112044 h 1204913"/>
                  <a:gd name="connsiteX119" fmla="*/ 590550 w 1562100"/>
                  <a:gd name="connsiteY119" fmla="*/ 1073944 h 1204913"/>
                  <a:gd name="connsiteX120" fmla="*/ 607219 w 1562100"/>
                  <a:gd name="connsiteY120" fmla="*/ 1047751 h 1204913"/>
                  <a:gd name="connsiteX121" fmla="*/ 688181 w 1562100"/>
                  <a:gd name="connsiteY121" fmla="*/ 1078707 h 1204913"/>
                  <a:gd name="connsiteX0" fmla="*/ 688181 w 1562100"/>
                  <a:gd name="connsiteY0" fmla="*/ 1089758 h 1215964"/>
                  <a:gd name="connsiteX1" fmla="*/ 688181 w 1562100"/>
                  <a:gd name="connsiteY1" fmla="*/ 1004033 h 1215964"/>
                  <a:gd name="connsiteX2" fmla="*/ 692944 w 1562100"/>
                  <a:gd name="connsiteY2" fmla="*/ 961170 h 1215964"/>
                  <a:gd name="connsiteX3" fmla="*/ 692944 w 1562100"/>
                  <a:gd name="connsiteY3" fmla="*/ 915927 h 1215964"/>
                  <a:gd name="connsiteX4" fmla="*/ 676275 w 1562100"/>
                  <a:gd name="connsiteY4" fmla="*/ 892114 h 1215964"/>
                  <a:gd name="connsiteX5" fmla="*/ 690563 w 1562100"/>
                  <a:gd name="connsiteY5" fmla="*/ 839727 h 1215964"/>
                  <a:gd name="connsiteX6" fmla="*/ 685800 w 1562100"/>
                  <a:gd name="connsiteY6" fmla="*/ 813533 h 1215964"/>
                  <a:gd name="connsiteX7" fmla="*/ 697706 w 1562100"/>
                  <a:gd name="connsiteY7" fmla="*/ 768289 h 1215964"/>
                  <a:gd name="connsiteX8" fmla="*/ 714375 w 1562100"/>
                  <a:gd name="connsiteY8" fmla="*/ 744477 h 1215964"/>
                  <a:gd name="connsiteX9" fmla="*/ 721519 w 1562100"/>
                  <a:gd name="connsiteY9" fmla="*/ 711139 h 1215964"/>
                  <a:gd name="connsiteX10" fmla="*/ 735806 w 1562100"/>
                  <a:gd name="connsiteY10" fmla="*/ 692089 h 1215964"/>
                  <a:gd name="connsiteX11" fmla="*/ 792956 w 1562100"/>
                  <a:gd name="connsiteY11" fmla="*/ 682564 h 1215964"/>
                  <a:gd name="connsiteX12" fmla="*/ 838200 w 1562100"/>
                  <a:gd name="connsiteY12" fmla="*/ 665895 h 1215964"/>
                  <a:gd name="connsiteX13" fmla="*/ 876300 w 1562100"/>
                  <a:gd name="connsiteY13" fmla="*/ 625414 h 1215964"/>
                  <a:gd name="connsiteX14" fmla="*/ 923925 w 1562100"/>
                  <a:gd name="connsiteY14" fmla="*/ 611127 h 1215964"/>
                  <a:gd name="connsiteX15" fmla="*/ 995363 w 1562100"/>
                  <a:gd name="connsiteY15" fmla="*/ 606364 h 1215964"/>
                  <a:gd name="connsiteX16" fmla="*/ 1040606 w 1562100"/>
                  <a:gd name="connsiteY16" fmla="*/ 596839 h 1215964"/>
                  <a:gd name="connsiteX17" fmla="*/ 1119188 w 1562100"/>
                  <a:gd name="connsiteY17" fmla="*/ 489683 h 1215964"/>
                  <a:gd name="connsiteX18" fmla="*/ 1126331 w 1562100"/>
                  <a:gd name="connsiteY18" fmla="*/ 456345 h 1215964"/>
                  <a:gd name="connsiteX19" fmla="*/ 1152525 w 1562100"/>
                  <a:gd name="connsiteY19" fmla="*/ 427770 h 1215964"/>
                  <a:gd name="connsiteX20" fmla="*/ 1197769 w 1562100"/>
                  <a:gd name="connsiteY20" fmla="*/ 418245 h 1215964"/>
                  <a:gd name="connsiteX21" fmla="*/ 1290638 w 1562100"/>
                  <a:gd name="connsiteY21" fmla="*/ 342045 h 1215964"/>
                  <a:gd name="connsiteX22" fmla="*/ 1314450 w 1562100"/>
                  <a:gd name="connsiteY22" fmla="*/ 339664 h 1215964"/>
                  <a:gd name="connsiteX23" fmla="*/ 1409700 w 1562100"/>
                  <a:gd name="connsiteY23" fmla="*/ 258702 h 1215964"/>
                  <a:gd name="connsiteX24" fmla="*/ 1414463 w 1562100"/>
                  <a:gd name="connsiteY24" fmla="*/ 239652 h 1215964"/>
                  <a:gd name="connsiteX25" fmla="*/ 1507331 w 1562100"/>
                  <a:gd name="connsiteY25" fmla="*/ 184883 h 1215964"/>
                  <a:gd name="connsiteX26" fmla="*/ 1543050 w 1562100"/>
                  <a:gd name="connsiteY26" fmla="*/ 139639 h 1215964"/>
                  <a:gd name="connsiteX27" fmla="*/ 1562100 w 1562100"/>
                  <a:gd name="connsiteY27" fmla="*/ 101539 h 1215964"/>
                  <a:gd name="connsiteX28" fmla="*/ 1512094 w 1562100"/>
                  <a:gd name="connsiteY28" fmla="*/ 120589 h 1215964"/>
                  <a:gd name="connsiteX29" fmla="*/ 1478756 w 1562100"/>
                  <a:gd name="connsiteY29" fmla="*/ 120589 h 1215964"/>
                  <a:gd name="connsiteX30" fmla="*/ 1452563 w 1562100"/>
                  <a:gd name="connsiteY30" fmla="*/ 158689 h 1215964"/>
                  <a:gd name="connsiteX31" fmla="*/ 1421606 w 1562100"/>
                  <a:gd name="connsiteY31" fmla="*/ 156308 h 1215964"/>
                  <a:gd name="connsiteX32" fmla="*/ 1366838 w 1562100"/>
                  <a:gd name="connsiteY32" fmla="*/ 125352 h 1215964"/>
                  <a:gd name="connsiteX33" fmla="*/ 1323975 w 1562100"/>
                  <a:gd name="connsiteY33" fmla="*/ 113445 h 1215964"/>
                  <a:gd name="connsiteX34" fmla="*/ 1238250 w 1562100"/>
                  <a:gd name="connsiteY34" fmla="*/ 149164 h 1215964"/>
                  <a:gd name="connsiteX35" fmla="*/ 1223963 w 1562100"/>
                  <a:gd name="connsiteY35" fmla="*/ 187264 h 1215964"/>
                  <a:gd name="connsiteX36" fmla="*/ 1195388 w 1562100"/>
                  <a:gd name="connsiteY36" fmla="*/ 244414 h 1215964"/>
                  <a:gd name="connsiteX37" fmla="*/ 1109663 w 1562100"/>
                  <a:gd name="connsiteY37" fmla="*/ 206314 h 1215964"/>
                  <a:gd name="connsiteX38" fmla="*/ 1097756 w 1562100"/>
                  <a:gd name="connsiteY38" fmla="*/ 249177 h 1215964"/>
                  <a:gd name="connsiteX39" fmla="*/ 1083469 w 1562100"/>
                  <a:gd name="connsiteY39" fmla="*/ 282514 h 1215964"/>
                  <a:gd name="connsiteX40" fmla="*/ 959644 w 1562100"/>
                  <a:gd name="connsiteY40" fmla="*/ 313470 h 1215964"/>
                  <a:gd name="connsiteX41" fmla="*/ 945356 w 1562100"/>
                  <a:gd name="connsiteY41" fmla="*/ 308708 h 1215964"/>
                  <a:gd name="connsiteX42" fmla="*/ 926306 w 1562100"/>
                  <a:gd name="connsiteY42" fmla="*/ 330139 h 1215964"/>
                  <a:gd name="connsiteX43" fmla="*/ 890588 w 1562100"/>
                  <a:gd name="connsiteY43" fmla="*/ 337283 h 1215964"/>
                  <a:gd name="connsiteX44" fmla="*/ 854869 w 1562100"/>
                  <a:gd name="connsiteY44" fmla="*/ 287277 h 1215964"/>
                  <a:gd name="connsiteX45" fmla="*/ 835819 w 1562100"/>
                  <a:gd name="connsiteY45" fmla="*/ 275370 h 1215964"/>
                  <a:gd name="connsiteX46" fmla="*/ 826294 w 1562100"/>
                  <a:gd name="connsiteY46" fmla="*/ 230127 h 1215964"/>
                  <a:gd name="connsiteX47" fmla="*/ 792956 w 1562100"/>
                  <a:gd name="connsiteY47" fmla="*/ 213458 h 1215964"/>
                  <a:gd name="connsiteX48" fmla="*/ 759619 w 1562100"/>
                  <a:gd name="connsiteY48" fmla="*/ 206314 h 1215964"/>
                  <a:gd name="connsiteX49" fmla="*/ 740569 w 1562100"/>
                  <a:gd name="connsiteY49" fmla="*/ 201552 h 1215964"/>
                  <a:gd name="connsiteX50" fmla="*/ 728663 w 1562100"/>
                  <a:gd name="connsiteY50" fmla="*/ 192027 h 1215964"/>
                  <a:gd name="connsiteX51" fmla="*/ 735806 w 1562100"/>
                  <a:gd name="connsiteY51" fmla="*/ 165833 h 1215964"/>
                  <a:gd name="connsiteX52" fmla="*/ 742950 w 1562100"/>
                  <a:gd name="connsiteY52" fmla="*/ 142020 h 1215964"/>
                  <a:gd name="connsiteX53" fmla="*/ 700088 w 1562100"/>
                  <a:gd name="connsiteY53" fmla="*/ 92014 h 1215964"/>
                  <a:gd name="connsiteX54" fmla="*/ 376238 w 1562100"/>
                  <a:gd name="connsiteY54" fmla="*/ 11052 h 1215964"/>
                  <a:gd name="connsiteX55" fmla="*/ 314326 w 1562100"/>
                  <a:gd name="connsiteY55" fmla="*/ 11051 h 1215964"/>
                  <a:gd name="connsiteX56" fmla="*/ 328613 w 1562100"/>
                  <a:gd name="connsiteY56" fmla="*/ 89633 h 1215964"/>
                  <a:gd name="connsiteX57" fmla="*/ 292894 w 1562100"/>
                  <a:gd name="connsiteY57" fmla="*/ 192027 h 1215964"/>
                  <a:gd name="connsiteX58" fmla="*/ 264319 w 1562100"/>
                  <a:gd name="connsiteY58" fmla="*/ 199170 h 1215964"/>
                  <a:gd name="connsiteX59" fmla="*/ 261938 w 1562100"/>
                  <a:gd name="connsiteY59" fmla="*/ 213458 h 1215964"/>
                  <a:gd name="connsiteX60" fmla="*/ 261938 w 1562100"/>
                  <a:gd name="connsiteY60" fmla="*/ 246795 h 1215964"/>
                  <a:gd name="connsiteX61" fmla="*/ 228600 w 1562100"/>
                  <a:gd name="connsiteY61" fmla="*/ 289658 h 1215964"/>
                  <a:gd name="connsiteX62" fmla="*/ 271463 w 1562100"/>
                  <a:gd name="connsiteY62" fmla="*/ 306327 h 1215964"/>
                  <a:gd name="connsiteX63" fmla="*/ 278606 w 1562100"/>
                  <a:gd name="connsiteY63" fmla="*/ 325377 h 1215964"/>
                  <a:gd name="connsiteX64" fmla="*/ 257175 w 1562100"/>
                  <a:gd name="connsiteY64" fmla="*/ 361095 h 1215964"/>
                  <a:gd name="connsiteX65" fmla="*/ 221456 w 1562100"/>
                  <a:gd name="connsiteY65" fmla="*/ 370620 h 1215964"/>
                  <a:gd name="connsiteX66" fmla="*/ 221456 w 1562100"/>
                  <a:gd name="connsiteY66" fmla="*/ 411102 h 1215964"/>
                  <a:gd name="connsiteX67" fmla="*/ 254794 w 1562100"/>
                  <a:gd name="connsiteY67" fmla="*/ 449202 h 1215964"/>
                  <a:gd name="connsiteX68" fmla="*/ 226219 w 1562100"/>
                  <a:gd name="connsiteY68" fmla="*/ 513495 h 1215964"/>
                  <a:gd name="connsiteX69" fmla="*/ 180975 w 1562100"/>
                  <a:gd name="connsiteY69" fmla="*/ 542070 h 1215964"/>
                  <a:gd name="connsiteX70" fmla="*/ 183356 w 1562100"/>
                  <a:gd name="connsiteY70" fmla="*/ 558739 h 1215964"/>
                  <a:gd name="connsiteX71" fmla="*/ 204788 w 1562100"/>
                  <a:gd name="connsiteY71" fmla="*/ 568264 h 1215964"/>
                  <a:gd name="connsiteX72" fmla="*/ 219075 w 1562100"/>
                  <a:gd name="connsiteY72" fmla="*/ 577789 h 1215964"/>
                  <a:gd name="connsiteX73" fmla="*/ 223838 w 1562100"/>
                  <a:gd name="connsiteY73" fmla="*/ 596839 h 1215964"/>
                  <a:gd name="connsiteX74" fmla="*/ 195263 w 1562100"/>
                  <a:gd name="connsiteY74" fmla="*/ 623033 h 1215964"/>
                  <a:gd name="connsiteX75" fmla="*/ 123825 w 1562100"/>
                  <a:gd name="connsiteY75" fmla="*/ 668277 h 1215964"/>
                  <a:gd name="connsiteX76" fmla="*/ 123825 w 1562100"/>
                  <a:gd name="connsiteY76" fmla="*/ 703995 h 1215964"/>
                  <a:gd name="connsiteX77" fmla="*/ 135731 w 1562100"/>
                  <a:gd name="connsiteY77" fmla="*/ 734952 h 1215964"/>
                  <a:gd name="connsiteX78" fmla="*/ 123825 w 1562100"/>
                  <a:gd name="connsiteY78" fmla="*/ 775433 h 1215964"/>
                  <a:gd name="connsiteX79" fmla="*/ 76200 w 1562100"/>
                  <a:gd name="connsiteY79" fmla="*/ 770670 h 1215964"/>
                  <a:gd name="connsiteX80" fmla="*/ 52388 w 1562100"/>
                  <a:gd name="connsiteY80" fmla="*/ 715902 h 1215964"/>
                  <a:gd name="connsiteX81" fmla="*/ 33338 w 1562100"/>
                  <a:gd name="connsiteY81" fmla="*/ 708758 h 1215964"/>
                  <a:gd name="connsiteX82" fmla="*/ 23813 w 1562100"/>
                  <a:gd name="connsiteY82" fmla="*/ 746858 h 1215964"/>
                  <a:gd name="connsiteX83" fmla="*/ 21431 w 1562100"/>
                  <a:gd name="connsiteY83" fmla="*/ 756383 h 1215964"/>
                  <a:gd name="connsiteX84" fmla="*/ 7144 w 1562100"/>
                  <a:gd name="connsiteY84" fmla="*/ 773052 h 1215964"/>
                  <a:gd name="connsiteX85" fmla="*/ 0 w 1562100"/>
                  <a:gd name="connsiteY85" fmla="*/ 830202 h 1215964"/>
                  <a:gd name="connsiteX86" fmla="*/ 23813 w 1562100"/>
                  <a:gd name="connsiteY86" fmla="*/ 858777 h 1215964"/>
                  <a:gd name="connsiteX87" fmla="*/ 16669 w 1562100"/>
                  <a:gd name="connsiteY87" fmla="*/ 899258 h 1215964"/>
                  <a:gd name="connsiteX88" fmla="*/ 35719 w 1562100"/>
                  <a:gd name="connsiteY88" fmla="*/ 904020 h 1215964"/>
                  <a:gd name="connsiteX89" fmla="*/ 69056 w 1562100"/>
                  <a:gd name="connsiteY89" fmla="*/ 904020 h 1215964"/>
                  <a:gd name="connsiteX90" fmla="*/ 85725 w 1562100"/>
                  <a:gd name="connsiteY90" fmla="*/ 894495 h 1215964"/>
                  <a:gd name="connsiteX91" fmla="*/ 135731 w 1562100"/>
                  <a:gd name="connsiteY91" fmla="*/ 951645 h 1215964"/>
                  <a:gd name="connsiteX92" fmla="*/ 123825 w 1562100"/>
                  <a:gd name="connsiteY92" fmla="*/ 970695 h 1215964"/>
                  <a:gd name="connsiteX93" fmla="*/ 133350 w 1562100"/>
                  <a:gd name="connsiteY93" fmla="*/ 999270 h 1215964"/>
                  <a:gd name="connsiteX94" fmla="*/ 164306 w 1562100"/>
                  <a:gd name="connsiteY94" fmla="*/ 1018320 h 1215964"/>
                  <a:gd name="connsiteX95" fmla="*/ 190500 w 1562100"/>
                  <a:gd name="connsiteY95" fmla="*/ 1027845 h 1215964"/>
                  <a:gd name="connsiteX96" fmla="*/ 216694 w 1562100"/>
                  <a:gd name="connsiteY96" fmla="*/ 1034989 h 1215964"/>
                  <a:gd name="connsiteX97" fmla="*/ 228600 w 1562100"/>
                  <a:gd name="connsiteY97" fmla="*/ 1037370 h 1215964"/>
                  <a:gd name="connsiteX98" fmla="*/ 240506 w 1562100"/>
                  <a:gd name="connsiteY98" fmla="*/ 999270 h 1215964"/>
                  <a:gd name="connsiteX99" fmla="*/ 269081 w 1562100"/>
                  <a:gd name="connsiteY99" fmla="*/ 1004033 h 1215964"/>
                  <a:gd name="connsiteX100" fmla="*/ 288131 w 1562100"/>
                  <a:gd name="connsiteY100" fmla="*/ 992127 h 1215964"/>
                  <a:gd name="connsiteX101" fmla="*/ 307181 w 1562100"/>
                  <a:gd name="connsiteY101" fmla="*/ 1042133 h 1215964"/>
                  <a:gd name="connsiteX102" fmla="*/ 330994 w 1562100"/>
                  <a:gd name="connsiteY102" fmla="*/ 1056420 h 1215964"/>
                  <a:gd name="connsiteX103" fmla="*/ 340519 w 1562100"/>
                  <a:gd name="connsiteY103" fmla="*/ 1084995 h 1215964"/>
                  <a:gd name="connsiteX104" fmla="*/ 357188 w 1562100"/>
                  <a:gd name="connsiteY104" fmla="*/ 1094520 h 1215964"/>
                  <a:gd name="connsiteX105" fmla="*/ 364331 w 1562100"/>
                  <a:gd name="connsiteY105" fmla="*/ 1125477 h 1215964"/>
                  <a:gd name="connsiteX106" fmla="*/ 335756 w 1562100"/>
                  <a:gd name="connsiteY106" fmla="*/ 1151670 h 1215964"/>
                  <a:gd name="connsiteX107" fmla="*/ 309563 w 1562100"/>
                  <a:gd name="connsiteY107" fmla="*/ 1168339 h 1215964"/>
                  <a:gd name="connsiteX108" fmla="*/ 297656 w 1562100"/>
                  <a:gd name="connsiteY108" fmla="*/ 1192152 h 1215964"/>
                  <a:gd name="connsiteX109" fmla="*/ 302419 w 1562100"/>
                  <a:gd name="connsiteY109" fmla="*/ 1215964 h 1215964"/>
                  <a:gd name="connsiteX110" fmla="*/ 342900 w 1562100"/>
                  <a:gd name="connsiteY110" fmla="*/ 1215964 h 1215964"/>
                  <a:gd name="connsiteX111" fmla="*/ 390525 w 1562100"/>
                  <a:gd name="connsiteY111" fmla="*/ 1211202 h 1215964"/>
                  <a:gd name="connsiteX112" fmla="*/ 428625 w 1562100"/>
                  <a:gd name="connsiteY112" fmla="*/ 1201677 h 1215964"/>
                  <a:gd name="connsiteX113" fmla="*/ 454819 w 1562100"/>
                  <a:gd name="connsiteY113" fmla="*/ 1208820 h 1215964"/>
                  <a:gd name="connsiteX114" fmla="*/ 473869 w 1562100"/>
                  <a:gd name="connsiteY114" fmla="*/ 1187389 h 1215964"/>
                  <a:gd name="connsiteX115" fmla="*/ 492919 w 1562100"/>
                  <a:gd name="connsiteY115" fmla="*/ 1187389 h 1215964"/>
                  <a:gd name="connsiteX116" fmla="*/ 507206 w 1562100"/>
                  <a:gd name="connsiteY116" fmla="*/ 1156433 h 1215964"/>
                  <a:gd name="connsiteX117" fmla="*/ 557213 w 1562100"/>
                  <a:gd name="connsiteY117" fmla="*/ 1142145 h 1215964"/>
                  <a:gd name="connsiteX118" fmla="*/ 583406 w 1562100"/>
                  <a:gd name="connsiteY118" fmla="*/ 1123095 h 1215964"/>
                  <a:gd name="connsiteX119" fmla="*/ 590550 w 1562100"/>
                  <a:gd name="connsiteY119" fmla="*/ 1084995 h 1215964"/>
                  <a:gd name="connsiteX120" fmla="*/ 607219 w 1562100"/>
                  <a:gd name="connsiteY120" fmla="*/ 1058802 h 1215964"/>
                  <a:gd name="connsiteX121" fmla="*/ 688181 w 1562100"/>
                  <a:gd name="connsiteY121" fmla="*/ 1089758 h 1215964"/>
                  <a:gd name="connsiteX0" fmla="*/ 688181 w 1562100"/>
                  <a:gd name="connsiteY0" fmla="*/ 1089758 h 1215964"/>
                  <a:gd name="connsiteX1" fmla="*/ 688181 w 1562100"/>
                  <a:gd name="connsiteY1" fmla="*/ 1004033 h 1215964"/>
                  <a:gd name="connsiteX2" fmla="*/ 692944 w 1562100"/>
                  <a:gd name="connsiteY2" fmla="*/ 961170 h 1215964"/>
                  <a:gd name="connsiteX3" fmla="*/ 692944 w 1562100"/>
                  <a:gd name="connsiteY3" fmla="*/ 915927 h 1215964"/>
                  <a:gd name="connsiteX4" fmla="*/ 676275 w 1562100"/>
                  <a:gd name="connsiteY4" fmla="*/ 892114 h 1215964"/>
                  <a:gd name="connsiteX5" fmla="*/ 690563 w 1562100"/>
                  <a:gd name="connsiteY5" fmla="*/ 839727 h 1215964"/>
                  <a:gd name="connsiteX6" fmla="*/ 685800 w 1562100"/>
                  <a:gd name="connsiteY6" fmla="*/ 813533 h 1215964"/>
                  <a:gd name="connsiteX7" fmla="*/ 697706 w 1562100"/>
                  <a:gd name="connsiteY7" fmla="*/ 768289 h 1215964"/>
                  <a:gd name="connsiteX8" fmla="*/ 714375 w 1562100"/>
                  <a:gd name="connsiteY8" fmla="*/ 744477 h 1215964"/>
                  <a:gd name="connsiteX9" fmla="*/ 721519 w 1562100"/>
                  <a:gd name="connsiteY9" fmla="*/ 711139 h 1215964"/>
                  <a:gd name="connsiteX10" fmla="*/ 735806 w 1562100"/>
                  <a:gd name="connsiteY10" fmla="*/ 692089 h 1215964"/>
                  <a:gd name="connsiteX11" fmla="*/ 792956 w 1562100"/>
                  <a:gd name="connsiteY11" fmla="*/ 682564 h 1215964"/>
                  <a:gd name="connsiteX12" fmla="*/ 838200 w 1562100"/>
                  <a:gd name="connsiteY12" fmla="*/ 665895 h 1215964"/>
                  <a:gd name="connsiteX13" fmla="*/ 876300 w 1562100"/>
                  <a:gd name="connsiteY13" fmla="*/ 625414 h 1215964"/>
                  <a:gd name="connsiteX14" fmla="*/ 923925 w 1562100"/>
                  <a:gd name="connsiteY14" fmla="*/ 611127 h 1215964"/>
                  <a:gd name="connsiteX15" fmla="*/ 995363 w 1562100"/>
                  <a:gd name="connsiteY15" fmla="*/ 606364 h 1215964"/>
                  <a:gd name="connsiteX16" fmla="*/ 1040606 w 1562100"/>
                  <a:gd name="connsiteY16" fmla="*/ 596839 h 1215964"/>
                  <a:gd name="connsiteX17" fmla="*/ 1119188 w 1562100"/>
                  <a:gd name="connsiteY17" fmla="*/ 489683 h 1215964"/>
                  <a:gd name="connsiteX18" fmla="*/ 1126331 w 1562100"/>
                  <a:gd name="connsiteY18" fmla="*/ 456345 h 1215964"/>
                  <a:gd name="connsiteX19" fmla="*/ 1152525 w 1562100"/>
                  <a:gd name="connsiteY19" fmla="*/ 427770 h 1215964"/>
                  <a:gd name="connsiteX20" fmla="*/ 1197769 w 1562100"/>
                  <a:gd name="connsiteY20" fmla="*/ 418245 h 1215964"/>
                  <a:gd name="connsiteX21" fmla="*/ 1290638 w 1562100"/>
                  <a:gd name="connsiteY21" fmla="*/ 342045 h 1215964"/>
                  <a:gd name="connsiteX22" fmla="*/ 1314450 w 1562100"/>
                  <a:gd name="connsiteY22" fmla="*/ 339664 h 1215964"/>
                  <a:gd name="connsiteX23" fmla="*/ 1409700 w 1562100"/>
                  <a:gd name="connsiteY23" fmla="*/ 258702 h 1215964"/>
                  <a:gd name="connsiteX24" fmla="*/ 1414463 w 1562100"/>
                  <a:gd name="connsiteY24" fmla="*/ 239652 h 1215964"/>
                  <a:gd name="connsiteX25" fmla="*/ 1507331 w 1562100"/>
                  <a:gd name="connsiteY25" fmla="*/ 184883 h 1215964"/>
                  <a:gd name="connsiteX26" fmla="*/ 1543050 w 1562100"/>
                  <a:gd name="connsiteY26" fmla="*/ 139639 h 1215964"/>
                  <a:gd name="connsiteX27" fmla="*/ 1562100 w 1562100"/>
                  <a:gd name="connsiteY27" fmla="*/ 101539 h 1215964"/>
                  <a:gd name="connsiteX28" fmla="*/ 1512094 w 1562100"/>
                  <a:gd name="connsiteY28" fmla="*/ 120589 h 1215964"/>
                  <a:gd name="connsiteX29" fmla="*/ 1478756 w 1562100"/>
                  <a:gd name="connsiteY29" fmla="*/ 120589 h 1215964"/>
                  <a:gd name="connsiteX30" fmla="*/ 1452563 w 1562100"/>
                  <a:gd name="connsiteY30" fmla="*/ 158689 h 1215964"/>
                  <a:gd name="connsiteX31" fmla="*/ 1421606 w 1562100"/>
                  <a:gd name="connsiteY31" fmla="*/ 156308 h 1215964"/>
                  <a:gd name="connsiteX32" fmla="*/ 1366838 w 1562100"/>
                  <a:gd name="connsiteY32" fmla="*/ 125352 h 1215964"/>
                  <a:gd name="connsiteX33" fmla="*/ 1323975 w 1562100"/>
                  <a:gd name="connsiteY33" fmla="*/ 113445 h 1215964"/>
                  <a:gd name="connsiteX34" fmla="*/ 1238250 w 1562100"/>
                  <a:gd name="connsiteY34" fmla="*/ 149164 h 1215964"/>
                  <a:gd name="connsiteX35" fmla="*/ 1223963 w 1562100"/>
                  <a:gd name="connsiteY35" fmla="*/ 187264 h 1215964"/>
                  <a:gd name="connsiteX36" fmla="*/ 1195388 w 1562100"/>
                  <a:gd name="connsiteY36" fmla="*/ 244414 h 1215964"/>
                  <a:gd name="connsiteX37" fmla="*/ 1109663 w 1562100"/>
                  <a:gd name="connsiteY37" fmla="*/ 206314 h 1215964"/>
                  <a:gd name="connsiteX38" fmla="*/ 1097756 w 1562100"/>
                  <a:gd name="connsiteY38" fmla="*/ 249177 h 1215964"/>
                  <a:gd name="connsiteX39" fmla="*/ 1083469 w 1562100"/>
                  <a:gd name="connsiteY39" fmla="*/ 282514 h 1215964"/>
                  <a:gd name="connsiteX40" fmla="*/ 959644 w 1562100"/>
                  <a:gd name="connsiteY40" fmla="*/ 313470 h 1215964"/>
                  <a:gd name="connsiteX41" fmla="*/ 945356 w 1562100"/>
                  <a:gd name="connsiteY41" fmla="*/ 308708 h 1215964"/>
                  <a:gd name="connsiteX42" fmla="*/ 926306 w 1562100"/>
                  <a:gd name="connsiteY42" fmla="*/ 330139 h 1215964"/>
                  <a:gd name="connsiteX43" fmla="*/ 890588 w 1562100"/>
                  <a:gd name="connsiteY43" fmla="*/ 337283 h 1215964"/>
                  <a:gd name="connsiteX44" fmla="*/ 854869 w 1562100"/>
                  <a:gd name="connsiteY44" fmla="*/ 287277 h 1215964"/>
                  <a:gd name="connsiteX45" fmla="*/ 835819 w 1562100"/>
                  <a:gd name="connsiteY45" fmla="*/ 275370 h 1215964"/>
                  <a:gd name="connsiteX46" fmla="*/ 826294 w 1562100"/>
                  <a:gd name="connsiteY46" fmla="*/ 230127 h 1215964"/>
                  <a:gd name="connsiteX47" fmla="*/ 792956 w 1562100"/>
                  <a:gd name="connsiteY47" fmla="*/ 213458 h 1215964"/>
                  <a:gd name="connsiteX48" fmla="*/ 759619 w 1562100"/>
                  <a:gd name="connsiteY48" fmla="*/ 206314 h 1215964"/>
                  <a:gd name="connsiteX49" fmla="*/ 740569 w 1562100"/>
                  <a:gd name="connsiteY49" fmla="*/ 201552 h 1215964"/>
                  <a:gd name="connsiteX50" fmla="*/ 728663 w 1562100"/>
                  <a:gd name="connsiteY50" fmla="*/ 192027 h 1215964"/>
                  <a:gd name="connsiteX51" fmla="*/ 735806 w 1562100"/>
                  <a:gd name="connsiteY51" fmla="*/ 165833 h 1215964"/>
                  <a:gd name="connsiteX52" fmla="*/ 742950 w 1562100"/>
                  <a:gd name="connsiteY52" fmla="*/ 142020 h 1215964"/>
                  <a:gd name="connsiteX53" fmla="*/ 700088 w 1562100"/>
                  <a:gd name="connsiteY53" fmla="*/ 92014 h 1215964"/>
                  <a:gd name="connsiteX54" fmla="*/ 447675 w 1562100"/>
                  <a:gd name="connsiteY54" fmla="*/ 22958 h 1215964"/>
                  <a:gd name="connsiteX55" fmla="*/ 376238 w 1562100"/>
                  <a:gd name="connsiteY55" fmla="*/ 11052 h 1215964"/>
                  <a:gd name="connsiteX56" fmla="*/ 314326 w 1562100"/>
                  <a:gd name="connsiteY56" fmla="*/ 11051 h 1215964"/>
                  <a:gd name="connsiteX57" fmla="*/ 328613 w 1562100"/>
                  <a:gd name="connsiteY57" fmla="*/ 89633 h 1215964"/>
                  <a:gd name="connsiteX58" fmla="*/ 292894 w 1562100"/>
                  <a:gd name="connsiteY58" fmla="*/ 192027 h 1215964"/>
                  <a:gd name="connsiteX59" fmla="*/ 264319 w 1562100"/>
                  <a:gd name="connsiteY59" fmla="*/ 199170 h 1215964"/>
                  <a:gd name="connsiteX60" fmla="*/ 261938 w 1562100"/>
                  <a:gd name="connsiteY60" fmla="*/ 213458 h 1215964"/>
                  <a:gd name="connsiteX61" fmla="*/ 261938 w 1562100"/>
                  <a:gd name="connsiteY61" fmla="*/ 246795 h 1215964"/>
                  <a:gd name="connsiteX62" fmla="*/ 228600 w 1562100"/>
                  <a:gd name="connsiteY62" fmla="*/ 289658 h 1215964"/>
                  <a:gd name="connsiteX63" fmla="*/ 271463 w 1562100"/>
                  <a:gd name="connsiteY63" fmla="*/ 306327 h 1215964"/>
                  <a:gd name="connsiteX64" fmla="*/ 278606 w 1562100"/>
                  <a:gd name="connsiteY64" fmla="*/ 325377 h 1215964"/>
                  <a:gd name="connsiteX65" fmla="*/ 257175 w 1562100"/>
                  <a:gd name="connsiteY65" fmla="*/ 361095 h 1215964"/>
                  <a:gd name="connsiteX66" fmla="*/ 221456 w 1562100"/>
                  <a:gd name="connsiteY66" fmla="*/ 370620 h 1215964"/>
                  <a:gd name="connsiteX67" fmla="*/ 221456 w 1562100"/>
                  <a:gd name="connsiteY67" fmla="*/ 411102 h 1215964"/>
                  <a:gd name="connsiteX68" fmla="*/ 254794 w 1562100"/>
                  <a:gd name="connsiteY68" fmla="*/ 449202 h 1215964"/>
                  <a:gd name="connsiteX69" fmla="*/ 226219 w 1562100"/>
                  <a:gd name="connsiteY69" fmla="*/ 513495 h 1215964"/>
                  <a:gd name="connsiteX70" fmla="*/ 180975 w 1562100"/>
                  <a:gd name="connsiteY70" fmla="*/ 542070 h 1215964"/>
                  <a:gd name="connsiteX71" fmla="*/ 183356 w 1562100"/>
                  <a:gd name="connsiteY71" fmla="*/ 558739 h 1215964"/>
                  <a:gd name="connsiteX72" fmla="*/ 204788 w 1562100"/>
                  <a:gd name="connsiteY72" fmla="*/ 568264 h 1215964"/>
                  <a:gd name="connsiteX73" fmla="*/ 219075 w 1562100"/>
                  <a:gd name="connsiteY73" fmla="*/ 577789 h 1215964"/>
                  <a:gd name="connsiteX74" fmla="*/ 223838 w 1562100"/>
                  <a:gd name="connsiteY74" fmla="*/ 596839 h 1215964"/>
                  <a:gd name="connsiteX75" fmla="*/ 195263 w 1562100"/>
                  <a:gd name="connsiteY75" fmla="*/ 623033 h 1215964"/>
                  <a:gd name="connsiteX76" fmla="*/ 123825 w 1562100"/>
                  <a:gd name="connsiteY76" fmla="*/ 668277 h 1215964"/>
                  <a:gd name="connsiteX77" fmla="*/ 123825 w 1562100"/>
                  <a:gd name="connsiteY77" fmla="*/ 703995 h 1215964"/>
                  <a:gd name="connsiteX78" fmla="*/ 135731 w 1562100"/>
                  <a:gd name="connsiteY78" fmla="*/ 734952 h 1215964"/>
                  <a:gd name="connsiteX79" fmla="*/ 123825 w 1562100"/>
                  <a:gd name="connsiteY79" fmla="*/ 775433 h 1215964"/>
                  <a:gd name="connsiteX80" fmla="*/ 76200 w 1562100"/>
                  <a:gd name="connsiteY80" fmla="*/ 770670 h 1215964"/>
                  <a:gd name="connsiteX81" fmla="*/ 52388 w 1562100"/>
                  <a:gd name="connsiteY81" fmla="*/ 715902 h 1215964"/>
                  <a:gd name="connsiteX82" fmla="*/ 33338 w 1562100"/>
                  <a:gd name="connsiteY82" fmla="*/ 708758 h 1215964"/>
                  <a:gd name="connsiteX83" fmla="*/ 23813 w 1562100"/>
                  <a:gd name="connsiteY83" fmla="*/ 746858 h 1215964"/>
                  <a:gd name="connsiteX84" fmla="*/ 21431 w 1562100"/>
                  <a:gd name="connsiteY84" fmla="*/ 756383 h 1215964"/>
                  <a:gd name="connsiteX85" fmla="*/ 7144 w 1562100"/>
                  <a:gd name="connsiteY85" fmla="*/ 773052 h 1215964"/>
                  <a:gd name="connsiteX86" fmla="*/ 0 w 1562100"/>
                  <a:gd name="connsiteY86" fmla="*/ 830202 h 1215964"/>
                  <a:gd name="connsiteX87" fmla="*/ 23813 w 1562100"/>
                  <a:gd name="connsiteY87" fmla="*/ 858777 h 1215964"/>
                  <a:gd name="connsiteX88" fmla="*/ 16669 w 1562100"/>
                  <a:gd name="connsiteY88" fmla="*/ 899258 h 1215964"/>
                  <a:gd name="connsiteX89" fmla="*/ 35719 w 1562100"/>
                  <a:gd name="connsiteY89" fmla="*/ 904020 h 1215964"/>
                  <a:gd name="connsiteX90" fmla="*/ 69056 w 1562100"/>
                  <a:gd name="connsiteY90" fmla="*/ 904020 h 1215964"/>
                  <a:gd name="connsiteX91" fmla="*/ 85725 w 1562100"/>
                  <a:gd name="connsiteY91" fmla="*/ 894495 h 1215964"/>
                  <a:gd name="connsiteX92" fmla="*/ 135731 w 1562100"/>
                  <a:gd name="connsiteY92" fmla="*/ 951645 h 1215964"/>
                  <a:gd name="connsiteX93" fmla="*/ 123825 w 1562100"/>
                  <a:gd name="connsiteY93" fmla="*/ 970695 h 1215964"/>
                  <a:gd name="connsiteX94" fmla="*/ 133350 w 1562100"/>
                  <a:gd name="connsiteY94" fmla="*/ 999270 h 1215964"/>
                  <a:gd name="connsiteX95" fmla="*/ 164306 w 1562100"/>
                  <a:gd name="connsiteY95" fmla="*/ 1018320 h 1215964"/>
                  <a:gd name="connsiteX96" fmla="*/ 190500 w 1562100"/>
                  <a:gd name="connsiteY96" fmla="*/ 1027845 h 1215964"/>
                  <a:gd name="connsiteX97" fmla="*/ 216694 w 1562100"/>
                  <a:gd name="connsiteY97" fmla="*/ 1034989 h 1215964"/>
                  <a:gd name="connsiteX98" fmla="*/ 228600 w 1562100"/>
                  <a:gd name="connsiteY98" fmla="*/ 1037370 h 1215964"/>
                  <a:gd name="connsiteX99" fmla="*/ 240506 w 1562100"/>
                  <a:gd name="connsiteY99" fmla="*/ 999270 h 1215964"/>
                  <a:gd name="connsiteX100" fmla="*/ 269081 w 1562100"/>
                  <a:gd name="connsiteY100" fmla="*/ 1004033 h 1215964"/>
                  <a:gd name="connsiteX101" fmla="*/ 288131 w 1562100"/>
                  <a:gd name="connsiteY101" fmla="*/ 992127 h 1215964"/>
                  <a:gd name="connsiteX102" fmla="*/ 307181 w 1562100"/>
                  <a:gd name="connsiteY102" fmla="*/ 1042133 h 1215964"/>
                  <a:gd name="connsiteX103" fmla="*/ 330994 w 1562100"/>
                  <a:gd name="connsiteY103" fmla="*/ 1056420 h 1215964"/>
                  <a:gd name="connsiteX104" fmla="*/ 340519 w 1562100"/>
                  <a:gd name="connsiteY104" fmla="*/ 1084995 h 1215964"/>
                  <a:gd name="connsiteX105" fmla="*/ 357188 w 1562100"/>
                  <a:gd name="connsiteY105" fmla="*/ 1094520 h 1215964"/>
                  <a:gd name="connsiteX106" fmla="*/ 364331 w 1562100"/>
                  <a:gd name="connsiteY106" fmla="*/ 1125477 h 1215964"/>
                  <a:gd name="connsiteX107" fmla="*/ 335756 w 1562100"/>
                  <a:gd name="connsiteY107" fmla="*/ 1151670 h 1215964"/>
                  <a:gd name="connsiteX108" fmla="*/ 309563 w 1562100"/>
                  <a:gd name="connsiteY108" fmla="*/ 1168339 h 1215964"/>
                  <a:gd name="connsiteX109" fmla="*/ 297656 w 1562100"/>
                  <a:gd name="connsiteY109" fmla="*/ 1192152 h 1215964"/>
                  <a:gd name="connsiteX110" fmla="*/ 302419 w 1562100"/>
                  <a:gd name="connsiteY110" fmla="*/ 1215964 h 1215964"/>
                  <a:gd name="connsiteX111" fmla="*/ 342900 w 1562100"/>
                  <a:gd name="connsiteY111" fmla="*/ 1215964 h 1215964"/>
                  <a:gd name="connsiteX112" fmla="*/ 390525 w 1562100"/>
                  <a:gd name="connsiteY112" fmla="*/ 1211202 h 1215964"/>
                  <a:gd name="connsiteX113" fmla="*/ 428625 w 1562100"/>
                  <a:gd name="connsiteY113" fmla="*/ 1201677 h 1215964"/>
                  <a:gd name="connsiteX114" fmla="*/ 454819 w 1562100"/>
                  <a:gd name="connsiteY114" fmla="*/ 1208820 h 1215964"/>
                  <a:gd name="connsiteX115" fmla="*/ 473869 w 1562100"/>
                  <a:gd name="connsiteY115" fmla="*/ 1187389 h 1215964"/>
                  <a:gd name="connsiteX116" fmla="*/ 492919 w 1562100"/>
                  <a:gd name="connsiteY116" fmla="*/ 1187389 h 1215964"/>
                  <a:gd name="connsiteX117" fmla="*/ 507206 w 1562100"/>
                  <a:gd name="connsiteY117" fmla="*/ 1156433 h 1215964"/>
                  <a:gd name="connsiteX118" fmla="*/ 557213 w 1562100"/>
                  <a:gd name="connsiteY118" fmla="*/ 1142145 h 1215964"/>
                  <a:gd name="connsiteX119" fmla="*/ 583406 w 1562100"/>
                  <a:gd name="connsiteY119" fmla="*/ 1123095 h 1215964"/>
                  <a:gd name="connsiteX120" fmla="*/ 590550 w 1562100"/>
                  <a:gd name="connsiteY120" fmla="*/ 1084995 h 1215964"/>
                  <a:gd name="connsiteX121" fmla="*/ 607219 w 1562100"/>
                  <a:gd name="connsiteY121" fmla="*/ 1058802 h 1215964"/>
                  <a:gd name="connsiteX122" fmla="*/ 688181 w 1562100"/>
                  <a:gd name="connsiteY122" fmla="*/ 1089758 h 1215964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28625 w 1562100"/>
                  <a:gd name="connsiteY54" fmla="*/ 0 h 1309687"/>
                  <a:gd name="connsiteX55" fmla="*/ 376238 w 1562100"/>
                  <a:gd name="connsiteY55" fmla="*/ 104775 h 1309687"/>
                  <a:gd name="connsiteX56" fmla="*/ 314326 w 1562100"/>
                  <a:gd name="connsiteY56" fmla="*/ 104774 h 1309687"/>
                  <a:gd name="connsiteX57" fmla="*/ 328613 w 1562100"/>
                  <a:gd name="connsiteY57" fmla="*/ 183356 h 1309687"/>
                  <a:gd name="connsiteX58" fmla="*/ 292894 w 1562100"/>
                  <a:gd name="connsiteY58" fmla="*/ 285750 h 1309687"/>
                  <a:gd name="connsiteX59" fmla="*/ 264319 w 1562100"/>
                  <a:gd name="connsiteY59" fmla="*/ 292893 h 1309687"/>
                  <a:gd name="connsiteX60" fmla="*/ 261938 w 1562100"/>
                  <a:gd name="connsiteY60" fmla="*/ 307181 h 1309687"/>
                  <a:gd name="connsiteX61" fmla="*/ 261938 w 1562100"/>
                  <a:gd name="connsiteY61" fmla="*/ 340518 h 1309687"/>
                  <a:gd name="connsiteX62" fmla="*/ 228600 w 1562100"/>
                  <a:gd name="connsiteY62" fmla="*/ 383381 h 1309687"/>
                  <a:gd name="connsiteX63" fmla="*/ 271463 w 1562100"/>
                  <a:gd name="connsiteY63" fmla="*/ 400050 h 1309687"/>
                  <a:gd name="connsiteX64" fmla="*/ 278606 w 1562100"/>
                  <a:gd name="connsiteY64" fmla="*/ 419100 h 1309687"/>
                  <a:gd name="connsiteX65" fmla="*/ 257175 w 1562100"/>
                  <a:gd name="connsiteY65" fmla="*/ 454818 h 1309687"/>
                  <a:gd name="connsiteX66" fmla="*/ 221456 w 1562100"/>
                  <a:gd name="connsiteY66" fmla="*/ 464343 h 1309687"/>
                  <a:gd name="connsiteX67" fmla="*/ 221456 w 1562100"/>
                  <a:gd name="connsiteY67" fmla="*/ 504825 h 1309687"/>
                  <a:gd name="connsiteX68" fmla="*/ 254794 w 1562100"/>
                  <a:gd name="connsiteY68" fmla="*/ 542925 h 1309687"/>
                  <a:gd name="connsiteX69" fmla="*/ 226219 w 1562100"/>
                  <a:gd name="connsiteY69" fmla="*/ 607218 h 1309687"/>
                  <a:gd name="connsiteX70" fmla="*/ 180975 w 1562100"/>
                  <a:gd name="connsiteY70" fmla="*/ 635793 h 1309687"/>
                  <a:gd name="connsiteX71" fmla="*/ 183356 w 1562100"/>
                  <a:gd name="connsiteY71" fmla="*/ 652462 h 1309687"/>
                  <a:gd name="connsiteX72" fmla="*/ 204788 w 1562100"/>
                  <a:gd name="connsiteY72" fmla="*/ 661987 h 1309687"/>
                  <a:gd name="connsiteX73" fmla="*/ 219075 w 1562100"/>
                  <a:gd name="connsiteY73" fmla="*/ 671512 h 1309687"/>
                  <a:gd name="connsiteX74" fmla="*/ 223838 w 1562100"/>
                  <a:gd name="connsiteY74" fmla="*/ 690562 h 1309687"/>
                  <a:gd name="connsiteX75" fmla="*/ 195263 w 1562100"/>
                  <a:gd name="connsiteY75" fmla="*/ 716756 h 1309687"/>
                  <a:gd name="connsiteX76" fmla="*/ 123825 w 1562100"/>
                  <a:gd name="connsiteY76" fmla="*/ 762000 h 1309687"/>
                  <a:gd name="connsiteX77" fmla="*/ 123825 w 1562100"/>
                  <a:gd name="connsiteY77" fmla="*/ 797718 h 1309687"/>
                  <a:gd name="connsiteX78" fmla="*/ 135731 w 1562100"/>
                  <a:gd name="connsiteY78" fmla="*/ 828675 h 1309687"/>
                  <a:gd name="connsiteX79" fmla="*/ 123825 w 1562100"/>
                  <a:gd name="connsiteY79" fmla="*/ 869156 h 1309687"/>
                  <a:gd name="connsiteX80" fmla="*/ 76200 w 1562100"/>
                  <a:gd name="connsiteY80" fmla="*/ 864393 h 1309687"/>
                  <a:gd name="connsiteX81" fmla="*/ 52388 w 1562100"/>
                  <a:gd name="connsiteY81" fmla="*/ 809625 h 1309687"/>
                  <a:gd name="connsiteX82" fmla="*/ 33338 w 1562100"/>
                  <a:gd name="connsiteY82" fmla="*/ 802481 h 1309687"/>
                  <a:gd name="connsiteX83" fmla="*/ 23813 w 1562100"/>
                  <a:gd name="connsiteY83" fmla="*/ 840581 h 1309687"/>
                  <a:gd name="connsiteX84" fmla="*/ 21431 w 1562100"/>
                  <a:gd name="connsiteY84" fmla="*/ 850106 h 1309687"/>
                  <a:gd name="connsiteX85" fmla="*/ 7144 w 1562100"/>
                  <a:gd name="connsiteY85" fmla="*/ 866775 h 1309687"/>
                  <a:gd name="connsiteX86" fmla="*/ 0 w 1562100"/>
                  <a:gd name="connsiteY86" fmla="*/ 923925 h 1309687"/>
                  <a:gd name="connsiteX87" fmla="*/ 23813 w 1562100"/>
                  <a:gd name="connsiteY87" fmla="*/ 952500 h 1309687"/>
                  <a:gd name="connsiteX88" fmla="*/ 16669 w 1562100"/>
                  <a:gd name="connsiteY88" fmla="*/ 992981 h 1309687"/>
                  <a:gd name="connsiteX89" fmla="*/ 35719 w 1562100"/>
                  <a:gd name="connsiteY89" fmla="*/ 997743 h 1309687"/>
                  <a:gd name="connsiteX90" fmla="*/ 69056 w 1562100"/>
                  <a:gd name="connsiteY90" fmla="*/ 997743 h 1309687"/>
                  <a:gd name="connsiteX91" fmla="*/ 85725 w 1562100"/>
                  <a:gd name="connsiteY91" fmla="*/ 988218 h 1309687"/>
                  <a:gd name="connsiteX92" fmla="*/ 135731 w 1562100"/>
                  <a:gd name="connsiteY92" fmla="*/ 1045368 h 1309687"/>
                  <a:gd name="connsiteX93" fmla="*/ 123825 w 1562100"/>
                  <a:gd name="connsiteY93" fmla="*/ 1064418 h 1309687"/>
                  <a:gd name="connsiteX94" fmla="*/ 133350 w 1562100"/>
                  <a:gd name="connsiteY94" fmla="*/ 1092993 h 1309687"/>
                  <a:gd name="connsiteX95" fmla="*/ 164306 w 1562100"/>
                  <a:gd name="connsiteY95" fmla="*/ 1112043 h 1309687"/>
                  <a:gd name="connsiteX96" fmla="*/ 190500 w 1562100"/>
                  <a:gd name="connsiteY96" fmla="*/ 1121568 h 1309687"/>
                  <a:gd name="connsiteX97" fmla="*/ 216694 w 1562100"/>
                  <a:gd name="connsiteY97" fmla="*/ 1128712 h 1309687"/>
                  <a:gd name="connsiteX98" fmla="*/ 228600 w 1562100"/>
                  <a:gd name="connsiteY98" fmla="*/ 1131093 h 1309687"/>
                  <a:gd name="connsiteX99" fmla="*/ 240506 w 1562100"/>
                  <a:gd name="connsiteY99" fmla="*/ 1092993 h 1309687"/>
                  <a:gd name="connsiteX100" fmla="*/ 269081 w 1562100"/>
                  <a:gd name="connsiteY100" fmla="*/ 1097756 h 1309687"/>
                  <a:gd name="connsiteX101" fmla="*/ 288131 w 1562100"/>
                  <a:gd name="connsiteY101" fmla="*/ 1085850 h 1309687"/>
                  <a:gd name="connsiteX102" fmla="*/ 307181 w 1562100"/>
                  <a:gd name="connsiteY102" fmla="*/ 1135856 h 1309687"/>
                  <a:gd name="connsiteX103" fmla="*/ 330994 w 1562100"/>
                  <a:gd name="connsiteY103" fmla="*/ 1150143 h 1309687"/>
                  <a:gd name="connsiteX104" fmla="*/ 340519 w 1562100"/>
                  <a:gd name="connsiteY104" fmla="*/ 1178718 h 1309687"/>
                  <a:gd name="connsiteX105" fmla="*/ 357188 w 1562100"/>
                  <a:gd name="connsiteY105" fmla="*/ 1188243 h 1309687"/>
                  <a:gd name="connsiteX106" fmla="*/ 364331 w 1562100"/>
                  <a:gd name="connsiteY106" fmla="*/ 1219200 h 1309687"/>
                  <a:gd name="connsiteX107" fmla="*/ 335756 w 1562100"/>
                  <a:gd name="connsiteY107" fmla="*/ 1245393 h 1309687"/>
                  <a:gd name="connsiteX108" fmla="*/ 309563 w 1562100"/>
                  <a:gd name="connsiteY108" fmla="*/ 1262062 h 1309687"/>
                  <a:gd name="connsiteX109" fmla="*/ 297656 w 1562100"/>
                  <a:gd name="connsiteY109" fmla="*/ 1285875 h 1309687"/>
                  <a:gd name="connsiteX110" fmla="*/ 302419 w 1562100"/>
                  <a:gd name="connsiteY110" fmla="*/ 1309687 h 1309687"/>
                  <a:gd name="connsiteX111" fmla="*/ 342900 w 1562100"/>
                  <a:gd name="connsiteY111" fmla="*/ 1309687 h 1309687"/>
                  <a:gd name="connsiteX112" fmla="*/ 390525 w 1562100"/>
                  <a:gd name="connsiteY112" fmla="*/ 1304925 h 1309687"/>
                  <a:gd name="connsiteX113" fmla="*/ 428625 w 1562100"/>
                  <a:gd name="connsiteY113" fmla="*/ 1295400 h 1309687"/>
                  <a:gd name="connsiteX114" fmla="*/ 454819 w 1562100"/>
                  <a:gd name="connsiteY114" fmla="*/ 1302543 h 1309687"/>
                  <a:gd name="connsiteX115" fmla="*/ 473869 w 1562100"/>
                  <a:gd name="connsiteY115" fmla="*/ 1281112 h 1309687"/>
                  <a:gd name="connsiteX116" fmla="*/ 492919 w 1562100"/>
                  <a:gd name="connsiteY116" fmla="*/ 1281112 h 1309687"/>
                  <a:gd name="connsiteX117" fmla="*/ 507206 w 1562100"/>
                  <a:gd name="connsiteY117" fmla="*/ 1250156 h 1309687"/>
                  <a:gd name="connsiteX118" fmla="*/ 557213 w 1562100"/>
                  <a:gd name="connsiteY118" fmla="*/ 1235868 h 1309687"/>
                  <a:gd name="connsiteX119" fmla="*/ 583406 w 1562100"/>
                  <a:gd name="connsiteY119" fmla="*/ 1216818 h 1309687"/>
                  <a:gd name="connsiteX120" fmla="*/ 590550 w 1562100"/>
                  <a:gd name="connsiteY120" fmla="*/ 1178718 h 1309687"/>
                  <a:gd name="connsiteX121" fmla="*/ 607219 w 1562100"/>
                  <a:gd name="connsiteY121" fmla="*/ 1152525 h 1309687"/>
                  <a:gd name="connsiteX122" fmla="*/ 688181 w 1562100"/>
                  <a:gd name="connsiteY122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61963 w 1562100"/>
                  <a:gd name="connsiteY54" fmla="*/ 23813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50056 w 1562100"/>
                  <a:gd name="connsiteY54" fmla="*/ 2382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50056 w 1562100"/>
                  <a:gd name="connsiteY54" fmla="*/ 2382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552450 w 1562100"/>
                  <a:gd name="connsiteY54" fmla="*/ 78582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97681 w 1562100"/>
                  <a:gd name="connsiteY54" fmla="*/ 119063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500062 w 1562100"/>
                  <a:gd name="connsiteY54" fmla="*/ 66676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02456 w 1562100"/>
                  <a:gd name="connsiteY54" fmla="*/ 133351 h 1309687"/>
                  <a:gd name="connsiteX55" fmla="*/ 500062 w 1562100"/>
                  <a:gd name="connsiteY55" fmla="*/ 66676 h 1309687"/>
                  <a:gd name="connsiteX56" fmla="*/ 450056 w 1562100"/>
                  <a:gd name="connsiteY56" fmla="*/ 2382 h 1309687"/>
                  <a:gd name="connsiteX57" fmla="*/ 428625 w 1562100"/>
                  <a:gd name="connsiteY57" fmla="*/ 0 h 1309687"/>
                  <a:gd name="connsiteX58" fmla="*/ 376238 w 1562100"/>
                  <a:gd name="connsiteY58" fmla="*/ 104775 h 1309687"/>
                  <a:gd name="connsiteX59" fmla="*/ 314326 w 1562100"/>
                  <a:gd name="connsiteY59" fmla="*/ 104774 h 1309687"/>
                  <a:gd name="connsiteX60" fmla="*/ 328613 w 1562100"/>
                  <a:gd name="connsiteY60" fmla="*/ 183356 h 1309687"/>
                  <a:gd name="connsiteX61" fmla="*/ 292894 w 1562100"/>
                  <a:gd name="connsiteY61" fmla="*/ 285750 h 1309687"/>
                  <a:gd name="connsiteX62" fmla="*/ 264319 w 1562100"/>
                  <a:gd name="connsiteY62" fmla="*/ 292893 h 1309687"/>
                  <a:gd name="connsiteX63" fmla="*/ 261938 w 1562100"/>
                  <a:gd name="connsiteY63" fmla="*/ 307181 h 1309687"/>
                  <a:gd name="connsiteX64" fmla="*/ 261938 w 1562100"/>
                  <a:gd name="connsiteY64" fmla="*/ 340518 h 1309687"/>
                  <a:gd name="connsiteX65" fmla="*/ 228600 w 1562100"/>
                  <a:gd name="connsiteY65" fmla="*/ 383381 h 1309687"/>
                  <a:gd name="connsiteX66" fmla="*/ 271463 w 1562100"/>
                  <a:gd name="connsiteY66" fmla="*/ 400050 h 1309687"/>
                  <a:gd name="connsiteX67" fmla="*/ 278606 w 1562100"/>
                  <a:gd name="connsiteY67" fmla="*/ 419100 h 1309687"/>
                  <a:gd name="connsiteX68" fmla="*/ 257175 w 1562100"/>
                  <a:gd name="connsiteY68" fmla="*/ 454818 h 1309687"/>
                  <a:gd name="connsiteX69" fmla="*/ 221456 w 1562100"/>
                  <a:gd name="connsiteY69" fmla="*/ 464343 h 1309687"/>
                  <a:gd name="connsiteX70" fmla="*/ 221456 w 1562100"/>
                  <a:gd name="connsiteY70" fmla="*/ 504825 h 1309687"/>
                  <a:gd name="connsiteX71" fmla="*/ 254794 w 1562100"/>
                  <a:gd name="connsiteY71" fmla="*/ 542925 h 1309687"/>
                  <a:gd name="connsiteX72" fmla="*/ 226219 w 1562100"/>
                  <a:gd name="connsiteY72" fmla="*/ 607218 h 1309687"/>
                  <a:gd name="connsiteX73" fmla="*/ 180975 w 1562100"/>
                  <a:gd name="connsiteY73" fmla="*/ 635793 h 1309687"/>
                  <a:gd name="connsiteX74" fmla="*/ 183356 w 1562100"/>
                  <a:gd name="connsiteY74" fmla="*/ 652462 h 1309687"/>
                  <a:gd name="connsiteX75" fmla="*/ 204788 w 1562100"/>
                  <a:gd name="connsiteY75" fmla="*/ 661987 h 1309687"/>
                  <a:gd name="connsiteX76" fmla="*/ 219075 w 1562100"/>
                  <a:gd name="connsiteY76" fmla="*/ 671512 h 1309687"/>
                  <a:gd name="connsiteX77" fmla="*/ 223838 w 1562100"/>
                  <a:gd name="connsiteY77" fmla="*/ 690562 h 1309687"/>
                  <a:gd name="connsiteX78" fmla="*/ 195263 w 1562100"/>
                  <a:gd name="connsiteY78" fmla="*/ 716756 h 1309687"/>
                  <a:gd name="connsiteX79" fmla="*/ 123825 w 1562100"/>
                  <a:gd name="connsiteY79" fmla="*/ 762000 h 1309687"/>
                  <a:gd name="connsiteX80" fmla="*/ 123825 w 1562100"/>
                  <a:gd name="connsiteY80" fmla="*/ 797718 h 1309687"/>
                  <a:gd name="connsiteX81" fmla="*/ 135731 w 1562100"/>
                  <a:gd name="connsiteY81" fmla="*/ 828675 h 1309687"/>
                  <a:gd name="connsiteX82" fmla="*/ 123825 w 1562100"/>
                  <a:gd name="connsiteY82" fmla="*/ 869156 h 1309687"/>
                  <a:gd name="connsiteX83" fmla="*/ 76200 w 1562100"/>
                  <a:gd name="connsiteY83" fmla="*/ 864393 h 1309687"/>
                  <a:gd name="connsiteX84" fmla="*/ 52388 w 1562100"/>
                  <a:gd name="connsiteY84" fmla="*/ 809625 h 1309687"/>
                  <a:gd name="connsiteX85" fmla="*/ 33338 w 1562100"/>
                  <a:gd name="connsiteY85" fmla="*/ 802481 h 1309687"/>
                  <a:gd name="connsiteX86" fmla="*/ 23813 w 1562100"/>
                  <a:gd name="connsiteY86" fmla="*/ 840581 h 1309687"/>
                  <a:gd name="connsiteX87" fmla="*/ 21431 w 1562100"/>
                  <a:gd name="connsiteY87" fmla="*/ 850106 h 1309687"/>
                  <a:gd name="connsiteX88" fmla="*/ 7144 w 1562100"/>
                  <a:gd name="connsiteY88" fmla="*/ 866775 h 1309687"/>
                  <a:gd name="connsiteX89" fmla="*/ 0 w 1562100"/>
                  <a:gd name="connsiteY89" fmla="*/ 923925 h 1309687"/>
                  <a:gd name="connsiteX90" fmla="*/ 23813 w 1562100"/>
                  <a:gd name="connsiteY90" fmla="*/ 952500 h 1309687"/>
                  <a:gd name="connsiteX91" fmla="*/ 16669 w 1562100"/>
                  <a:gd name="connsiteY91" fmla="*/ 992981 h 1309687"/>
                  <a:gd name="connsiteX92" fmla="*/ 35719 w 1562100"/>
                  <a:gd name="connsiteY92" fmla="*/ 997743 h 1309687"/>
                  <a:gd name="connsiteX93" fmla="*/ 69056 w 1562100"/>
                  <a:gd name="connsiteY93" fmla="*/ 997743 h 1309687"/>
                  <a:gd name="connsiteX94" fmla="*/ 85725 w 1562100"/>
                  <a:gd name="connsiteY94" fmla="*/ 988218 h 1309687"/>
                  <a:gd name="connsiteX95" fmla="*/ 135731 w 1562100"/>
                  <a:gd name="connsiteY95" fmla="*/ 1045368 h 1309687"/>
                  <a:gd name="connsiteX96" fmla="*/ 123825 w 1562100"/>
                  <a:gd name="connsiteY96" fmla="*/ 1064418 h 1309687"/>
                  <a:gd name="connsiteX97" fmla="*/ 133350 w 1562100"/>
                  <a:gd name="connsiteY97" fmla="*/ 1092993 h 1309687"/>
                  <a:gd name="connsiteX98" fmla="*/ 164306 w 1562100"/>
                  <a:gd name="connsiteY98" fmla="*/ 1112043 h 1309687"/>
                  <a:gd name="connsiteX99" fmla="*/ 190500 w 1562100"/>
                  <a:gd name="connsiteY99" fmla="*/ 1121568 h 1309687"/>
                  <a:gd name="connsiteX100" fmla="*/ 216694 w 1562100"/>
                  <a:gd name="connsiteY100" fmla="*/ 1128712 h 1309687"/>
                  <a:gd name="connsiteX101" fmla="*/ 228600 w 1562100"/>
                  <a:gd name="connsiteY101" fmla="*/ 1131093 h 1309687"/>
                  <a:gd name="connsiteX102" fmla="*/ 240506 w 1562100"/>
                  <a:gd name="connsiteY102" fmla="*/ 1092993 h 1309687"/>
                  <a:gd name="connsiteX103" fmla="*/ 269081 w 1562100"/>
                  <a:gd name="connsiteY103" fmla="*/ 1097756 h 1309687"/>
                  <a:gd name="connsiteX104" fmla="*/ 288131 w 1562100"/>
                  <a:gd name="connsiteY104" fmla="*/ 1085850 h 1309687"/>
                  <a:gd name="connsiteX105" fmla="*/ 307181 w 1562100"/>
                  <a:gd name="connsiteY105" fmla="*/ 1135856 h 1309687"/>
                  <a:gd name="connsiteX106" fmla="*/ 330994 w 1562100"/>
                  <a:gd name="connsiteY106" fmla="*/ 1150143 h 1309687"/>
                  <a:gd name="connsiteX107" fmla="*/ 340519 w 1562100"/>
                  <a:gd name="connsiteY107" fmla="*/ 1178718 h 1309687"/>
                  <a:gd name="connsiteX108" fmla="*/ 357188 w 1562100"/>
                  <a:gd name="connsiteY108" fmla="*/ 1188243 h 1309687"/>
                  <a:gd name="connsiteX109" fmla="*/ 364331 w 1562100"/>
                  <a:gd name="connsiteY109" fmla="*/ 1219200 h 1309687"/>
                  <a:gd name="connsiteX110" fmla="*/ 335756 w 1562100"/>
                  <a:gd name="connsiteY110" fmla="*/ 1245393 h 1309687"/>
                  <a:gd name="connsiteX111" fmla="*/ 309563 w 1562100"/>
                  <a:gd name="connsiteY111" fmla="*/ 1262062 h 1309687"/>
                  <a:gd name="connsiteX112" fmla="*/ 297656 w 1562100"/>
                  <a:gd name="connsiteY112" fmla="*/ 1285875 h 1309687"/>
                  <a:gd name="connsiteX113" fmla="*/ 302419 w 1562100"/>
                  <a:gd name="connsiteY113" fmla="*/ 1309687 h 1309687"/>
                  <a:gd name="connsiteX114" fmla="*/ 342900 w 1562100"/>
                  <a:gd name="connsiteY114" fmla="*/ 1309687 h 1309687"/>
                  <a:gd name="connsiteX115" fmla="*/ 390525 w 1562100"/>
                  <a:gd name="connsiteY115" fmla="*/ 1304925 h 1309687"/>
                  <a:gd name="connsiteX116" fmla="*/ 428625 w 1562100"/>
                  <a:gd name="connsiteY116" fmla="*/ 1295400 h 1309687"/>
                  <a:gd name="connsiteX117" fmla="*/ 454819 w 1562100"/>
                  <a:gd name="connsiteY117" fmla="*/ 1302543 h 1309687"/>
                  <a:gd name="connsiteX118" fmla="*/ 473869 w 1562100"/>
                  <a:gd name="connsiteY118" fmla="*/ 1281112 h 1309687"/>
                  <a:gd name="connsiteX119" fmla="*/ 492919 w 1562100"/>
                  <a:gd name="connsiteY119" fmla="*/ 1281112 h 1309687"/>
                  <a:gd name="connsiteX120" fmla="*/ 507206 w 1562100"/>
                  <a:gd name="connsiteY120" fmla="*/ 1250156 h 1309687"/>
                  <a:gd name="connsiteX121" fmla="*/ 557213 w 1562100"/>
                  <a:gd name="connsiteY121" fmla="*/ 1235868 h 1309687"/>
                  <a:gd name="connsiteX122" fmla="*/ 583406 w 1562100"/>
                  <a:gd name="connsiteY122" fmla="*/ 1216818 h 1309687"/>
                  <a:gd name="connsiteX123" fmla="*/ 590550 w 1562100"/>
                  <a:gd name="connsiteY123" fmla="*/ 1178718 h 1309687"/>
                  <a:gd name="connsiteX124" fmla="*/ 607219 w 1562100"/>
                  <a:gd name="connsiteY124" fmla="*/ 1152525 h 1309687"/>
                  <a:gd name="connsiteX125" fmla="*/ 688181 w 1562100"/>
                  <a:gd name="connsiteY125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02456 w 1562100"/>
                  <a:gd name="connsiteY54" fmla="*/ 133351 h 1309687"/>
                  <a:gd name="connsiteX55" fmla="*/ 628650 w 1562100"/>
                  <a:gd name="connsiteY55" fmla="*/ 88107 h 1309687"/>
                  <a:gd name="connsiteX56" fmla="*/ 500062 w 1562100"/>
                  <a:gd name="connsiteY56" fmla="*/ 66676 h 1309687"/>
                  <a:gd name="connsiteX57" fmla="*/ 450056 w 1562100"/>
                  <a:gd name="connsiteY57" fmla="*/ 2382 h 1309687"/>
                  <a:gd name="connsiteX58" fmla="*/ 428625 w 1562100"/>
                  <a:gd name="connsiteY58" fmla="*/ 0 h 1309687"/>
                  <a:gd name="connsiteX59" fmla="*/ 376238 w 1562100"/>
                  <a:gd name="connsiteY59" fmla="*/ 104775 h 1309687"/>
                  <a:gd name="connsiteX60" fmla="*/ 314326 w 1562100"/>
                  <a:gd name="connsiteY60" fmla="*/ 104774 h 1309687"/>
                  <a:gd name="connsiteX61" fmla="*/ 328613 w 1562100"/>
                  <a:gd name="connsiteY61" fmla="*/ 183356 h 1309687"/>
                  <a:gd name="connsiteX62" fmla="*/ 292894 w 1562100"/>
                  <a:gd name="connsiteY62" fmla="*/ 285750 h 1309687"/>
                  <a:gd name="connsiteX63" fmla="*/ 264319 w 1562100"/>
                  <a:gd name="connsiteY63" fmla="*/ 292893 h 1309687"/>
                  <a:gd name="connsiteX64" fmla="*/ 261938 w 1562100"/>
                  <a:gd name="connsiteY64" fmla="*/ 307181 h 1309687"/>
                  <a:gd name="connsiteX65" fmla="*/ 261938 w 1562100"/>
                  <a:gd name="connsiteY65" fmla="*/ 340518 h 1309687"/>
                  <a:gd name="connsiteX66" fmla="*/ 228600 w 1562100"/>
                  <a:gd name="connsiteY66" fmla="*/ 383381 h 1309687"/>
                  <a:gd name="connsiteX67" fmla="*/ 271463 w 1562100"/>
                  <a:gd name="connsiteY67" fmla="*/ 400050 h 1309687"/>
                  <a:gd name="connsiteX68" fmla="*/ 278606 w 1562100"/>
                  <a:gd name="connsiteY68" fmla="*/ 419100 h 1309687"/>
                  <a:gd name="connsiteX69" fmla="*/ 257175 w 1562100"/>
                  <a:gd name="connsiteY69" fmla="*/ 454818 h 1309687"/>
                  <a:gd name="connsiteX70" fmla="*/ 221456 w 1562100"/>
                  <a:gd name="connsiteY70" fmla="*/ 464343 h 1309687"/>
                  <a:gd name="connsiteX71" fmla="*/ 221456 w 1562100"/>
                  <a:gd name="connsiteY71" fmla="*/ 504825 h 1309687"/>
                  <a:gd name="connsiteX72" fmla="*/ 254794 w 1562100"/>
                  <a:gd name="connsiteY72" fmla="*/ 542925 h 1309687"/>
                  <a:gd name="connsiteX73" fmla="*/ 226219 w 1562100"/>
                  <a:gd name="connsiteY73" fmla="*/ 607218 h 1309687"/>
                  <a:gd name="connsiteX74" fmla="*/ 180975 w 1562100"/>
                  <a:gd name="connsiteY74" fmla="*/ 635793 h 1309687"/>
                  <a:gd name="connsiteX75" fmla="*/ 183356 w 1562100"/>
                  <a:gd name="connsiteY75" fmla="*/ 652462 h 1309687"/>
                  <a:gd name="connsiteX76" fmla="*/ 204788 w 1562100"/>
                  <a:gd name="connsiteY76" fmla="*/ 661987 h 1309687"/>
                  <a:gd name="connsiteX77" fmla="*/ 219075 w 1562100"/>
                  <a:gd name="connsiteY77" fmla="*/ 671512 h 1309687"/>
                  <a:gd name="connsiteX78" fmla="*/ 223838 w 1562100"/>
                  <a:gd name="connsiteY78" fmla="*/ 690562 h 1309687"/>
                  <a:gd name="connsiteX79" fmla="*/ 195263 w 1562100"/>
                  <a:gd name="connsiteY79" fmla="*/ 716756 h 1309687"/>
                  <a:gd name="connsiteX80" fmla="*/ 123825 w 1562100"/>
                  <a:gd name="connsiteY80" fmla="*/ 762000 h 1309687"/>
                  <a:gd name="connsiteX81" fmla="*/ 123825 w 1562100"/>
                  <a:gd name="connsiteY81" fmla="*/ 797718 h 1309687"/>
                  <a:gd name="connsiteX82" fmla="*/ 135731 w 1562100"/>
                  <a:gd name="connsiteY82" fmla="*/ 828675 h 1309687"/>
                  <a:gd name="connsiteX83" fmla="*/ 123825 w 1562100"/>
                  <a:gd name="connsiteY83" fmla="*/ 869156 h 1309687"/>
                  <a:gd name="connsiteX84" fmla="*/ 76200 w 1562100"/>
                  <a:gd name="connsiteY84" fmla="*/ 864393 h 1309687"/>
                  <a:gd name="connsiteX85" fmla="*/ 52388 w 1562100"/>
                  <a:gd name="connsiteY85" fmla="*/ 809625 h 1309687"/>
                  <a:gd name="connsiteX86" fmla="*/ 33338 w 1562100"/>
                  <a:gd name="connsiteY86" fmla="*/ 802481 h 1309687"/>
                  <a:gd name="connsiteX87" fmla="*/ 23813 w 1562100"/>
                  <a:gd name="connsiteY87" fmla="*/ 840581 h 1309687"/>
                  <a:gd name="connsiteX88" fmla="*/ 21431 w 1562100"/>
                  <a:gd name="connsiteY88" fmla="*/ 850106 h 1309687"/>
                  <a:gd name="connsiteX89" fmla="*/ 7144 w 1562100"/>
                  <a:gd name="connsiteY89" fmla="*/ 866775 h 1309687"/>
                  <a:gd name="connsiteX90" fmla="*/ 0 w 1562100"/>
                  <a:gd name="connsiteY90" fmla="*/ 923925 h 1309687"/>
                  <a:gd name="connsiteX91" fmla="*/ 23813 w 1562100"/>
                  <a:gd name="connsiteY91" fmla="*/ 952500 h 1309687"/>
                  <a:gd name="connsiteX92" fmla="*/ 16669 w 1562100"/>
                  <a:gd name="connsiteY92" fmla="*/ 992981 h 1309687"/>
                  <a:gd name="connsiteX93" fmla="*/ 35719 w 1562100"/>
                  <a:gd name="connsiteY93" fmla="*/ 997743 h 1309687"/>
                  <a:gd name="connsiteX94" fmla="*/ 69056 w 1562100"/>
                  <a:gd name="connsiteY94" fmla="*/ 997743 h 1309687"/>
                  <a:gd name="connsiteX95" fmla="*/ 85725 w 1562100"/>
                  <a:gd name="connsiteY95" fmla="*/ 988218 h 1309687"/>
                  <a:gd name="connsiteX96" fmla="*/ 135731 w 1562100"/>
                  <a:gd name="connsiteY96" fmla="*/ 1045368 h 1309687"/>
                  <a:gd name="connsiteX97" fmla="*/ 123825 w 1562100"/>
                  <a:gd name="connsiteY97" fmla="*/ 1064418 h 1309687"/>
                  <a:gd name="connsiteX98" fmla="*/ 133350 w 1562100"/>
                  <a:gd name="connsiteY98" fmla="*/ 1092993 h 1309687"/>
                  <a:gd name="connsiteX99" fmla="*/ 164306 w 1562100"/>
                  <a:gd name="connsiteY99" fmla="*/ 1112043 h 1309687"/>
                  <a:gd name="connsiteX100" fmla="*/ 190500 w 1562100"/>
                  <a:gd name="connsiteY100" fmla="*/ 1121568 h 1309687"/>
                  <a:gd name="connsiteX101" fmla="*/ 216694 w 1562100"/>
                  <a:gd name="connsiteY101" fmla="*/ 1128712 h 1309687"/>
                  <a:gd name="connsiteX102" fmla="*/ 228600 w 1562100"/>
                  <a:gd name="connsiteY102" fmla="*/ 1131093 h 1309687"/>
                  <a:gd name="connsiteX103" fmla="*/ 240506 w 1562100"/>
                  <a:gd name="connsiteY103" fmla="*/ 1092993 h 1309687"/>
                  <a:gd name="connsiteX104" fmla="*/ 269081 w 1562100"/>
                  <a:gd name="connsiteY104" fmla="*/ 1097756 h 1309687"/>
                  <a:gd name="connsiteX105" fmla="*/ 288131 w 1562100"/>
                  <a:gd name="connsiteY105" fmla="*/ 1085850 h 1309687"/>
                  <a:gd name="connsiteX106" fmla="*/ 307181 w 1562100"/>
                  <a:gd name="connsiteY106" fmla="*/ 1135856 h 1309687"/>
                  <a:gd name="connsiteX107" fmla="*/ 330994 w 1562100"/>
                  <a:gd name="connsiteY107" fmla="*/ 1150143 h 1309687"/>
                  <a:gd name="connsiteX108" fmla="*/ 340519 w 1562100"/>
                  <a:gd name="connsiteY108" fmla="*/ 1178718 h 1309687"/>
                  <a:gd name="connsiteX109" fmla="*/ 357188 w 1562100"/>
                  <a:gd name="connsiteY109" fmla="*/ 1188243 h 1309687"/>
                  <a:gd name="connsiteX110" fmla="*/ 364331 w 1562100"/>
                  <a:gd name="connsiteY110" fmla="*/ 1219200 h 1309687"/>
                  <a:gd name="connsiteX111" fmla="*/ 335756 w 1562100"/>
                  <a:gd name="connsiteY111" fmla="*/ 1245393 h 1309687"/>
                  <a:gd name="connsiteX112" fmla="*/ 309563 w 1562100"/>
                  <a:gd name="connsiteY112" fmla="*/ 1262062 h 1309687"/>
                  <a:gd name="connsiteX113" fmla="*/ 297656 w 1562100"/>
                  <a:gd name="connsiteY113" fmla="*/ 1285875 h 1309687"/>
                  <a:gd name="connsiteX114" fmla="*/ 302419 w 1562100"/>
                  <a:gd name="connsiteY114" fmla="*/ 1309687 h 1309687"/>
                  <a:gd name="connsiteX115" fmla="*/ 342900 w 1562100"/>
                  <a:gd name="connsiteY115" fmla="*/ 1309687 h 1309687"/>
                  <a:gd name="connsiteX116" fmla="*/ 390525 w 1562100"/>
                  <a:gd name="connsiteY116" fmla="*/ 1304925 h 1309687"/>
                  <a:gd name="connsiteX117" fmla="*/ 428625 w 1562100"/>
                  <a:gd name="connsiteY117" fmla="*/ 1295400 h 1309687"/>
                  <a:gd name="connsiteX118" fmla="*/ 454819 w 1562100"/>
                  <a:gd name="connsiteY118" fmla="*/ 1302543 h 1309687"/>
                  <a:gd name="connsiteX119" fmla="*/ 473869 w 1562100"/>
                  <a:gd name="connsiteY119" fmla="*/ 1281112 h 1309687"/>
                  <a:gd name="connsiteX120" fmla="*/ 492919 w 1562100"/>
                  <a:gd name="connsiteY120" fmla="*/ 1281112 h 1309687"/>
                  <a:gd name="connsiteX121" fmla="*/ 507206 w 1562100"/>
                  <a:gd name="connsiteY121" fmla="*/ 1250156 h 1309687"/>
                  <a:gd name="connsiteX122" fmla="*/ 557213 w 1562100"/>
                  <a:gd name="connsiteY122" fmla="*/ 1235868 h 1309687"/>
                  <a:gd name="connsiteX123" fmla="*/ 583406 w 1562100"/>
                  <a:gd name="connsiteY123" fmla="*/ 1216818 h 1309687"/>
                  <a:gd name="connsiteX124" fmla="*/ 590550 w 1562100"/>
                  <a:gd name="connsiteY124" fmla="*/ 1178718 h 1309687"/>
                  <a:gd name="connsiteX125" fmla="*/ 607219 w 1562100"/>
                  <a:gd name="connsiteY125" fmla="*/ 1152525 h 1309687"/>
                  <a:gd name="connsiteX126" fmla="*/ 688181 w 1562100"/>
                  <a:gd name="connsiteY126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57225 w 1562100"/>
                  <a:gd name="connsiteY54" fmla="*/ 64294 h 1309687"/>
                  <a:gd name="connsiteX55" fmla="*/ 628650 w 1562100"/>
                  <a:gd name="connsiteY55" fmla="*/ 88107 h 1309687"/>
                  <a:gd name="connsiteX56" fmla="*/ 500062 w 1562100"/>
                  <a:gd name="connsiteY56" fmla="*/ 66676 h 1309687"/>
                  <a:gd name="connsiteX57" fmla="*/ 450056 w 1562100"/>
                  <a:gd name="connsiteY57" fmla="*/ 2382 h 1309687"/>
                  <a:gd name="connsiteX58" fmla="*/ 428625 w 1562100"/>
                  <a:gd name="connsiteY58" fmla="*/ 0 h 1309687"/>
                  <a:gd name="connsiteX59" fmla="*/ 376238 w 1562100"/>
                  <a:gd name="connsiteY59" fmla="*/ 104775 h 1309687"/>
                  <a:gd name="connsiteX60" fmla="*/ 314326 w 1562100"/>
                  <a:gd name="connsiteY60" fmla="*/ 104774 h 1309687"/>
                  <a:gd name="connsiteX61" fmla="*/ 328613 w 1562100"/>
                  <a:gd name="connsiteY61" fmla="*/ 183356 h 1309687"/>
                  <a:gd name="connsiteX62" fmla="*/ 292894 w 1562100"/>
                  <a:gd name="connsiteY62" fmla="*/ 285750 h 1309687"/>
                  <a:gd name="connsiteX63" fmla="*/ 264319 w 1562100"/>
                  <a:gd name="connsiteY63" fmla="*/ 292893 h 1309687"/>
                  <a:gd name="connsiteX64" fmla="*/ 261938 w 1562100"/>
                  <a:gd name="connsiteY64" fmla="*/ 307181 h 1309687"/>
                  <a:gd name="connsiteX65" fmla="*/ 261938 w 1562100"/>
                  <a:gd name="connsiteY65" fmla="*/ 340518 h 1309687"/>
                  <a:gd name="connsiteX66" fmla="*/ 228600 w 1562100"/>
                  <a:gd name="connsiteY66" fmla="*/ 383381 h 1309687"/>
                  <a:gd name="connsiteX67" fmla="*/ 271463 w 1562100"/>
                  <a:gd name="connsiteY67" fmla="*/ 400050 h 1309687"/>
                  <a:gd name="connsiteX68" fmla="*/ 278606 w 1562100"/>
                  <a:gd name="connsiteY68" fmla="*/ 419100 h 1309687"/>
                  <a:gd name="connsiteX69" fmla="*/ 257175 w 1562100"/>
                  <a:gd name="connsiteY69" fmla="*/ 454818 h 1309687"/>
                  <a:gd name="connsiteX70" fmla="*/ 221456 w 1562100"/>
                  <a:gd name="connsiteY70" fmla="*/ 464343 h 1309687"/>
                  <a:gd name="connsiteX71" fmla="*/ 221456 w 1562100"/>
                  <a:gd name="connsiteY71" fmla="*/ 504825 h 1309687"/>
                  <a:gd name="connsiteX72" fmla="*/ 254794 w 1562100"/>
                  <a:gd name="connsiteY72" fmla="*/ 542925 h 1309687"/>
                  <a:gd name="connsiteX73" fmla="*/ 226219 w 1562100"/>
                  <a:gd name="connsiteY73" fmla="*/ 607218 h 1309687"/>
                  <a:gd name="connsiteX74" fmla="*/ 180975 w 1562100"/>
                  <a:gd name="connsiteY74" fmla="*/ 635793 h 1309687"/>
                  <a:gd name="connsiteX75" fmla="*/ 183356 w 1562100"/>
                  <a:gd name="connsiteY75" fmla="*/ 652462 h 1309687"/>
                  <a:gd name="connsiteX76" fmla="*/ 204788 w 1562100"/>
                  <a:gd name="connsiteY76" fmla="*/ 661987 h 1309687"/>
                  <a:gd name="connsiteX77" fmla="*/ 219075 w 1562100"/>
                  <a:gd name="connsiteY77" fmla="*/ 671512 h 1309687"/>
                  <a:gd name="connsiteX78" fmla="*/ 223838 w 1562100"/>
                  <a:gd name="connsiteY78" fmla="*/ 690562 h 1309687"/>
                  <a:gd name="connsiteX79" fmla="*/ 195263 w 1562100"/>
                  <a:gd name="connsiteY79" fmla="*/ 716756 h 1309687"/>
                  <a:gd name="connsiteX80" fmla="*/ 123825 w 1562100"/>
                  <a:gd name="connsiteY80" fmla="*/ 762000 h 1309687"/>
                  <a:gd name="connsiteX81" fmla="*/ 123825 w 1562100"/>
                  <a:gd name="connsiteY81" fmla="*/ 797718 h 1309687"/>
                  <a:gd name="connsiteX82" fmla="*/ 135731 w 1562100"/>
                  <a:gd name="connsiteY82" fmla="*/ 828675 h 1309687"/>
                  <a:gd name="connsiteX83" fmla="*/ 123825 w 1562100"/>
                  <a:gd name="connsiteY83" fmla="*/ 869156 h 1309687"/>
                  <a:gd name="connsiteX84" fmla="*/ 76200 w 1562100"/>
                  <a:gd name="connsiteY84" fmla="*/ 864393 h 1309687"/>
                  <a:gd name="connsiteX85" fmla="*/ 52388 w 1562100"/>
                  <a:gd name="connsiteY85" fmla="*/ 809625 h 1309687"/>
                  <a:gd name="connsiteX86" fmla="*/ 33338 w 1562100"/>
                  <a:gd name="connsiteY86" fmla="*/ 802481 h 1309687"/>
                  <a:gd name="connsiteX87" fmla="*/ 23813 w 1562100"/>
                  <a:gd name="connsiteY87" fmla="*/ 840581 h 1309687"/>
                  <a:gd name="connsiteX88" fmla="*/ 21431 w 1562100"/>
                  <a:gd name="connsiteY88" fmla="*/ 850106 h 1309687"/>
                  <a:gd name="connsiteX89" fmla="*/ 7144 w 1562100"/>
                  <a:gd name="connsiteY89" fmla="*/ 866775 h 1309687"/>
                  <a:gd name="connsiteX90" fmla="*/ 0 w 1562100"/>
                  <a:gd name="connsiteY90" fmla="*/ 923925 h 1309687"/>
                  <a:gd name="connsiteX91" fmla="*/ 23813 w 1562100"/>
                  <a:gd name="connsiteY91" fmla="*/ 952500 h 1309687"/>
                  <a:gd name="connsiteX92" fmla="*/ 16669 w 1562100"/>
                  <a:gd name="connsiteY92" fmla="*/ 992981 h 1309687"/>
                  <a:gd name="connsiteX93" fmla="*/ 35719 w 1562100"/>
                  <a:gd name="connsiteY93" fmla="*/ 997743 h 1309687"/>
                  <a:gd name="connsiteX94" fmla="*/ 69056 w 1562100"/>
                  <a:gd name="connsiteY94" fmla="*/ 997743 h 1309687"/>
                  <a:gd name="connsiteX95" fmla="*/ 85725 w 1562100"/>
                  <a:gd name="connsiteY95" fmla="*/ 988218 h 1309687"/>
                  <a:gd name="connsiteX96" fmla="*/ 135731 w 1562100"/>
                  <a:gd name="connsiteY96" fmla="*/ 1045368 h 1309687"/>
                  <a:gd name="connsiteX97" fmla="*/ 123825 w 1562100"/>
                  <a:gd name="connsiteY97" fmla="*/ 1064418 h 1309687"/>
                  <a:gd name="connsiteX98" fmla="*/ 133350 w 1562100"/>
                  <a:gd name="connsiteY98" fmla="*/ 1092993 h 1309687"/>
                  <a:gd name="connsiteX99" fmla="*/ 164306 w 1562100"/>
                  <a:gd name="connsiteY99" fmla="*/ 1112043 h 1309687"/>
                  <a:gd name="connsiteX100" fmla="*/ 190500 w 1562100"/>
                  <a:gd name="connsiteY100" fmla="*/ 1121568 h 1309687"/>
                  <a:gd name="connsiteX101" fmla="*/ 216694 w 1562100"/>
                  <a:gd name="connsiteY101" fmla="*/ 1128712 h 1309687"/>
                  <a:gd name="connsiteX102" fmla="*/ 228600 w 1562100"/>
                  <a:gd name="connsiteY102" fmla="*/ 1131093 h 1309687"/>
                  <a:gd name="connsiteX103" fmla="*/ 240506 w 1562100"/>
                  <a:gd name="connsiteY103" fmla="*/ 1092993 h 1309687"/>
                  <a:gd name="connsiteX104" fmla="*/ 269081 w 1562100"/>
                  <a:gd name="connsiteY104" fmla="*/ 1097756 h 1309687"/>
                  <a:gd name="connsiteX105" fmla="*/ 288131 w 1562100"/>
                  <a:gd name="connsiteY105" fmla="*/ 1085850 h 1309687"/>
                  <a:gd name="connsiteX106" fmla="*/ 307181 w 1562100"/>
                  <a:gd name="connsiteY106" fmla="*/ 1135856 h 1309687"/>
                  <a:gd name="connsiteX107" fmla="*/ 330994 w 1562100"/>
                  <a:gd name="connsiteY107" fmla="*/ 1150143 h 1309687"/>
                  <a:gd name="connsiteX108" fmla="*/ 340519 w 1562100"/>
                  <a:gd name="connsiteY108" fmla="*/ 1178718 h 1309687"/>
                  <a:gd name="connsiteX109" fmla="*/ 357188 w 1562100"/>
                  <a:gd name="connsiteY109" fmla="*/ 1188243 h 1309687"/>
                  <a:gd name="connsiteX110" fmla="*/ 364331 w 1562100"/>
                  <a:gd name="connsiteY110" fmla="*/ 1219200 h 1309687"/>
                  <a:gd name="connsiteX111" fmla="*/ 335756 w 1562100"/>
                  <a:gd name="connsiteY111" fmla="*/ 1245393 h 1309687"/>
                  <a:gd name="connsiteX112" fmla="*/ 309563 w 1562100"/>
                  <a:gd name="connsiteY112" fmla="*/ 1262062 h 1309687"/>
                  <a:gd name="connsiteX113" fmla="*/ 297656 w 1562100"/>
                  <a:gd name="connsiteY113" fmla="*/ 1285875 h 1309687"/>
                  <a:gd name="connsiteX114" fmla="*/ 302419 w 1562100"/>
                  <a:gd name="connsiteY114" fmla="*/ 1309687 h 1309687"/>
                  <a:gd name="connsiteX115" fmla="*/ 342900 w 1562100"/>
                  <a:gd name="connsiteY115" fmla="*/ 1309687 h 1309687"/>
                  <a:gd name="connsiteX116" fmla="*/ 390525 w 1562100"/>
                  <a:gd name="connsiteY116" fmla="*/ 1304925 h 1309687"/>
                  <a:gd name="connsiteX117" fmla="*/ 428625 w 1562100"/>
                  <a:gd name="connsiteY117" fmla="*/ 1295400 h 1309687"/>
                  <a:gd name="connsiteX118" fmla="*/ 454819 w 1562100"/>
                  <a:gd name="connsiteY118" fmla="*/ 1302543 h 1309687"/>
                  <a:gd name="connsiteX119" fmla="*/ 473869 w 1562100"/>
                  <a:gd name="connsiteY119" fmla="*/ 1281112 h 1309687"/>
                  <a:gd name="connsiteX120" fmla="*/ 492919 w 1562100"/>
                  <a:gd name="connsiteY120" fmla="*/ 1281112 h 1309687"/>
                  <a:gd name="connsiteX121" fmla="*/ 507206 w 1562100"/>
                  <a:gd name="connsiteY121" fmla="*/ 1250156 h 1309687"/>
                  <a:gd name="connsiteX122" fmla="*/ 557213 w 1562100"/>
                  <a:gd name="connsiteY122" fmla="*/ 1235868 h 1309687"/>
                  <a:gd name="connsiteX123" fmla="*/ 583406 w 1562100"/>
                  <a:gd name="connsiteY123" fmla="*/ 1216818 h 1309687"/>
                  <a:gd name="connsiteX124" fmla="*/ 590550 w 1562100"/>
                  <a:gd name="connsiteY124" fmla="*/ 1178718 h 1309687"/>
                  <a:gd name="connsiteX125" fmla="*/ 607219 w 1562100"/>
                  <a:gd name="connsiteY125" fmla="*/ 1152525 h 1309687"/>
                  <a:gd name="connsiteX126" fmla="*/ 688181 w 1562100"/>
                  <a:gd name="connsiteY126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71513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4851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2469 w 1562100"/>
                  <a:gd name="connsiteY54" fmla="*/ 152401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2469 w 1562100"/>
                  <a:gd name="connsiteY54" fmla="*/ 152401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81038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81038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92944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4851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562100" h="1309687">
                    <a:moveTo>
                      <a:pt x="688181" y="1183481"/>
                    </a:moveTo>
                    <a:lnTo>
                      <a:pt x="688181" y="1097756"/>
                    </a:lnTo>
                    <a:lnTo>
                      <a:pt x="692944" y="1054893"/>
                    </a:lnTo>
                    <a:lnTo>
                      <a:pt x="692944" y="1009650"/>
                    </a:lnTo>
                    <a:lnTo>
                      <a:pt x="676275" y="985837"/>
                    </a:lnTo>
                    <a:lnTo>
                      <a:pt x="690563" y="933450"/>
                    </a:lnTo>
                    <a:lnTo>
                      <a:pt x="685800" y="907256"/>
                    </a:lnTo>
                    <a:lnTo>
                      <a:pt x="697706" y="862012"/>
                    </a:lnTo>
                    <a:lnTo>
                      <a:pt x="714375" y="838200"/>
                    </a:lnTo>
                    <a:lnTo>
                      <a:pt x="721519" y="804862"/>
                    </a:lnTo>
                    <a:lnTo>
                      <a:pt x="735806" y="785812"/>
                    </a:lnTo>
                    <a:lnTo>
                      <a:pt x="792956" y="776287"/>
                    </a:lnTo>
                    <a:lnTo>
                      <a:pt x="838200" y="759618"/>
                    </a:lnTo>
                    <a:lnTo>
                      <a:pt x="876300" y="719137"/>
                    </a:lnTo>
                    <a:lnTo>
                      <a:pt x="923925" y="704850"/>
                    </a:lnTo>
                    <a:lnTo>
                      <a:pt x="995363" y="700087"/>
                    </a:lnTo>
                    <a:lnTo>
                      <a:pt x="1040606" y="690562"/>
                    </a:lnTo>
                    <a:lnTo>
                      <a:pt x="1119188" y="583406"/>
                    </a:lnTo>
                    <a:lnTo>
                      <a:pt x="1126331" y="550068"/>
                    </a:lnTo>
                    <a:lnTo>
                      <a:pt x="1152525" y="521493"/>
                    </a:lnTo>
                    <a:lnTo>
                      <a:pt x="1197769" y="511968"/>
                    </a:lnTo>
                    <a:lnTo>
                      <a:pt x="1290638" y="435768"/>
                    </a:lnTo>
                    <a:lnTo>
                      <a:pt x="1314450" y="433387"/>
                    </a:lnTo>
                    <a:lnTo>
                      <a:pt x="1409700" y="352425"/>
                    </a:lnTo>
                    <a:lnTo>
                      <a:pt x="1414463" y="333375"/>
                    </a:lnTo>
                    <a:lnTo>
                      <a:pt x="1507331" y="278606"/>
                    </a:lnTo>
                    <a:lnTo>
                      <a:pt x="1543050" y="233362"/>
                    </a:lnTo>
                    <a:lnTo>
                      <a:pt x="1562100" y="195262"/>
                    </a:lnTo>
                    <a:lnTo>
                      <a:pt x="1512094" y="214312"/>
                    </a:lnTo>
                    <a:lnTo>
                      <a:pt x="1478756" y="214312"/>
                    </a:lnTo>
                    <a:lnTo>
                      <a:pt x="1452563" y="252412"/>
                    </a:lnTo>
                    <a:lnTo>
                      <a:pt x="1421606" y="250031"/>
                    </a:lnTo>
                    <a:lnTo>
                      <a:pt x="1366838" y="219075"/>
                    </a:lnTo>
                    <a:lnTo>
                      <a:pt x="1323975" y="207168"/>
                    </a:lnTo>
                    <a:lnTo>
                      <a:pt x="1238250" y="242887"/>
                    </a:lnTo>
                    <a:lnTo>
                      <a:pt x="1223963" y="280987"/>
                    </a:lnTo>
                    <a:lnTo>
                      <a:pt x="1195388" y="338137"/>
                    </a:lnTo>
                    <a:lnTo>
                      <a:pt x="1109663" y="300037"/>
                    </a:lnTo>
                    <a:lnTo>
                      <a:pt x="1097756" y="342900"/>
                    </a:lnTo>
                    <a:lnTo>
                      <a:pt x="1083469" y="376237"/>
                    </a:lnTo>
                    <a:lnTo>
                      <a:pt x="959644" y="407193"/>
                    </a:lnTo>
                    <a:lnTo>
                      <a:pt x="945356" y="402431"/>
                    </a:lnTo>
                    <a:lnTo>
                      <a:pt x="926306" y="423862"/>
                    </a:lnTo>
                    <a:lnTo>
                      <a:pt x="890588" y="431006"/>
                    </a:lnTo>
                    <a:lnTo>
                      <a:pt x="854869" y="381000"/>
                    </a:lnTo>
                    <a:lnTo>
                      <a:pt x="835819" y="369093"/>
                    </a:lnTo>
                    <a:lnTo>
                      <a:pt x="826294" y="323850"/>
                    </a:lnTo>
                    <a:lnTo>
                      <a:pt x="792956" y="307181"/>
                    </a:lnTo>
                    <a:lnTo>
                      <a:pt x="759619" y="300037"/>
                    </a:lnTo>
                    <a:lnTo>
                      <a:pt x="740569" y="295275"/>
                    </a:lnTo>
                    <a:lnTo>
                      <a:pt x="728663" y="285750"/>
                    </a:lnTo>
                    <a:lnTo>
                      <a:pt x="735806" y="259556"/>
                    </a:lnTo>
                    <a:lnTo>
                      <a:pt x="742950" y="235743"/>
                    </a:lnTo>
                    <a:lnTo>
                      <a:pt x="700088" y="185737"/>
                    </a:lnTo>
                    <a:cubicBezTo>
                      <a:pt x="693738" y="161925"/>
                      <a:pt x="711995" y="113109"/>
                      <a:pt x="704851" y="92869"/>
                    </a:cubicBezTo>
                    <a:lnTo>
                      <a:pt x="657225" y="64294"/>
                    </a:lnTo>
                    <a:cubicBezTo>
                      <a:pt x="653256" y="63500"/>
                      <a:pt x="632619" y="88901"/>
                      <a:pt x="628650" y="88107"/>
                    </a:cubicBezTo>
                    <a:lnTo>
                      <a:pt x="500062" y="66676"/>
                    </a:lnTo>
                    <a:lnTo>
                      <a:pt x="450056" y="2382"/>
                    </a:lnTo>
                    <a:lnTo>
                      <a:pt x="428625" y="0"/>
                    </a:lnTo>
                    <a:lnTo>
                      <a:pt x="376238" y="104775"/>
                    </a:lnTo>
                    <a:cubicBezTo>
                      <a:pt x="361951" y="76994"/>
                      <a:pt x="340519" y="111124"/>
                      <a:pt x="314326" y="104774"/>
                    </a:cubicBezTo>
                    <a:lnTo>
                      <a:pt x="328613" y="183356"/>
                    </a:lnTo>
                    <a:lnTo>
                      <a:pt x="292894" y="285750"/>
                    </a:lnTo>
                    <a:lnTo>
                      <a:pt x="264319" y="292893"/>
                    </a:lnTo>
                    <a:lnTo>
                      <a:pt x="261938" y="307181"/>
                    </a:lnTo>
                    <a:lnTo>
                      <a:pt x="261938" y="340518"/>
                    </a:lnTo>
                    <a:lnTo>
                      <a:pt x="228600" y="383381"/>
                    </a:lnTo>
                    <a:lnTo>
                      <a:pt x="271463" y="400050"/>
                    </a:lnTo>
                    <a:lnTo>
                      <a:pt x="278606" y="419100"/>
                    </a:lnTo>
                    <a:lnTo>
                      <a:pt x="257175" y="454818"/>
                    </a:lnTo>
                    <a:lnTo>
                      <a:pt x="221456" y="464343"/>
                    </a:lnTo>
                    <a:lnTo>
                      <a:pt x="221456" y="504825"/>
                    </a:lnTo>
                    <a:lnTo>
                      <a:pt x="254794" y="542925"/>
                    </a:lnTo>
                    <a:lnTo>
                      <a:pt x="226219" y="607218"/>
                    </a:lnTo>
                    <a:lnTo>
                      <a:pt x="180975" y="635793"/>
                    </a:lnTo>
                    <a:lnTo>
                      <a:pt x="183356" y="652462"/>
                    </a:lnTo>
                    <a:lnTo>
                      <a:pt x="204788" y="661987"/>
                    </a:lnTo>
                    <a:lnTo>
                      <a:pt x="219075" y="671512"/>
                    </a:lnTo>
                    <a:lnTo>
                      <a:pt x="223838" y="690562"/>
                    </a:lnTo>
                    <a:lnTo>
                      <a:pt x="195263" y="716756"/>
                    </a:lnTo>
                    <a:lnTo>
                      <a:pt x="123825" y="762000"/>
                    </a:lnTo>
                    <a:lnTo>
                      <a:pt x="123825" y="797718"/>
                    </a:lnTo>
                    <a:lnTo>
                      <a:pt x="135731" y="828675"/>
                    </a:lnTo>
                    <a:lnTo>
                      <a:pt x="123825" y="869156"/>
                    </a:lnTo>
                    <a:lnTo>
                      <a:pt x="76200" y="864393"/>
                    </a:lnTo>
                    <a:lnTo>
                      <a:pt x="52388" y="809625"/>
                    </a:lnTo>
                    <a:lnTo>
                      <a:pt x="33338" y="802481"/>
                    </a:lnTo>
                    <a:lnTo>
                      <a:pt x="23813" y="840581"/>
                    </a:lnTo>
                    <a:lnTo>
                      <a:pt x="21431" y="850106"/>
                    </a:lnTo>
                    <a:lnTo>
                      <a:pt x="7144" y="866775"/>
                    </a:lnTo>
                    <a:lnTo>
                      <a:pt x="0" y="923925"/>
                    </a:lnTo>
                    <a:lnTo>
                      <a:pt x="23813" y="952500"/>
                    </a:lnTo>
                    <a:lnTo>
                      <a:pt x="16669" y="992981"/>
                    </a:lnTo>
                    <a:lnTo>
                      <a:pt x="35719" y="997743"/>
                    </a:lnTo>
                    <a:lnTo>
                      <a:pt x="69056" y="997743"/>
                    </a:lnTo>
                    <a:lnTo>
                      <a:pt x="85725" y="988218"/>
                    </a:lnTo>
                    <a:lnTo>
                      <a:pt x="135731" y="1045368"/>
                    </a:lnTo>
                    <a:lnTo>
                      <a:pt x="123825" y="1064418"/>
                    </a:lnTo>
                    <a:lnTo>
                      <a:pt x="133350" y="1092993"/>
                    </a:lnTo>
                    <a:lnTo>
                      <a:pt x="164306" y="1112043"/>
                    </a:lnTo>
                    <a:lnTo>
                      <a:pt x="190500" y="1121568"/>
                    </a:lnTo>
                    <a:lnTo>
                      <a:pt x="216694" y="1128712"/>
                    </a:lnTo>
                    <a:lnTo>
                      <a:pt x="228600" y="1131093"/>
                    </a:lnTo>
                    <a:lnTo>
                      <a:pt x="240506" y="1092993"/>
                    </a:lnTo>
                    <a:lnTo>
                      <a:pt x="269081" y="1097756"/>
                    </a:lnTo>
                    <a:lnTo>
                      <a:pt x="288131" y="1085850"/>
                    </a:lnTo>
                    <a:lnTo>
                      <a:pt x="307181" y="1135856"/>
                    </a:lnTo>
                    <a:lnTo>
                      <a:pt x="330994" y="1150143"/>
                    </a:lnTo>
                    <a:lnTo>
                      <a:pt x="340519" y="1178718"/>
                    </a:lnTo>
                    <a:lnTo>
                      <a:pt x="357188" y="1188243"/>
                    </a:lnTo>
                    <a:lnTo>
                      <a:pt x="364331" y="1219200"/>
                    </a:lnTo>
                    <a:lnTo>
                      <a:pt x="335756" y="1245393"/>
                    </a:lnTo>
                    <a:lnTo>
                      <a:pt x="309563" y="1262062"/>
                    </a:lnTo>
                    <a:lnTo>
                      <a:pt x="297656" y="1285875"/>
                    </a:lnTo>
                    <a:lnTo>
                      <a:pt x="302419" y="1309687"/>
                    </a:lnTo>
                    <a:lnTo>
                      <a:pt x="342900" y="1309687"/>
                    </a:lnTo>
                    <a:lnTo>
                      <a:pt x="390525" y="1304925"/>
                    </a:lnTo>
                    <a:lnTo>
                      <a:pt x="428625" y="1295400"/>
                    </a:lnTo>
                    <a:lnTo>
                      <a:pt x="454819" y="1302543"/>
                    </a:lnTo>
                    <a:lnTo>
                      <a:pt x="473869" y="1281112"/>
                    </a:lnTo>
                    <a:lnTo>
                      <a:pt x="492919" y="1281112"/>
                    </a:lnTo>
                    <a:lnTo>
                      <a:pt x="507206" y="1250156"/>
                    </a:lnTo>
                    <a:lnTo>
                      <a:pt x="557213" y="1235868"/>
                    </a:lnTo>
                    <a:lnTo>
                      <a:pt x="583406" y="1216818"/>
                    </a:lnTo>
                    <a:lnTo>
                      <a:pt x="590550" y="1178718"/>
                    </a:lnTo>
                    <a:lnTo>
                      <a:pt x="607219" y="1152525"/>
                    </a:lnTo>
                    <a:lnTo>
                      <a:pt x="688181" y="1183481"/>
                    </a:lnTo>
                    <a:close/>
                  </a:path>
                </a:pathLst>
              </a:custGeom>
              <a:solidFill>
                <a:srgbClr val="92D050"/>
              </a:solidFill>
              <a:ln w="12700" cap="flat" cmpd="sng" algn="ctr">
                <a:solidFill>
                  <a:srgbClr val="00B0F0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5872" name="Group 151">
                <a:extLst>
                  <a:ext uri="{FF2B5EF4-FFF2-40B4-BE49-F238E27FC236}">
                    <a16:creationId xmlns:a16="http://schemas.microsoft.com/office/drawing/2014/main" id="{C9031AED-2826-8A17-D456-48ADF4D4953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00721" y="4350676"/>
                <a:ext cx="1687782" cy="2020686"/>
                <a:chOff x="1511112" y="4350676"/>
                <a:chExt cx="1687782" cy="2020686"/>
              </a:xfrm>
            </p:grpSpPr>
            <p:sp>
              <p:nvSpPr>
                <p:cNvPr id="153" name="Freeform 382">
                  <a:extLst>
                    <a:ext uri="{FF2B5EF4-FFF2-40B4-BE49-F238E27FC236}">
                      <a16:creationId xmlns:a16="http://schemas.microsoft.com/office/drawing/2014/main" id="{286CFBD7-6292-22E1-81CB-5F660CB9E487}"/>
                    </a:ext>
                  </a:extLst>
                </p:cNvPr>
                <p:cNvSpPr/>
                <p:nvPr/>
              </p:nvSpPr>
              <p:spPr>
                <a:xfrm>
                  <a:off x="1510552" y="4851478"/>
                  <a:ext cx="132351" cy="168117"/>
                </a:xfrm>
                <a:custGeom>
                  <a:avLst/>
                  <a:gdLst>
                    <a:gd name="connsiteX0" fmla="*/ 0 w 116681"/>
                    <a:gd name="connsiteY0" fmla="*/ 0 h 157163"/>
                    <a:gd name="connsiteX1" fmla="*/ 38100 w 116681"/>
                    <a:gd name="connsiteY1" fmla="*/ 97632 h 157163"/>
                    <a:gd name="connsiteX2" fmla="*/ 90488 w 116681"/>
                    <a:gd name="connsiteY2" fmla="*/ 157163 h 157163"/>
                    <a:gd name="connsiteX3" fmla="*/ 109538 w 116681"/>
                    <a:gd name="connsiteY3" fmla="*/ 121444 h 157163"/>
                    <a:gd name="connsiteX4" fmla="*/ 116681 w 116681"/>
                    <a:gd name="connsiteY4" fmla="*/ 97632 h 157163"/>
                    <a:gd name="connsiteX5" fmla="*/ 111919 w 116681"/>
                    <a:gd name="connsiteY5" fmla="*/ 50007 h 157163"/>
                    <a:gd name="connsiteX6" fmla="*/ 0 w 116681"/>
                    <a:gd name="connsiteY6" fmla="*/ 0 h 157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681" h="157163">
                      <a:moveTo>
                        <a:pt x="0" y="0"/>
                      </a:moveTo>
                      <a:lnTo>
                        <a:pt x="38100" y="97632"/>
                      </a:lnTo>
                      <a:lnTo>
                        <a:pt x="90488" y="157163"/>
                      </a:lnTo>
                      <a:lnTo>
                        <a:pt x="109538" y="121444"/>
                      </a:lnTo>
                      <a:lnTo>
                        <a:pt x="116681" y="97632"/>
                      </a:lnTo>
                      <a:lnTo>
                        <a:pt x="111919" y="5000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B9BD5">
                    <a:lumMod val="75000"/>
                  </a:srgbClr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383">
                  <a:extLst>
                    <a:ext uri="{FF2B5EF4-FFF2-40B4-BE49-F238E27FC236}">
                      <a16:creationId xmlns:a16="http://schemas.microsoft.com/office/drawing/2014/main" id="{E6F888BE-2DDB-426D-7AFA-973678038AF3}"/>
                    </a:ext>
                  </a:extLst>
                </p:cNvPr>
                <p:cNvSpPr/>
                <p:nvPr/>
              </p:nvSpPr>
              <p:spPr>
                <a:xfrm rot="21396613">
                  <a:off x="1610157" y="4351229"/>
                  <a:ext cx="856875" cy="1361335"/>
                </a:xfrm>
                <a:custGeom>
                  <a:avLst/>
                  <a:gdLst>
                    <a:gd name="connsiteX0" fmla="*/ 0 w 783431"/>
                    <a:gd name="connsiteY0" fmla="*/ 614363 h 1090613"/>
                    <a:gd name="connsiteX1" fmla="*/ 21431 w 783431"/>
                    <a:gd name="connsiteY1" fmla="*/ 661988 h 1090613"/>
                    <a:gd name="connsiteX2" fmla="*/ 28575 w 783431"/>
                    <a:gd name="connsiteY2" fmla="*/ 742950 h 1090613"/>
                    <a:gd name="connsiteX3" fmla="*/ 76200 w 783431"/>
                    <a:gd name="connsiteY3" fmla="*/ 814388 h 1090613"/>
                    <a:gd name="connsiteX4" fmla="*/ 102394 w 783431"/>
                    <a:gd name="connsiteY4" fmla="*/ 919163 h 1090613"/>
                    <a:gd name="connsiteX5" fmla="*/ 116681 w 783431"/>
                    <a:gd name="connsiteY5" fmla="*/ 947738 h 1090613"/>
                    <a:gd name="connsiteX6" fmla="*/ 130969 w 783431"/>
                    <a:gd name="connsiteY6" fmla="*/ 995363 h 1090613"/>
                    <a:gd name="connsiteX7" fmla="*/ 150019 w 783431"/>
                    <a:gd name="connsiteY7" fmla="*/ 1023938 h 1090613"/>
                    <a:gd name="connsiteX8" fmla="*/ 159544 w 783431"/>
                    <a:gd name="connsiteY8" fmla="*/ 1042988 h 1090613"/>
                    <a:gd name="connsiteX9" fmla="*/ 197644 w 783431"/>
                    <a:gd name="connsiteY9" fmla="*/ 1069182 h 1090613"/>
                    <a:gd name="connsiteX10" fmla="*/ 245269 w 783431"/>
                    <a:gd name="connsiteY10" fmla="*/ 1090613 h 1090613"/>
                    <a:gd name="connsiteX11" fmla="*/ 604837 w 783431"/>
                    <a:gd name="connsiteY11" fmla="*/ 1085850 h 1090613"/>
                    <a:gd name="connsiteX12" fmla="*/ 585787 w 783431"/>
                    <a:gd name="connsiteY12" fmla="*/ 1035844 h 1090613"/>
                    <a:gd name="connsiteX13" fmla="*/ 607219 w 783431"/>
                    <a:gd name="connsiteY13" fmla="*/ 1021557 h 1090613"/>
                    <a:gd name="connsiteX14" fmla="*/ 645319 w 783431"/>
                    <a:gd name="connsiteY14" fmla="*/ 1016794 h 1090613"/>
                    <a:gd name="connsiteX15" fmla="*/ 685800 w 783431"/>
                    <a:gd name="connsiteY15" fmla="*/ 997744 h 1090613"/>
                    <a:gd name="connsiteX16" fmla="*/ 716756 w 783431"/>
                    <a:gd name="connsiteY16" fmla="*/ 1002507 h 1090613"/>
                    <a:gd name="connsiteX17" fmla="*/ 738187 w 783431"/>
                    <a:gd name="connsiteY17" fmla="*/ 969169 h 1090613"/>
                    <a:gd name="connsiteX18" fmla="*/ 783431 w 783431"/>
                    <a:gd name="connsiteY18" fmla="*/ 933450 h 1090613"/>
                    <a:gd name="connsiteX19" fmla="*/ 776287 w 783431"/>
                    <a:gd name="connsiteY19" fmla="*/ 907257 h 1090613"/>
                    <a:gd name="connsiteX20" fmla="*/ 752475 w 783431"/>
                    <a:gd name="connsiteY20" fmla="*/ 888207 h 1090613"/>
                    <a:gd name="connsiteX21" fmla="*/ 752475 w 783431"/>
                    <a:gd name="connsiteY21" fmla="*/ 864394 h 1090613"/>
                    <a:gd name="connsiteX22" fmla="*/ 728662 w 783431"/>
                    <a:gd name="connsiteY22" fmla="*/ 852488 h 1090613"/>
                    <a:gd name="connsiteX23" fmla="*/ 711994 w 783431"/>
                    <a:gd name="connsiteY23" fmla="*/ 802482 h 1090613"/>
                    <a:gd name="connsiteX24" fmla="*/ 688181 w 783431"/>
                    <a:gd name="connsiteY24" fmla="*/ 814388 h 1090613"/>
                    <a:gd name="connsiteX25" fmla="*/ 659606 w 783431"/>
                    <a:gd name="connsiteY25" fmla="*/ 814388 h 1090613"/>
                    <a:gd name="connsiteX26" fmla="*/ 647700 w 783431"/>
                    <a:gd name="connsiteY26" fmla="*/ 847725 h 1090613"/>
                    <a:gd name="connsiteX27" fmla="*/ 623887 w 783431"/>
                    <a:gd name="connsiteY27" fmla="*/ 847725 h 1090613"/>
                    <a:gd name="connsiteX28" fmla="*/ 576262 w 783431"/>
                    <a:gd name="connsiteY28" fmla="*/ 828675 h 1090613"/>
                    <a:gd name="connsiteX29" fmla="*/ 554831 w 783431"/>
                    <a:gd name="connsiteY29" fmla="*/ 816769 h 1090613"/>
                    <a:gd name="connsiteX30" fmla="*/ 547687 w 783431"/>
                    <a:gd name="connsiteY30" fmla="*/ 783432 h 1090613"/>
                    <a:gd name="connsiteX31" fmla="*/ 561975 w 783431"/>
                    <a:gd name="connsiteY31" fmla="*/ 754857 h 1090613"/>
                    <a:gd name="connsiteX32" fmla="*/ 533400 w 783431"/>
                    <a:gd name="connsiteY32" fmla="*/ 733425 h 1090613"/>
                    <a:gd name="connsiteX33" fmla="*/ 509587 w 783431"/>
                    <a:gd name="connsiteY33" fmla="*/ 711994 h 1090613"/>
                    <a:gd name="connsiteX34" fmla="*/ 473869 w 783431"/>
                    <a:gd name="connsiteY34" fmla="*/ 711994 h 1090613"/>
                    <a:gd name="connsiteX35" fmla="*/ 435769 w 783431"/>
                    <a:gd name="connsiteY35" fmla="*/ 711994 h 1090613"/>
                    <a:gd name="connsiteX36" fmla="*/ 438150 w 783431"/>
                    <a:gd name="connsiteY36" fmla="*/ 669132 h 1090613"/>
                    <a:gd name="connsiteX37" fmla="*/ 428625 w 783431"/>
                    <a:gd name="connsiteY37" fmla="*/ 642938 h 1090613"/>
                    <a:gd name="connsiteX38" fmla="*/ 423862 w 783431"/>
                    <a:gd name="connsiteY38" fmla="*/ 607219 h 1090613"/>
                    <a:gd name="connsiteX39" fmla="*/ 426244 w 783431"/>
                    <a:gd name="connsiteY39" fmla="*/ 578644 h 1090613"/>
                    <a:gd name="connsiteX40" fmla="*/ 440531 w 783431"/>
                    <a:gd name="connsiteY40" fmla="*/ 566738 h 1090613"/>
                    <a:gd name="connsiteX41" fmla="*/ 450056 w 783431"/>
                    <a:gd name="connsiteY41" fmla="*/ 535782 h 1090613"/>
                    <a:gd name="connsiteX42" fmla="*/ 457200 w 783431"/>
                    <a:gd name="connsiteY42" fmla="*/ 519113 h 1090613"/>
                    <a:gd name="connsiteX43" fmla="*/ 481012 w 783431"/>
                    <a:gd name="connsiteY43" fmla="*/ 526257 h 1090613"/>
                    <a:gd name="connsiteX44" fmla="*/ 495300 w 783431"/>
                    <a:gd name="connsiteY44" fmla="*/ 576263 h 1090613"/>
                    <a:gd name="connsiteX45" fmla="*/ 507206 w 783431"/>
                    <a:gd name="connsiteY45" fmla="*/ 581025 h 1090613"/>
                    <a:gd name="connsiteX46" fmla="*/ 526256 w 783431"/>
                    <a:gd name="connsiteY46" fmla="*/ 583407 h 1090613"/>
                    <a:gd name="connsiteX47" fmla="*/ 554831 w 783431"/>
                    <a:gd name="connsiteY47" fmla="*/ 583407 h 1090613"/>
                    <a:gd name="connsiteX48" fmla="*/ 557212 w 783431"/>
                    <a:gd name="connsiteY48" fmla="*/ 547688 h 1090613"/>
                    <a:gd name="connsiteX49" fmla="*/ 545306 w 783431"/>
                    <a:gd name="connsiteY49" fmla="*/ 502444 h 1090613"/>
                    <a:gd name="connsiteX50" fmla="*/ 545306 w 783431"/>
                    <a:gd name="connsiteY50" fmla="*/ 476250 h 1090613"/>
                    <a:gd name="connsiteX51" fmla="*/ 581025 w 783431"/>
                    <a:gd name="connsiteY51" fmla="*/ 454819 h 1090613"/>
                    <a:gd name="connsiteX52" fmla="*/ 604837 w 783431"/>
                    <a:gd name="connsiteY52" fmla="*/ 435769 h 1090613"/>
                    <a:gd name="connsiteX53" fmla="*/ 640556 w 783431"/>
                    <a:gd name="connsiteY53" fmla="*/ 414338 h 1090613"/>
                    <a:gd name="connsiteX54" fmla="*/ 645319 w 783431"/>
                    <a:gd name="connsiteY54" fmla="*/ 395288 h 1090613"/>
                    <a:gd name="connsiteX55" fmla="*/ 633412 w 783431"/>
                    <a:gd name="connsiteY55" fmla="*/ 371475 h 1090613"/>
                    <a:gd name="connsiteX56" fmla="*/ 614362 w 783431"/>
                    <a:gd name="connsiteY56" fmla="*/ 369094 h 1090613"/>
                    <a:gd name="connsiteX57" fmla="*/ 609600 w 783431"/>
                    <a:gd name="connsiteY57" fmla="*/ 366713 h 1090613"/>
                    <a:gd name="connsiteX58" fmla="*/ 597694 w 783431"/>
                    <a:gd name="connsiteY58" fmla="*/ 357188 h 1090613"/>
                    <a:gd name="connsiteX59" fmla="*/ 611981 w 783431"/>
                    <a:gd name="connsiteY59" fmla="*/ 345282 h 1090613"/>
                    <a:gd name="connsiteX60" fmla="*/ 652462 w 783431"/>
                    <a:gd name="connsiteY60" fmla="*/ 316707 h 1090613"/>
                    <a:gd name="connsiteX61" fmla="*/ 678656 w 783431"/>
                    <a:gd name="connsiteY61" fmla="*/ 264319 h 1090613"/>
                    <a:gd name="connsiteX62" fmla="*/ 666750 w 783431"/>
                    <a:gd name="connsiteY62" fmla="*/ 242888 h 1090613"/>
                    <a:gd name="connsiteX63" fmla="*/ 638175 w 783431"/>
                    <a:gd name="connsiteY63" fmla="*/ 219075 h 1090613"/>
                    <a:gd name="connsiteX64" fmla="*/ 642937 w 783431"/>
                    <a:gd name="connsiteY64" fmla="*/ 180975 h 1090613"/>
                    <a:gd name="connsiteX65" fmla="*/ 673894 w 783431"/>
                    <a:gd name="connsiteY65" fmla="*/ 171450 h 1090613"/>
                    <a:gd name="connsiteX66" fmla="*/ 700087 w 783431"/>
                    <a:gd name="connsiteY66" fmla="*/ 142875 h 1090613"/>
                    <a:gd name="connsiteX67" fmla="*/ 700087 w 783431"/>
                    <a:gd name="connsiteY67" fmla="*/ 111919 h 1090613"/>
                    <a:gd name="connsiteX68" fmla="*/ 666750 w 783431"/>
                    <a:gd name="connsiteY68" fmla="*/ 107157 h 1090613"/>
                    <a:gd name="connsiteX69" fmla="*/ 645319 w 783431"/>
                    <a:gd name="connsiteY69" fmla="*/ 102394 h 1090613"/>
                    <a:gd name="connsiteX70" fmla="*/ 645319 w 783431"/>
                    <a:gd name="connsiteY70" fmla="*/ 102394 h 1090613"/>
                    <a:gd name="connsiteX71" fmla="*/ 678656 w 783431"/>
                    <a:gd name="connsiteY71" fmla="*/ 69057 h 1090613"/>
                    <a:gd name="connsiteX72" fmla="*/ 685800 w 783431"/>
                    <a:gd name="connsiteY72" fmla="*/ 40482 h 1090613"/>
                    <a:gd name="connsiteX73" fmla="*/ 678656 w 783431"/>
                    <a:gd name="connsiteY73" fmla="*/ 21432 h 1090613"/>
                    <a:gd name="connsiteX74" fmla="*/ 695325 w 783431"/>
                    <a:gd name="connsiteY74" fmla="*/ 2382 h 1090613"/>
                    <a:gd name="connsiteX75" fmla="*/ 628650 w 783431"/>
                    <a:gd name="connsiteY75" fmla="*/ 0 h 1090613"/>
                    <a:gd name="connsiteX76" fmla="*/ 552450 w 783431"/>
                    <a:gd name="connsiteY76" fmla="*/ 52388 h 1090613"/>
                    <a:gd name="connsiteX77" fmla="*/ 538162 w 783431"/>
                    <a:gd name="connsiteY77" fmla="*/ 90488 h 1090613"/>
                    <a:gd name="connsiteX78" fmla="*/ 445294 w 783431"/>
                    <a:gd name="connsiteY78" fmla="*/ 126207 h 1090613"/>
                    <a:gd name="connsiteX79" fmla="*/ 397669 w 783431"/>
                    <a:gd name="connsiteY79" fmla="*/ 159544 h 1090613"/>
                    <a:gd name="connsiteX80" fmla="*/ 376237 w 783431"/>
                    <a:gd name="connsiteY80" fmla="*/ 190500 h 1090613"/>
                    <a:gd name="connsiteX81" fmla="*/ 350044 w 783431"/>
                    <a:gd name="connsiteY81" fmla="*/ 140494 h 1090613"/>
                    <a:gd name="connsiteX82" fmla="*/ 316706 w 783431"/>
                    <a:gd name="connsiteY82" fmla="*/ 140494 h 1090613"/>
                    <a:gd name="connsiteX83" fmla="*/ 304800 w 783431"/>
                    <a:gd name="connsiteY83" fmla="*/ 166688 h 1090613"/>
                    <a:gd name="connsiteX84" fmla="*/ 280987 w 783431"/>
                    <a:gd name="connsiteY84" fmla="*/ 230982 h 1090613"/>
                    <a:gd name="connsiteX85" fmla="*/ 154781 w 783431"/>
                    <a:gd name="connsiteY85" fmla="*/ 223838 h 1090613"/>
                    <a:gd name="connsiteX86" fmla="*/ 140494 w 783431"/>
                    <a:gd name="connsiteY86" fmla="*/ 245269 h 1090613"/>
                    <a:gd name="connsiteX87" fmla="*/ 138112 w 783431"/>
                    <a:gd name="connsiteY87" fmla="*/ 280988 h 1090613"/>
                    <a:gd name="connsiteX88" fmla="*/ 66675 w 783431"/>
                    <a:gd name="connsiteY88" fmla="*/ 309563 h 1090613"/>
                    <a:gd name="connsiteX89" fmla="*/ 54769 w 783431"/>
                    <a:gd name="connsiteY89" fmla="*/ 323850 h 1090613"/>
                    <a:gd name="connsiteX90" fmla="*/ 66675 w 783431"/>
                    <a:gd name="connsiteY90" fmla="*/ 381000 h 1090613"/>
                    <a:gd name="connsiteX91" fmla="*/ 19050 w 783431"/>
                    <a:gd name="connsiteY91" fmla="*/ 423863 h 1090613"/>
                    <a:gd name="connsiteX92" fmla="*/ 26194 w 783431"/>
                    <a:gd name="connsiteY92" fmla="*/ 490538 h 1090613"/>
                    <a:gd name="connsiteX93" fmla="*/ 33337 w 783431"/>
                    <a:gd name="connsiteY93" fmla="*/ 554832 h 1090613"/>
                    <a:gd name="connsiteX94" fmla="*/ 0 w 783431"/>
                    <a:gd name="connsiteY94" fmla="*/ 614363 h 1090613"/>
                    <a:gd name="connsiteX0" fmla="*/ 0 w 783431"/>
                    <a:gd name="connsiteY0" fmla="*/ 614363 h 1090613"/>
                    <a:gd name="connsiteX1" fmla="*/ 21431 w 783431"/>
                    <a:gd name="connsiteY1" fmla="*/ 661988 h 1090613"/>
                    <a:gd name="connsiteX2" fmla="*/ 28575 w 783431"/>
                    <a:gd name="connsiteY2" fmla="*/ 742950 h 1090613"/>
                    <a:gd name="connsiteX3" fmla="*/ 76200 w 783431"/>
                    <a:gd name="connsiteY3" fmla="*/ 814388 h 1090613"/>
                    <a:gd name="connsiteX4" fmla="*/ 102394 w 783431"/>
                    <a:gd name="connsiteY4" fmla="*/ 919163 h 1090613"/>
                    <a:gd name="connsiteX5" fmla="*/ 116681 w 783431"/>
                    <a:gd name="connsiteY5" fmla="*/ 947738 h 1090613"/>
                    <a:gd name="connsiteX6" fmla="*/ 130969 w 783431"/>
                    <a:gd name="connsiteY6" fmla="*/ 995363 h 1090613"/>
                    <a:gd name="connsiteX7" fmla="*/ 150019 w 783431"/>
                    <a:gd name="connsiteY7" fmla="*/ 1023938 h 1090613"/>
                    <a:gd name="connsiteX8" fmla="*/ 159544 w 783431"/>
                    <a:gd name="connsiteY8" fmla="*/ 1042988 h 1090613"/>
                    <a:gd name="connsiteX9" fmla="*/ 197644 w 783431"/>
                    <a:gd name="connsiteY9" fmla="*/ 1069182 h 1090613"/>
                    <a:gd name="connsiteX10" fmla="*/ 245269 w 783431"/>
                    <a:gd name="connsiteY10" fmla="*/ 1090613 h 1090613"/>
                    <a:gd name="connsiteX11" fmla="*/ 319087 w 783431"/>
                    <a:gd name="connsiteY11" fmla="*/ 1090613 h 1090613"/>
                    <a:gd name="connsiteX12" fmla="*/ 604837 w 783431"/>
                    <a:gd name="connsiteY12" fmla="*/ 1085850 h 1090613"/>
                    <a:gd name="connsiteX13" fmla="*/ 585787 w 783431"/>
                    <a:gd name="connsiteY13" fmla="*/ 1035844 h 1090613"/>
                    <a:gd name="connsiteX14" fmla="*/ 607219 w 783431"/>
                    <a:gd name="connsiteY14" fmla="*/ 1021557 h 1090613"/>
                    <a:gd name="connsiteX15" fmla="*/ 645319 w 783431"/>
                    <a:gd name="connsiteY15" fmla="*/ 1016794 h 1090613"/>
                    <a:gd name="connsiteX16" fmla="*/ 685800 w 783431"/>
                    <a:gd name="connsiteY16" fmla="*/ 997744 h 1090613"/>
                    <a:gd name="connsiteX17" fmla="*/ 716756 w 783431"/>
                    <a:gd name="connsiteY17" fmla="*/ 1002507 h 1090613"/>
                    <a:gd name="connsiteX18" fmla="*/ 738187 w 783431"/>
                    <a:gd name="connsiteY18" fmla="*/ 969169 h 1090613"/>
                    <a:gd name="connsiteX19" fmla="*/ 783431 w 783431"/>
                    <a:gd name="connsiteY19" fmla="*/ 933450 h 1090613"/>
                    <a:gd name="connsiteX20" fmla="*/ 776287 w 783431"/>
                    <a:gd name="connsiteY20" fmla="*/ 907257 h 1090613"/>
                    <a:gd name="connsiteX21" fmla="*/ 752475 w 783431"/>
                    <a:gd name="connsiteY21" fmla="*/ 888207 h 1090613"/>
                    <a:gd name="connsiteX22" fmla="*/ 752475 w 783431"/>
                    <a:gd name="connsiteY22" fmla="*/ 864394 h 1090613"/>
                    <a:gd name="connsiteX23" fmla="*/ 728662 w 783431"/>
                    <a:gd name="connsiteY23" fmla="*/ 852488 h 1090613"/>
                    <a:gd name="connsiteX24" fmla="*/ 711994 w 783431"/>
                    <a:gd name="connsiteY24" fmla="*/ 802482 h 1090613"/>
                    <a:gd name="connsiteX25" fmla="*/ 688181 w 783431"/>
                    <a:gd name="connsiteY25" fmla="*/ 814388 h 1090613"/>
                    <a:gd name="connsiteX26" fmla="*/ 659606 w 783431"/>
                    <a:gd name="connsiteY26" fmla="*/ 814388 h 1090613"/>
                    <a:gd name="connsiteX27" fmla="*/ 647700 w 783431"/>
                    <a:gd name="connsiteY27" fmla="*/ 847725 h 1090613"/>
                    <a:gd name="connsiteX28" fmla="*/ 623887 w 783431"/>
                    <a:gd name="connsiteY28" fmla="*/ 847725 h 1090613"/>
                    <a:gd name="connsiteX29" fmla="*/ 576262 w 783431"/>
                    <a:gd name="connsiteY29" fmla="*/ 828675 h 1090613"/>
                    <a:gd name="connsiteX30" fmla="*/ 554831 w 783431"/>
                    <a:gd name="connsiteY30" fmla="*/ 816769 h 1090613"/>
                    <a:gd name="connsiteX31" fmla="*/ 547687 w 783431"/>
                    <a:gd name="connsiteY31" fmla="*/ 783432 h 1090613"/>
                    <a:gd name="connsiteX32" fmla="*/ 561975 w 783431"/>
                    <a:gd name="connsiteY32" fmla="*/ 754857 h 1090613"/>
                    <a:gd name="connsiteX33" fmla="*/ 533400 w 783431"/>
                    <a:gd name="connsiteY33" fmla="*/ 733425 h 1090613"/>
                    <a:gd name="connsiteX34" fmla="*/ 509587 w 783431"/>
                    <a:gd name="connsiteY34" fmla="*/ 711994 h 1090613"/>
                    <a:gd name="connsiteX35" fmla="*/ 473869 w 783431"/>
                    <a:gd name="connsiteY35" fmla="*/ 711994 h 1090613"/>
                    <a:gd name="connsiteX36" fmla="*/ 435769 w 783431"/>
                    <a:gd name="connsiteY36" fmla="*/ 711994 h 1090613"/>
                    <a:gd name="connsiteX37" fmla="*/ 438150 w 783431"/>
                    <a:gd name="connsiteY37" fmla="*/ 669132 h 1090613"/>
                    <a:gd name="connsiteX38" fmla="*/ 428625 w 783431"/>
                    <a:gd name="connsiteY38" fmla="*/ 642938 h 1090613"/>
                    <a:gd name="connsiteX39" fmla="*/ 423862 w 783431"/>
                    <a:gd name="connsiteY39" fmla="*/ 607219 h 1090613"/>
                    <a:gd name="connsiteX40" fmla="*/ 426244 w 783431"/>
                    <a:gd name="connsiteY40" fmla="*/ 578644 h 1090613"/>
                    <a:gd name="connsiteX41" fmla="*/ 440531 w 783431"/>
                    <a:gd name="connsiteY41" fmla="*/ 566738 h 1090613"/>
                    <a:gd name="connsiteX42" fmla="*/ 450056 w 783431"/>
                    <a:gd name="connsiteY42" fmla="*/ 535782 h 1090613"/>
                    <a:gd name="connsiteX43" fmla="*/ 457200 w 783431"/>
                    <a:gd name="connsiteY43" fmla="*/ 519113 h 1090613"/>
                    <a:gd name="connsiteX44" fmla="*/ 481012 w 783431"/>
                    <a:gd name="connsiteY44" fmla="*/ 526257 h 1090613"/>
                    <a:gd name="connsiteX45" fmla="*/ 495300 w 783431"/>
                    <a:gd name="connsiteY45" fmla="*/ 576263 h 1090613"/>
                    <a:gd name="connsiteX46" fmla="*/ 507206 w 783431"/>
                    <a:gd name="connsiteY46" fmla="*/ 581025 h 1090613"/>
                    <a:gd name="connsiteX47" fmla="*/ 526256 w 783431"/>
                    <a:gd name="connsiteY47" fmla="*/ 583407 h 1090613"/>
                    <a:gd name="connsiteX48" fmla="*/ 554831 w 783431"/>
                    <a:gd name="connsiteY48" fmla="*/ 583407 h 1090613"/>
                    <a:gd name="connsiteX49" fmla="*/ 557212 w 783431"/>
                    <a:gd name="connsiteY49" fmla="*/ 547688 h 1090613"/>
                    <a:gd name="connsiteX50" fmla="*/ 545306 w 783431"/>
                    <a:gd name="connsiteY50" fmla="*/ 502444 h 1090613"/>
                    <a:gd name="connsiteX51" fmla="*/ 545306 w 783431"/>
                    <a:gd name="connsiteY51" fmla="*/ 476250 h 1090613"/>
                    <a:gd name="connsiteX52" fmla="*/ 581025 w 783431"/>
                    <a:gd name="connsiteY52" fmla="*/ 454819 h 1090613"/>
                    <a:gd name="connsiteX53" fmla="*/ 604837 w 783431"/>
                    <a:gd name="connsiteY53" fmla="*/ 435769 h 1090613"/>
                    <a:gd name="connsiteX54" fmla="*/ 640556 w 783431"/>
                    <a:gd name="connsiteY54" fmla="*/ 414338 h 1090613"/>
                    <a:gd name="connsiteX55" fmla="*/ 645319 w 783431"/>
                    <a:gd name="connsiteY55" fmla="*/ 395288 h 1090613"/>
                    <a:gd name="connsiteX56" fmla="*/ 633412 w 783431"/>
                    <a:gd name="connsiteY56" fmla="*/ 371475 h 1090613"/>
                    <a:gd name="connsiteX57" fmla="*/ 614362 w 783431"/>
                    <a:gd name="connsiteY57" fmla="*/ 369094 h 1090613"/>
                    <a:gd name="connsiteX58" fmla="*/ 609600 w 783431"/>
                    <a:gd name="connsiteY58" fmla="*/ 366713 h 1090613"/>
                    <a:gd name="connsiteX59" fmla="*/ 597694 w 783431"/>
                    <a:gd name="connsiteY59" fmla="*/ 357188 h 1090613"/>
                    <a:gd name="connsiteX60" fmla="*/ 611981 w 783431"/>
                    <a:gd name="connsiteY60" fmla="*/ 345282 h 1090613"/>
                    <a:gd name="connsiteX61" fmla="*/ 652462 w 783431"/>
                    <a:gd name="connsiteY61" fmla="*/ 316707 h 1090613"/>
                    <a:gd name="connsiteX62" fmla="*/ 678656 w 783431"/>
                    <a:gd name="connsiteY62" fmla="*/ 264319 h 1090613"/>
                    <a:gd name="connsiteX63" fmla="*/ 666750 w 783431"/>
                    <a:gd name="connsiteY63" fmla="*/ 242888 h 1090613"/>
                    <a:gd name="connsiteX64" fmla="*/ 638175 w 783431"/>
                    <a:gd name="connsiteY64" fmla="*/ 219075 h 1090613"/>
                    <a:gd name="connsiteX65" fmla="*/ 642937 w 783431"/>
                    <a:gd name="connsiteY65" fmla="*/ 180975 h 1090613"/>
                    <a:gd name="connsiteX66" fmla="*/ 673894 w 783431"/>
                    <a:gd name="connsiteY66" fmla="*/ 171450 h 1090613"/>
                    <a:gd name="connsiteX67" fmla="*/ 700087 w 783431"/>
                    <a:gd name="connsiteY67" fmla="*/ 142875 h 1090613"/>
                    <a:gd name="connsiteX68" fmla="*/ 700087 w 783431"/>
                    <a:gd name="connsiteY68" fmla="*/ 111919 h 1090613"/>
                    <a:gd name="connsiteX69" fmla="*/ 666750 w 783431"/>
                    <a:gd name="connsiteY69" fmla="*/ 107157 h 1090613"/>
                    <a:gd name="connsiteX70" fmla="*/ 645319 w 783431"/>
                    <a:gd name="connsiteY70" fmla="*/ 102394 h 1090613"/>
                    <a:gd name="connsiteX71" fmla="*/ 645319 w 783431"/>
                    <a:gd name="connsiteY71" fmla="*/ 102394 h 1090613"/>
                    <a:gd name="connsiteX72" fmla="*/ 678656 w 783431"/>
                    <a:gd name="connsiteY72" fmla="*/ 69057 h 1090613"/>
                    <a:gd name="connsiteX73" fmla="*/ 685800 w 783431"/>
                    <a:gd name="connsiteY73" fmla="*/ 40482 h 1090613"/>
                    <a:gd name="connsiteX74" fmla="*/ 678656 w 783431"/>
                    <a:gd name="connsiteY74" fmla="*/ 21432 h 1090613"/>
                    <a:gd name="connsiteX75" fmla="*/ 695325 w 783431"/>
                    <a:gd name="connsiteY75" fmla="*/ 2382 h 1090613"/>
                    <a:gd name="connsiteX76" fmla="*/ 628650 w 783431"/>
                    <a:gd name="connsiteY76" fmla="*/ 0 h 1090613"/>
                    <a:gd name="connsiteX77" fmla="*/ 552450 w 783431"/>
                    <a:gd name="connsiteY77" fmla="*/ 52388 h 1090613"/>
                    <a:gd name="connsiteX78" fmla="*/ 538162 w 783431"/>
                    <a:gd name="connsiteY78" fmla="*/ 90488 h 1090613"/>
                    <a:gd name="connsiteX79" fmla="*/ 445294 w 783431"/>
                    <a:gd name="connsiteY79" fmla="*/ 126207 h 1090613"/>
                    <a:gd name="connsiteX80" fmla="*/ 397669 w 783431"/>
                    <a:gd name="connsiteY80" fmla="*/ 159544 h 1090613"/>
                    <a:gd name="connsiteX81" fmla="*/ 376237 w 783431"/>
                    <a:gd name="connsiteY81" fmla="*/ 190500 h 1090613"/>
                    <a:gd name="connsiteX82" fmla="*/ 350044 w 783431"/>
                    <a:gd name="connsiteY82" fmla="*/ 140494 h 1090613"/>
                    <a:gd name="connsiteX83" fmla="*/ 316706 w 783431"/>
                    <a:gd name="connsiteY83" fmla="*/ 140494 h 1090613"/>
                    <a:gd name="connsiteX84" fmla="*/ 304800 w 783431"/>
                    <a:gd name="connsiteY84" fmla="*/ 166688 h 1090613"/>
                    <a:gd name="connsiteX85" fmla="*/ 280987 w 783431"/>
                    <a:gd name="connsiteY85" fmla="*/ 230982 h 1090613"/>
                    <a:gd name="connsiteX86" fmla="*/ 154781 w 783431"/>
                    <a:gd name="connsiteY86" fmla="*/ 223838 h 1090613"/>
                    <a:gd name="connsiteX87" fmla="*/ 140494 w 783431"/>
                    <a:gd name="connsiteY87" fmla="*/ 245269 h 1090613"/>
                    <a:gd name="connsiteX88" fmla="*/ 138112 w 783431"/>
                    <a:gd name="connsiteY88" fmla="*/ 280988 h 1090613"/>
                    <a:gd name="connsiteX89" fmla="*/ 66675 w 783431"/>
                    <a:gd name="connsiteY89" fmla="*/ 309563 h 1090613"/>
                    <a:gd name="connsiteX90" fmla="*/ 54769 w 783431"/>
                    <a:gd name="connsiteY90" fmla="*/ 323850 h 1090613"/>
                    <a:gd name="connsiteX91" fmla="*/ 66675 w 783431"/>
                    <a:gd name="connsiteY91" fmla="*/ 381000 h 1090613"/>
                    <a:gd name="connsiteX92" fmla="*/ 19050 w 783431"/>
                    <a:gd name="connsiteY92" fmla="*/ 423863 h 1090613"/>
                    <a:gd name="connsiteX93" fmla="*/ 26194 w 783431"/>
                    <a:gd name="connsiteY93" fmla="*/ 490538 h 1090613"/>
                    <a:gd name="connsiteX94" fmla="*/ 33337 w 783431"/>
                    <a:gd name="connsiteY94" fmla="*/ 554832 h 1090613"/>
                    <a:gd name="connsiteX95" fmla="*/ 0 w 783431"/>
                    <a:gd name="connsiteY95" fmla="*/ 614363 h 1090613"/>
                    <a:gd name="connsiteX0" fmla="*/ 0 w 783431"/>
                    <a:gd name="connsiteY0" fmla="*/ 614363 h 1131094"/>
                    <a:gd name="connsiteX1" fmla="*/ 21431 w 783431"/>
                    <a:gd name="connsiteY1" fmla="*/ 661988 h 1131094"/>
                    <a:gd name="connsiteX2" fmla="*/ 28575 w 783431"/>
                    <a:gd name="connsiteY2" fmla="*/ 742950 h 1131094"/>
                    <a:gd name="connsiteX3" fmla="*/ 76200 w 783431"/>
                    <a:gd name="connsiteY3" fmla="*/ 814388 h 1131094"/>
                    <a:gd name="connsiteX4" fmla="*/ 102394 w 783431"/>
                    <a:gd name="connsiteY4" fmla="*/ 919163 h 1131094"/>
                    <a:gd name="connsiteX5" fmla="*/ 116681 w 783431"/>
                    <a:gd name="connsiteY5" fmla="*/ 947738 h 1131094"/>
                    <a:gd name="connsiteX6" fmla="*/ 130969 w 783431"/>
                    <a:gd name="connsiteY6" fmla="*/ 995363 h 1131094"/>
                    <a:gd name="connsiteX7" fmla="*/ 150019 w 783431"/>
                    <a:gd name="connsiteY7" fmla="*/ 1023938 h 1131094"/>
                    <a:gd name="connsiteX8" fmla="*/ 159544 w 783431"/>
                    <a:gd name="connsiteY8" fmla="*/ 1042988 h 1131094"/>
                    <a:gd name="connsiteX9" fmla="*/ 197644 w 783431"/>
                    <a:gd name="connsiteY9" fmla="*/ 1069182 h 1131094"/>
                    <a:gd name="connsiteX10" fmla="*/ 245269 w 783431"/>
                    <a:gd name="connsiteY10" fmla="*/ 1090613 h 1131094"/>
                    <a:gd name="connsiteX11" fmla="*/ 264318 w 783431"/>
                    <a:gd name="connsiteY11" fmla="*/ 1131094 h 1131094"/>
                    <a:gd name="connsiteX12" fmla="*/ 604837 w 783431"/>
                    <a:gd name="connsiteY12" fmla="*/ 1085850 h 1131094"/>
                    <a:gd name="connsiteX13" fmla="*/ 585787 w 783431"/>
                    <a:gd name="connsiteY13" fmla="*/ 1035844 h 1131094"/>
                    <a:gd name="connsiteX14" fmla="*/ 607219 w 783431"/>
                    <a:gd name="connsiteY14" fmla="*/ 1021557 h 1131094"/>
                    <a:gd name="connsiteX15" fmla="*/ 645319 w 783431"/>
                    <a:gd name="connsiteY15" fmla="*/ 1016794 h 1131094"/>
                    <a:gd name="connsiteX16" fmla="*/ 685800 w 783431"/>
                    <a:gd name="connsiteY16" fmla="*/ 997744 h 1131094"/>
                    <a:gd name="connsiteX17" fmla="*/ 716756 w 783431"/>
                    <a:gd name="connsiteY17" fmla="*/ 1002507 h 1131094"/>
                    <a:gd name="connsiteX18" fmla="*/ 738187 w 783431"/>
                    <a:gd name="connsiteY18" fmla="*/ 969169 h 1131094"/>
                    <a:gd name="connsiteX19" fmla="*/ 783431 w 783431"/>
                    <a:gd name="connsiteY19" fmla="*/ 933450 h 1131094"/>
                    <a:gd name="connsiteX20" fmla="*/ 776287 w 783431"/>
                    <a:gd name="connsiteY20" fmla="*/ 907257 h 1131094"/>
                    <a:gd name="connsiteX21" fmla="*/ 752475 w 783431"/>
                    <a:gd name="connsiteY21" fmla="*/ 888207 h 1131094"/>
                    <a:gd name="connsiteX22" fmla="*/ 752475 w 783431"/>
                    <a:gd name="connsiteY22" fmla="*/ 864394 h 1131094"/>
                    <a:gd name="connsiteX23" fmla="*/ 728662 w 783431"/>
                    <a:gd name="connsiteY23" fmla="*/ 852488 h 1131094"/>
                    <a:gd name="connsiteX24" fmla="*/ 711994 w 783431"/>
                    <a:gd name="connsiteY24" fmla="*/ 802482 h 1131094"/>
                    <a:gd name="connsiteX25" fmla="*/ 688181 w 783431"/>
                    <a:gd name="connsiteY25" fmla="*/ 814388 h 1131094"/>
                    <a:gd name="connsiteX26" fmla="*/ 659606 w 783431"/>
                    <a:gd name="connsiteY26" fmla="*/ 814388 h 1131094"/>
                    <a:gd name="connsiteX27" fmla="*/ 647700 w 783431"/>
                    <a:gd name="connsiteY27" fmla="*/ 847725 h 1131094"/>
                    <a:gd name="connsiteX28" fmla="*/ 623887 w 783431"/>
                    <a:gd name="connsiteY28" fmla="*/ 847725 h 1131094"/>
                    <a:gd name="connsiteX29" fmla="*/ 576262 w 783431"/>
                    <a:gd name="connsiteY29" fmla="*/ 828675 h 1131094"/>
                    <a:gd name="connsiteX30" fmla="*/ 554831 w 783431"/>
                    <a:gd name="connsiteY30" fmla="*/ 816769 h 1131094"/>
                    <a:gd name="connsiteX31" fmla="*/ 547687 w 783431"/>
                    <a:gd name="connsiteY31" fmla="*/ 783432 h 1131094"/>
                    <a:gd name="connsiteX32" fmla="*/ 561975 w 783431"/>
                    <a:gd name="connsiteY32" fmla="*/ 754857 h 1131094"/>
                    <a:gd name="connsiteX33" fmla="*/ 533400 w 783431"/>
                    <a:gd name="connsiteY33" fmla="*/ 733425 h 1131094"/>
                    <a:gd name="connsiteX34" fmla="*/ 509587 w 783431"/>
                    <a:gd name="connsiteY34" fmla="*/ 711994 h 1131094"/>
                    <a:gd name="connsiteX35" fmla="*/ 473869 w 783431"/>
                    <a:gd name="connsiteY35" fmla="*/ 711994 h 1131094"/>
                    <a:gd name="connsiteX36" fmla="*/ 435769 w 783431"/>
                    <a:gd name="connsiteY36" fmla="*/ 711994 h 1131094"/>
                    <a:gd name="connsiteX37" fmla="*/ 438150 w 783431"/>
                    <a:gd name="connsiteY37" fmla="*/ 669132 h 1131094"/>
                    <a:gd name="connsiteX38" fmla="*/ 428625 w 783431"/>
                    <a:gd name="connsiteY38" fmla="*/ 642938 h 1131094"/>
                    <a:gd name="connsiteX39" fmla="*/ 423862 w 783431"/>
                    <a:gd name="connsiteY39" fmla="*/ 607219 h 1131094"/>
                    <a:gd name="connsiteX40" fmla="*/ 426244 w 783431"/>
                    <a:gd name="connsiteY40" fmla="*/ 578644 h 1131094"/>
                    <a:gd name="connsiteX41" fmla="*/ 440531 w 783431"/>
                    <a:gd name="connsiteY41" fmla="*/ 566738 h 1131094"/>
                    <a:gd name="connsiteX42" fmla="*/ 450056 w 783431"/>
                    <a:gd name="connsiteY42" fmla="*/ 535782 h 1131094"/>
                    <a:gd name="connsiteX43" fmla="*/ 457200 w 783431"/>
                    <a:gd name="connsiteY43" fmla="*/ 519113 h 1131094"/>
                    <a:gd name="connsiteX44" fmla="*/ 481012 w 783431"/>
                    <a:gd name="connsiteY44" fmla="*/ 526257 h 1131094"/>
                    <a:gd name="connsiteX45" fmla="*/ 495300 w 783431"/>
                    <a:gd name="connsiteY45" fmla="*/ 576263 h 1131094"/>
                    <a:gd name="connsiteX46" fmla="*/ 507206 w 783431"/>
                    <a:gd name="connsiteY46" fmla="*/ 581025 h 1131094"/>
                    <a:gd name="connsiteX47" fmla="*/ 526256 w 783431"/>
                    <a:gd name="connsiteY47" fmla="*/ 583407 h 1131094"/>
                    <a:gd name="connsiteX48" fmla="*/ 554831 w 783431"/>
                    <a:gd name="connsiteY48" fmla="*/ 583407 h 1131094"/>
                    <a:gd name="connsiteX49" fmla="*/ 557212 w 783431"/>
                    <a:gd name="connsiteY49" fmla="*/ 547688 h 1131094"/>
                    <a:gd name="connsiteX50" fmla="*/ 545306 w 783431"/>
                    <a:gd name="connsiteY50" fmla="*/ 502444 h 1131094"/>
                    <a:gd name="connsiteX51" fmla="*/ 545306 w 783431"/>
                    <a:gd name="connsiteY51" fmla="*/ 476250 h 1131094"/>
                    <a:gd name="connsiteX52" fmla="*/ 581025 w 783431"/>
                    <a:gd name="connsiteY52" fmla="*/ 454819 h 1131094"/>
                    <a:gd name="connsiteX53" fmla="*/ 604837 w 783431"/>
                    <a:gd name="connsiteY53" fmla="*/ 435769 h 1131094"/>
                    <a:gd name="connsiteX54" fmla="*/ 640556 w 783431"/>
                    <a:gd name="connsiteY54" fmla="*/ 414338 h 1131094"/>
                    <a:gd name="connsiteX55" fmla="*/ 645319 w 783431"/>
                    <a:gd name="connsiteY55" fmla="*/ 395288 h 1131094"/>
                    <a:gd name="connsiteX56" fmla="*/ 633412 w 783431"/>
                    <a:gd name="connsiteY56" fmla="*/ 371475 h 1131094"/>
                    <a:gd name="connsiteX57" fmla="*/ 614362 w 783431"/>
                    <a:gd name="connsiteY57" fmla="*/ 369094 h 1131094"/>
                    <a:gd name="connsiteX58" fmla="*/ 609600 w 783431"/>
                    <a:gd name="connsiteY58" fmla="*/ 366713 h 1131094"/>
                    <a:gd name="connsiteX59" fmla="*/ 597694 w 783431"/>
                    <a:gd name="connsiteY59" fmla="*/ 357188 h 1131094"/>
                    <a:gd name="connsiteX60" fmla="*/ 611981 w 783431"/>
                    <a:gd name="connsiteY60" fmla="*/ 345282 h 1131094"/>
                    <a:gd name="connsiteX61" fmla="*/ 652462 w 783431"/>
                    <a:gd name="connsiteY61" fmla="*/ 316707 h 1131094"/>
                    <a:gd name="connsiteX62" fmla="*/ 678656 w 783431"/>
                    <a:gd name="connsiteY62" fmla="*/ 264319 h 1131094"/>
                    <a:gd name="connsiteX63" fmla="*/ 666750 w 783431"/>
                    <a:gd name="connsiteY63" fmla="*/ 242888 h 1131094"/>
                    <a:gd name="connsiteX64" fmla="*/ 638175 w 783431"/>
                    <a:gd name="connsiteY64" fmla="*/ 219075 h 1131094"/>
                    <a:gd name="connsiteX65" fmla="*/ 642937 w 783431"/>
                    <a:gd name="connsiteY65" fmla="*/ 180975 h 1131094"/>
                    <a:gd name="connsiteX66" fmla="*/ 673894 w 783431"/>
                    <a:gd name="connsiteY66" fmla="*/ 171450 h 1131094"/>
                    <a:gd name="connsiteX67" fmla="*/ 700087 w 783431"/>
                    <a:gd name="connsiteY67" fmla="*/ 142875 h 1131094"/>
                    <a:gd name="connsiteX68" fmla="*/ 700087 w 783431"/>
                    <a:gd name="connsiteY68" fmla="*/ 111919 h 1131094"/>
                    <a:gd name="connsiteX69" fmla="*/ 666750 w 783431"/>
                    <a:gd name="connsiteY69" fmla="*/ 107157 h 1131094"/>
                    <a:gd name="connsiteX70" fmla="*/ 645319 w 783431"/>
                    <a:gd name="connsiteY70" fmla="*/ 102394 h 1131094"/>
                    <a:gd name="connsiteX71" fmla="*/ 645319 w 783431"/>
                    <a:gd name="connsiteY71" fmla="*/ 102394 h 1131094"/>
                    <a:gd name="connsiteX72" fmla="*/ 678656 w 783431"/>
                    <a:gd name="connsiteY72" fmla="*/ 69057 h 1131094"/>
                    <a:gd name="connsiteX73" fmla="*/ 685800 w 783431"/>
                    <a:gd name="connsiteY73" fmla="*/ 40482 h 1131094"/>
                    <a:gd name="connsiteX74" fmla="*/ 678656 w 783431"/>
                    <a:gd name="connsiteY74" fmla="*/ 21432 h 1131094"/>
                    <a:gd name="connsiteX75" fmla="*/ 695325 w 783431"/>
                    <a:gd name="connsiteY75" fmla="*/ 2382 h 1131094"/>
                    <a:gd name="connsiteX76" fmla="*/ 628650 w 783431"/>
                    <a:gd name="connsiteY76" fmla="*/ 0 h 1131094"/>
                    <a:gd name="connsiteX77" fmla="*/ 552450 w 783431"/>
                    <a:gd name="connsiteY77" fmla="*/ 52388 h 1131094"/>
                    <a:gd name="connsiteX78" fmla="*/ 538162 w 783431"/>
                    <a:gd name="connsiteY78" fmla="*/ 90488 h 1131094"/>
                    <a:gd name="connsiteX79" fmla="*/ 445294 w 783431"/>
                    <a:gd name="connsiteY79" fmla="*/ 126207 h 1131094"/>
                    <a:gd name="connsiteX80" fmla="*/ 397669 w 783431"/>
                    <a:gd name="connsiteY80" fmla="*/ 159544 h 1131094"/>
                    <a:gd name="connsiteX81" fmla="*/ 376237 w 783431"/>
                    <a:gd name="connsiteY81" fmla="*/ 190500 h 1131094"/>
                    <a:gd name="connsiteX82" fmla="*/ 350044 w 783431"/>
                    <a:gd name="connsiteY82" fmla="*/ 140494 h 1131094"/>
                    <a:gd name="connsiteX83" fmla="*/ 316706 w 783431"/>
                    <a:gd name="connsiteY83" fmla="*/ 140494 h 1131094"/>
                    <a:gd name="connsiteX84" fmla="*/ 304800 w 783431"/>
                    <a:gd name="connsiteY84" fmla="*/ 166688 h 1131094"/>
                    <a:gd name="connsiteX85" fmla="*/ 280987 w 783431"/>
                    <a:gd name="connsiteY85" fmla="*/ 230982 h 1131094"/>
                    <a:gd name="connsiteX86" fmla="*/ 154781 w 783431"/>
                    <a:gd name="connsiteY86" fmla="*/ 223838 h 1131094"/>
                    <a:gd name="connsiteX87" fmla="*/ 140494 w 783431"/>
                    <a:gd name="connsiteY87" fmla="*/ 245269 h 1131094"/>
                    <a:gd name="connsiteX88" fmla="*/ 138112 w 783431"/>
                    <a:gd name="connsiteY88" fmla="*/ 280988 h 1131094"/>
                    <a:gd name="connsiteX89" fmla="*/ 66675 w 783431"/>
                    <a:gd name="connsiteY89" fmla="*/ 309563 h 1131094"/>
                    <a:gd name="connsiteX90" fmla="*/ 54769 w 783431"/>
                    <a:gd name="connsiteY90" fmla="*/ 323850 h 1131094"/>
                    <a:gd name="connsiteX91" fmla="*/ 66675 w 783431"/>
                    <a:gd name="connsiteY91" fmla="*/ 381000 h 1131094"/>
                    <a:gd name="connsiteX92" fmla="*/ 19050 w 783431"/>
                    <a:gd name="connsiteY92" fmla="*/ 423863 h 1131094"/>
                    <a:gd name="connsiteX93" fmla="*/ 26194 w 783431"/>
                    <a:gd name="connsiteY93" fmla="*/ 490538 h 1131094"/>
                    <a:gd name="connsiteX94" fmla="*/ 33337 w 783431"/>
                    <a:gd name="connsiteY94" fmla="*/ 554832 h 1131094"/>
                    <a:gd name="connsiteX95" fmla="*/ 0 w 783431"/>
                    <a:gd name="connsiteY95" fmla="*/ 614363 h 1131094"/>
                    <a:gd name="connsiteX0" fmla="*/ 0 w 783431"/>
                    <a:gd name="connsiteY0" fmla="*/ 614363 h 1131094"/>
                    <a:gd name="connsiteX1" fmla="*/ 21431 w 783431"/>
                    <a:gd name="connsiteY1" fmla="*/ 661988 h 1131094"/>
                    <a:gd name="connsiteX2" fmla="*/ 28575 w 783431"/>
                    <a:gd name="connsiteY2" fmla="*/ 742950 h 1131094"/>
                    <a:gd name="connsiteX3" fmla="*/ 76200 w 783431"/>
                    <a:gd name="connsiteY3" fmla="*/ 814388 h 1131094"/>
                    <a:gd name="connsiteX4" fmla="*/ 102394 w 783431"/>
                    <a:gd name="connsiteY4" fmla="*/ 919163 h 1131094"/>
                    <a:gd name="connsiteX5" fmla="*/ 116681 w 783431"/>
                    <a:gd name="connsiteY5" fmla="*/ 947738 h 1131094"/>
                    <a:gd name="connsiteX6" fmla="*/ 130969 w 783431"/>
                    <a:gd name="connsiteY6" fmla="*/ 995363 h 1131094"/>
                    <a:gd name="connsiteX7" fmla="*/ 150019 w 783431"/>
                    <a:gd name="connsiteY7" fmla="*/ 1023938 h 1131094"/>
                    <a:gd name="connsiteX8" fmla="*/ 159544 w 783431"/>
                    <a:gd name="connsiteY8" fmla="*/ 1042988 h 1131094"/>
                    <a:gd name="connsiteX9" fmla="*/ 197644 w 783431"/>
                    <a:gd name="connsiteY9" fmla="*/ 1069182 h 1131094"/>
                    <a:gd name="connsiteX10" fmla="*/ 245269 w 783431"/>
                    <a:gd name="connsiteY10" fmla="*/ 1090613 h 1131094"/>
                    <a:gd name="connsiteX11" fmla="*/ 264318 w 783431"/>
                    <a:gd name="connsiteY11" fmla="*/ 1131094 h 1131094"/>
                    <a:gd name="connsiteX12" fmla="*/ 323850 w 783431"/>
                    <a:gd name="connsiteY12" fmla="*/ 1123949 h 1131094"/>
                    <a:gd name="connsiteX13" fmla="*/ 604837 w 783431"/>
                    <a:gd name="connsiteY13" fmla="*/ 1085850 h 1131094"/>
                    <a:gd name="connsiteX14" fmla="*/ 585787 w 783431"/>
                    <a:gd name="connsiteY14" fmla="*/ 1035844 h 1131094"/>
                    <a:gd name="connsiteX15" fmla="*/ 607219 w 783431"/>
                    <a:gd name="connsiteY15" fmla="*/ 1021557 h 1131094"/>
                    <a:gd name="connsiteX16" fmla="*/ 645319 w 783431"/>
                    <a:gd name="connsiteY16" fmla="*/ 1016794 h 1131094"/>
                    <a:gd name="connsiteX17" fmla="*/ 685800 w 783431"/>
                    <a:gd name="connsiteY17" fmla="*/ 997744 h 1131094"/>
                    <a:gd name="connsiteX18" fmla="*/ 716756 w 783431"/>
                    <a:gd name="connsiteY18" fmla="*/ 1002507 h 1131094"/>
                    <a:gd name="connsiteX19" fmla="*/ 738187 w 783431"/>
                    <a:gd name="connsiteY19" fmla="*/ 969169 h 1131094"/>
                    <a:gd name="connsiteX20" fmla="*/ 783431 w 783431"/>
                    <a:gd name="connsiteY20" fmla="*/ 933450 h 1131094"/>
                    <a:gd name="connsiteX21" fmla="*/ 776287 w 783431"/>
                    <a:gd name="connsiteY21" fmla="*/ 907257 h 1131094"/>
                    <a:gd name="connsiteX22" fmla="*/ 752475 w 783431"/>
                    <a:gd name="connsiteY22" fmla="*/ 888207 h 1131094"/>
                    <a:gd name="connsiteX23" fmla="*/ 752475 w 783431"/>
                    <a:gd name="connsiteY23" fmla="*/ 864394 h 1131094"/>
                    <a:gd name="connsiteX24" fmla="*/ 728662 w 783431"/>
                    <a:gd name="connsiteY24" fmla="*/ 852488 h 1131094"/>
                    <a:gd name="connsiteX25" fmla="*/ 711994 w 783431"/>
                    <a:gd name="connsiteY25" fmla="*/ 802482 h 1131094"/>
                    <a:gd name="connsiteX26" fmla="*/ 688181 w 783431"/>
                    <a:gd name="connsiteY26" fmla="*/ 814388 h 1131094"/>
                    <a:gd name="connsiteX27" fmla="*/ 659606 w 783431"/>
                    <a:gd name="connsiteY27" fmla="*/ 814388 h 1131094"/>
                    <a:gd name="connsiteX28" fmla="*/ 647700 w 783431"/>
                    <a:gd name="connsiteY28" fmla="*/ 847725 h 1131094"/>
                    <a:gd name="connsiteX29" fmla="*/ 623887 w 783431"/>
                    <a:gd name="connsiteY29" fmla="*/ 847725 h 1131094"/>
                    <a:gd name="connsiteX30" fmla="*/ 576262 w 783431"/>
                    <a:gd name="connsiteY30" fmla="*/ 828675 h 1131094"/>
                    <a:gd name="connsiteX31" fmla="*/ 554831 w 783431"/>
                    <a:gd name="connsiteY31" fmla="*/ 816769 h 1131094"/>
                    <a:gd name="connsiteX32" fmla="*/ 547687 w 783431"/>
                    <a:gd name="connsiteY32" fmla="*/ 783432 h 1131094"/>
                    <a:gd name="connsiteX33" fmla="*/ 561975 w 783431"/>
                    <a:gd name="connsiteY33" fmla="*/ 754857 h 1131094"/>
                    <a:gd name="connsiteX34" fmla="*/ 533400 w 783431"/>
                    <a:gd name="connsiteY34" fmla="*/ 733425 h 1131094"/>
                    <a:gd name="connsiteX35" fmla="*/ 509587 w 783431"/>
                    <a:gd name="connsiteY35" fmla="*/ 711994 h 1131094"/>
                    <a:gd name="connsiteX36" fmla="*/ 473869 w 783431"/>
                    <a:gd name="connsiteY36" fmla="*/ 711994 h 1131094"/>
                    <a:gd name="connsiteX37" fmla="*/ 435769 w 783431"/>
                    <a:gd name="connsiteY37" fmla="*/ 711994 h 1131094"/>
                    <a:gd name="connsiteX38" fmla="*/ 438150 w 783431"/>
                    <a:gd name="connsiteY38" fmla="*/ 669132 h 1131094"/>
                    <a:gd name="connsiteX39" fmla="*/ 428625 w 783431"/>
                    <a:gd name="connsiteY39" fmla="*/ 642938 h 1131094"/>
                    <a:gd name="connsiteX40" fmla="*/ 423862 w 783431"/>
                    <a:gd name="connsiteY40" fmla="*/ 607219 h 1131094"/>
                    <a:gd name="connsiteX41" fmla="*/ 426244 w 783431"/>
                    <a:gd name="connsiteY41" fmla="*/ 578644 h 1131094"/>
                    <a:gd name="connsiteX42" fmla="*/ 440531 w 783431"/>
                    <a:gd name="connsiteY42" fmla="*/ 566738 h 1131094"/>
                    <a:gd name="connsiteX43" fmla="*/ 450056 w 783431"/>
                    <a:gd name="connsiteY43" fmla="*/ 535782 h 1131094"/>
                    <a:gd name="connsiteX44" fmla="*/ 457200 w 783431"/>
                    <a:gd name="connsiteY44" fmla="*/ 519113 h 1131094"/>
                    <a:gd name="connsiteX45" fmla="*/ 481012 w 783431"/>
                    <a:gd name="connsiteY45" fmla="*/ 526257 h 1131094"/>
                    <a:gd name="connsiteX46" fmla="*/ 495300 w 783431"/>
                    <a:gd name="connsiteY46" fmla="*/ 576263 h 1131094"/>
                    <a:gd name="connsiteX47" fmla="*/ 507206 w 783431"/>
                    <a:gd name="connsiteY47" fmla="*/ 581025 h 1131094"/>
                    <a:gd name="connsiteX48" fmla="*/ 526256 w 783431"/>
                    <a:gd name="connsiteY48" fmla="*/ 583407 h 1131094"/>
                    <a:gd name="connsiteX49" fmla="*/ 554831 w 783431"/>
                    <a:gd name="connsiteY49" fmla="*/ 583407 h 1131094"/>
                    <a:gd name="connsiteX50" fmla="*/ 557212 w 783431"/>
                    <a:gd name="connsiteY50" fmla="*/ 547688 h 1131094"/>
                    <a:gd name="connsiteX51" fmla="*/ 545306 w 783431"/>
                    <a:gd name="connsiteY51" fmla="*/ 502444 h 1131094"/>
                    <a:gd name="connsiteX52" fmla="*/ 545306 w 783431"/>
                    <a:gd name="connsiteY52" fmla="*/ 476250 h 1131094"/>
                    <a:gd name="connsiteX53" fmla="*/ 581025 w 783431"/>
                    <a:gd name="connsiteY53" fmla="*/ 454819 h 1131094"/>
                    <a:gd name="connsiteX54" fmla="*/ 604837 w 783431"/>
                    <a:gd name="connsiteY54" fmla="*/ 435769 h 1131094"/>
                    <a:gd name="connsiteX55" fmla="*/ 640556 w 783431"/>
                    <a:gd name="connsiteY55" fmla="*/ 414338 h 1131094"/>
                    <a:gd name="connsiteX56" fmla="*/ 645319 w 783431"/>
                    <a:gd name="connsiteY56" fmla="*/ 395288 h 1131094"/>
                    <a:gd name="connsiteX57" fmla="*/ 633412 w 783431"/>
                    <a:gd name="connsiteY57" fmla="*/ 371475 h 1131094"/>
                    <a:gd name="connsiteX58" fmla="*/ 614362 w 783431"/>
                    <a:gd name="connsiteY58" fmla="*/ 369094 h 1131094"/>
                    <a:gd name="connsiteX59" fmla="*/ 609600 w 783431"/>
                    <a:gd name="connsiteY59" fmla="*/ 366713 h 1131094"/>
                    <a:gd name="connsiteX60" fmla="*/ 597694 w 783431"/>
                    <a:gd name="connsiteY60" fmla="*/ 357188 h 1131094"/>
                    <a:gd name="connsiteX61" fmla="*/ 611981 w 783431"/>
                    <a:gd name="connsiteY61" fmla="*/ 345282 h 1131094"/>
                    <a:gd name="connsiteX62" fmla="*/ 652462 w 783431"/>
                    <a:gd name="connsiteY62" fmla="*/ 316707 h 1131094"/>
                    <a:gd name="connsiteX63" fmla="*/ 678656 w 783431"/>
                    <a:gd name="connsiteY63" fmla="*/ 264319 h 1131094"/>
                    <a:gd name="connsiteX64" fmla="*/ 666750 w 783431"/>
                    <a:gd name="connsiteY64" fmla="*/ 242888 h 1131094"/>
                    <a:gd name="connsiteX65" fmla="*/ 638175 w 783431"/>
                    <a:gd name="connsiteY65" fmla="*/ 219075 h 1131094"/>
                    <a:gd name="connsiteX66" fmla="*/ 642937 w 783431"/>
                    <a:gd name="connsiteY66" fmla="*/ 180975 h 1131094"/>
                    <a:gd name="connsiteX67" fmla="*/ 673894 w 783431"/>
                    <a:gd name="connsiteY67" fmla="*/ 171450 h 1131094"/>
                    <a:gd name="connsiteX68" fmla="*/ 700087 w 783431"/>
                    <a:gd name="connsiteY68" fmla="*/ 142875 h 1131094"/>
                    <a:gd name="connsiteX69" fmla="*/ 700087 w 783431"/>
                    <a:gd name="connsiteY69" fmla="*/ 111919 h 1131094"/>
                    <a:gd name="connsiteX70" fmla="*/ 666750 w 783431"/>
                    <a:gd name="connsiteY70" fmla="*/ 107157 h 1131094"/>
                    <a:gd name="connsiteX71" fmla="*/ 645319 w 783431"/>
                    <a:gd name="connsiteY71" fmla="*/ 102394 h 1131094"/>
                    <a:gd name="connsiteX72" fmla="*/ 645319 w 783431"/>
                    <a:gd name="connsiteY72" fmla="*/ 102394 h 1131094"/>
                    <a:gd name="connsiteX73" fmla="*/ 678656 w 783431"/>
                    <a:gd name="connsiteY73" fmla="*/ 69057 h 1131094"/>
                    <a:gd name="connsiteX74" fmla="*/ 685800 w 783431"/>
                    <a:gd name="connsiteY74" fmla="*/ 40482 h 1131094"/>
                    <a:gd name="connsiteX75" fmla="*/ 678656 w 783431"/>
                    <a:gd name="connsiteY75" fmla="*/ 21432 h 1131094"/>
                    <a:gd name="connsiteX76" fmla="*/ 695325 w 783431"/>
                    <a:gd name="connsiteY76" fmla="*/ 2382 h 1131094"/>
                    <a:gd name="connsiteX77" fmla="*/ 628650 w 783431"/>
                    <a:gd name="connsiteY77" fmla="*/ 0 h 1131094"/>
                    <a:gd name="connsiteX78" fmla="*/ 552450 w 783431"/>
                    <a:gd name="connsiteY78" fmla="*/ 52388 h 1131094"/>
                    <a:gd name="connsiteX79" fmla="*/ 538162 w 783431"/>
                    <a:gd name="connsiteY79" fmla="*/ 90488 h 1131094"/>
                    <a:gd name="connsiteX80" fmla="*/ 445294 w 783431"/>
                    <a:gd name="connsiteY80" fmla="*/ 126207 h 1131094"/>
                    <a:gd name="connsiteX81" fmla="*/ 397669 w 783431"/>
                    <a:gd name="connsiteY81" fmla="*/ 159544 h 1131094"/>
                    <a:gd name="connsiteX82" fmla="*/ 376237 w 783431"/>
                    <a:gd name="connsiteY82" fmla="*/ 190500 h 1131094"/>
                    <a:gd name="connsiteX83" fmla="*/ 350044 w 783431"/>
                    <a:gd name="connsiteY83" fmla="*/ 140494 h 1131094"/>
                    <a:gd name="connsiteX84" fmla="*/ 316706 w 783431"/>
                    <a:gd name="connsiteY84" fmla="*/ 140494 h 1131094"/>
                    <a:gd name="connsiteX85" fmla="*/ 304800 w 783431"/>
                    <a:gd name="connsiteY85" fmla="*/ 166688 h 1131094"/>
                    <a:gd name="connsiteX86" fmla="*/ 280987 w 783431"/>
                    <a:gd name="connsiteY86" fmla="*/ 230982 h 1131094"/>
                    <a:gd name="connsiteX87" fmla="*/ 154781 w 783431"/>
                    <a:gd name="connsiteY87" fmla="*/ 223838 h 1131094"/>
                    <a:gd name="connsiteX88" fmla="*/ 140494 w 783431"/>
                    <a:gd name="connsiteY88" fmla="*/ 245269 h 1131094"/>
                    <a:gd name="connsiteX89" fmla="*/ 138112 w 783431"/>
                    <a:gd name="connsiteY89" fmla="*/ 280988 h 1131094"/>
                    <a:gd name="connsiteX90" fmla="*/ 66675 w 783431"/>
                    <a:gd name="connsiteY90" fmla="*/ 309563 h 1131094"/>
                    <a:gd name="connsiteX91" fmla="*/ 54769 w 783431"/>
                    <a:gd name="connsiteY91" fmla="*/ 323850 h 1131094"/>
                    <a:gd name="connsiteX92" fmla="*/ 66675 w 783431"/>
                    <a:gd name="connsiteY92" fmla="*/ 381000 h 1131094"/>
                    <a:gd name="connsiteX93" fmla="*/ 19050 w 783431"/>
                    <a:gd name="connsiteY93" fmla="*/ 423863 h 1131094"/>
                    <a:gd name="connsiteX94" fmla="*/ 26194 w 783431"/>
                    <a:gd name="connsiteY94" fmla="*/ 490538 h 1131094"/>
                    <a:gd name="connsiteX95" fmla="*/ 33337 w 783431"/>
                    <a:gd name="connsiteY95" fmla="*/ 554832 h 1131094"/>
                    <a:gd name="connsiteX96" fmla="*/ 0 w 783431"/>
                    <a:gd name="connsiteY96" fmla="*/ 614363 h 1131094"/>
                    <a:gd name="connsiteX0" fmla="*/ 0 w 783431"/>
                    <a:gd name="connsiteY0" fmla="*/ 614363 h 1164431"/>
                    <a:gd name="connsiteX1" fmla="*/ 21431 w 783431"/>
                    <a:gd name="connsiteY1" fmla="*/ 661988 h 1164431"/>
                    <a:gd name="connsiteX2" fmla="*/ 28575 w 783431"/>
                    <a:gd name="connsiteY2" fmla="*/ 742950 h 1164431"/>
                    <a:gd name="connsiteX3" fmla="*/ 76200 w 783431"/>
                    <a:gd name="connsiteY3" fmla="*/ 814388 h 1164431"/>
                    <a:gd name="connsiteX4" fmla="*/ 102394 w 783431"/>
                    <a:gd name="connsiteY4" fmla="*/ 919163 h 1164431"/>
                    <a:gd name="connsiteX5" fmla="*/ 116681 w 783431"/>
                    <a:gd name="connsiteY5" fmla="*/ 947738 h 1164431"/>
                    <a:gd name="connsiteX6" fmla="*/ 130969 w 783431"/>
                    <a:gd name="connsiteY6" fmla="*/ 995363 h 1164431"/>
                    <a:gd name="connsiteX7" fmla="*/ 150019 w 783431"/>
                    <a:gd name="connsiteY7" fmla="*/ 1023938 h 1164431"/>
                    <a:gd name="connsiteX8" fmla="*/ 159544 w 783431"/>
                    <a:gd name="connsiteY8" fmla="*/ 1042988 h 1164431"/>
                    <a:gd name="connsiteX9" fmla="*/ 197644 w 783431"/>
                    <a:gd name="connsiteY9" fmla="*/ 1069182 h 1164431"/>
                    <a:gd name="connsiteX10" fmla="*/ 245269 w 783431"/>
                    <a:gd name="connsiteY10" fmla="*/ 1090613 h 1164431"/>
                    <a:gd name="connsiteX11" fmla="*/ 264318 w 783431"/>
                    <a:gd name="connsiteY11" fmla="*/ 1131094 h 1164431"/>
                    <a:gd name="connsiteX12" fmla="*/ 295275 w 783431"/>
                    <a:gd name="connsiteY12" fmla="*/ 1164431 h 1164431"/>
                    <a:gd name="connsiteX13" fmla="*/ 604837 w 783431"/>
                    <a:gd name="connsiteY13" fmla="*/ 1085850 h 1164431"/>
                    <a:gd name="connsiteX14" fmla="*/ 585787 w 783431"/>
                    <a:gd name="connsiteY14" fmla="*/ 1035844 h 1164431"/>
                    <a:gd name="connsiteX15" fmla="*/ 607219 w 783431"/>
                    <a:gd name="connsiteY15" fmla="*/ 1021557 h 1164431"/>
                    <a:gd name="connsiteX16" fmla="*/ 645319 w 783431"/>
                    <a:gd name="connsiteY16" fmla="*/ 1016794 h 1164431"/>
                    <a:gd name="connsiteX17" fmla="*/ 685800 w 783431"/>
                    <a:gd name="connsiteY17" fmla="*/ 997744 h 1164431"/>
                    <a:gd name="connsiteX18" fmla="*/ 716756 w 783431"/>
                    <a:gd name="connsiteY18" fmla="*/ 1002507 h 1164431"/>
                    <a:gd name="connsiteX19" fmla="*/ 738187 w 783431"/>
                    <a:gd name="connsiteY19" fmla="*/ 969169 h 1164431"/>
                    <a:gd name="connsiteX20" fmla="*/ 783431 w 783431"/>
                    <a:gd name="connsiteY20" fmla="*/ 933450 h 1164431"/>
                    <a:gd name="connsiteX21" fmla="*/ 776287 w 783431"/>
                    <a:gd name="connsiteY21" fmla="*/ 907257 h 1164431"/>
                    <a:gd name="connsiteX22" fmla="*/ 752475 w 783431"/>
                    <a:gd name="connsiteY22" fmla="*/ 888207 h 1164431"/>
                    <a:gd name="connsiteX23" fmla="*/ 752475 w 783431"/>
                    <a:gd name="connsiteY23" fmla="*/ 864394 h 1164431"/>
                    <a:gd name="connsiteX24" fmla="*/ 728662 w 783431"/>
                    <a:gd name="connsiteY24" fmla="*/ 852488 h 1164431"/>
                    <a:gd name="connsiteX25" fmla="*/ 711994 w 783431"/>
                    <a:gd name="connsiteY25" fmla="*/ 802482 h 1164431"/>
                    <a:gd name="connsiteX26" fmla="*/ 688181 w 783431"/>
                    <a:gd name="connsiteY26" fmla="*/ 814388 h 1164431"/>
                    <a:gd name="connsiteX27" fmla="*/ 659606 w 783431"/>
                    <a:gd name="connsiteY27" fmla="*/ 814388 h 1164431"/>
                    <a:gd name="connsiteX28" fmla="*/ 647700 w 783431"/>
                    <a:gd name="connsiteY28" fmla="*/ 847725 h 1164431"/>
                    <a:gd name="connsiteX29" fmla="*/ 623887 w 783431"/>
                    <a:gd name="connsiteY29" fmla="*/ 847725 h 1164431"/>
                    <a:gd name="connsiteX30" fmla="*/ 576262 w 783431"/>
                    <a:gd name="connsiteY30" fmla="*/ 828675 h 1164431"/>
                    <a:gd name="connsiteX31" fmla="*/ 554831 w 783431"/>
                    <a:gd name="connsiteY31" fmla="*/ 816769 h 1164431"/>
                    <a:gd name="connsiteX32" fmla="*/ 547687 w 783431"/>
                    <a:gd name="connsiteY32" fmla="*/ 783432 h 1164431"/>
                    <a:gd name="connsiteX33" fmla="*/ 561975 w 783431"/>
                    <a:gd name="connsiteY33" fmla="*/ 754857 h 1164431"/>
                    <a:gd name="connsiteX34" fmla="*/ 533400 w 783431"/>
                    <a:gd name="connsiteY34" fmla="*/ 733425 h 1164431"/>
                    <a:gd name="connsiteX35" fmla="*/ 509587 w 783431"/>
                    <a:gd name="connsiteY35" fmla="*/ 711994 h 1164431"/>
                    <a:gd name="connsiteX36" fmla="*/ 473869 w 783431"/>
                    <a:gd name="connsiteY36" fmla="*/ 711994 h 1164431"/>
                    <a:gd name="connsiteX37" fmla="*/ 435769 w 783431"/>
                    <a:gd name="connsiteY37" fmla="*/ 711994 h 1164431"/>
                    <a:gd name="connsiteX38" fmla="*/ 438150 w 783431"/>
                    <a:gd name="connsiteY38" fmla="*/ 669132 h 1164431"/>
                    <a:gd name="connsiteX39" fmla="*/ 428625 w 783431"/>
                    <a:gd name="connsiteY39" fmla="*/ 642938 h 1164431"/>
                    <a:gd name="connsiteX40" fmla="*/ 423862 w 783431"/>
                    <a:gd name="connsiteY40" fmla="*/ 607219 h 1164431"/>
                    <a:gd name="connsiteX41" fmla="*/ 426244 w 783431"/>
                    <a:gd name="connsiteY41" fmla="*/ 578644 h 1164431"/>
                    <a:gd name="connsiteX42" fmla="*/ 440531 w 783431"/>
                    <a:gd name="connsiteY42" fmla="*/ 566738 h 1164431"/>
                    <a:gd name="connsiteX43" fmla="*/ 450056 w 783431"/>
                    <a:gd name="connsiteY43" fmla="*/ 535782 h 1164431"/>
                    <a:gd name="connsiteX44" fmla="*/ 457200 w 783431"/>
                    <a:gd name="connsiteY44" fmla="*/ 519113 h 1164431"/>
                    <a:gd name="connsiteX45" fmla="*/ 481012 w 783431"/>
                    <a:gd name="connsiteY45" fmla="*/ 526257 h 1164431"/>
                    <a:gd name="connsiteX46" fmla="*/ 495300 w 783431"/>
                    <a:gd name="connsiteY46" fmla="*/ 576263 h 1164431"/>
                    <a:gd name="connsiteX47" fmla="*/ 507206 w 783431"/>
                    <a:gd name="connsiteY47" fmla="*/ 581025 h 1164431"/>
                    <a:gd name="connsiteX48" fmla="*/ 526256 w 783431"/>
                    <a:gd name="connsiteY48" fmla="*/ 583407 h 1164431"/>
                    <a:gd name="connsiteX49" fmla="*/ 554831 w 783431"/>
                    <a:gd name="connsiteY49" fmla="*/ 583407 h 1164431"/>
                    <a:gd name="connsiteX50" fmla="*/ 557212 w 783431"/>
                    <a:gd name="connsiteY50" fmla="*/ 547688 h 1164431"/>
                    <a:gd name="connsiteX51" fmla="*/ 545306 w 783431"/>
                    <a:gd name="connsiteY51" fmla="*/ 502444 h 1164431"/>
                    <a:gd name="connsiteX52" fmla="*/ 545306 w 783431"/>
                    <a:gd name="connsiteY52" fmla="*/ 476250 h 1164431"/>
                    <a:gd name="connsiteX53" fmla="*/ 581025 w 783431"/>
                    <a:gd name="connsiteY53" fmla="*/ 454819 h 1164431"/>
                    <a:gd name="connsiteX54" fmla="*/ 604837 w 783431"/>
                    <a:gd name="connsiteY54" fmla="*/ 435769 h 1164431"/>
                    <a:gd name="connsiteX55" fmla="*/ 640556 w 783431"/>
                    <a:gd name="connsiteY55" fmla="*/ 414338 h 1164431"/>
                    <a:gd name="connsiteX56" fmla="*/ 645319 w 783431"/>
                    <a:gd name="connsiteY56" fmla="*/ 395288 h 1164431"/>
                    <a:gd name="connsiteX57" fmla="*/ 633412 w 783431"/>
                    <a:gd name="connsiteY57" fmla="*/ 371475 h 1164431"/>
                    <a:gd name="connsiteX58" fmla="*/ 614362 w 783431"/>
                    <a:gd name="connsiteY58" fmla="*/ 369094 h 1164431"/>
                    <a:gd name="connsiteX59" fmla="*/ 609600 w 783431"/>
                    <a:gd name="connsiteY59" fmla="*/ 366713 h 1164431"/>
                    <a:gd name="connsiteX60" fmla="*/ 597694 w 783431"/>
                    <a:gd name="connsiteY60" fmla="*/ 357188 h 1164431"/>
                    <a:gd name="connsiteX61" fmla="*/ 611981 w 783431"/>
                    <a:gd name="connsiteY61" fmla="*/ 345282 h 1164431"/>
                    <a:gd name="connsiteX62" fmla="*/ 652462 w 783431"/>
                    <a:gd name="connsiteY62" fmla="*/ 316707 h 1164431"/>
                    <a:gd name="connsiteX63" fmla="*/ 678656 w 783431"/>
                    <a:gd name="connsiteY63" fmla="*/ 264319 h 1164431"/>
                    <a:gd name="connsiteX64" fmla="*/ 666750 w 783431"/>
                    <a:gd name="connsiteY64" fmla="*/ 242888 h 1164431"/>
                    <a:gd name="connsiteX65" fmla="*/ 638175 w 783431"/>
                    <a:gd name="connsiteY65" fmla="*/ 219075 h 1164431"/>
                    <a:gd name="connsiteX66" fmla="*/ 642937 w 783431"/>
                    <a:gd name="connsiteY66" fmla="*/ 180975 h 1164431"/>
                    <a:gd name="connsiteX67" fmla="*/ 673894 w 783431"/>
                    <a:gd name="connsiteY67" fmla="*/ 171450 h 1164431"/>
                    <a:gd name="connsiteX68" fmla="*/ 700087 w 783431"/>
                    <a:gd name="connsiteY68" fmla="*/ 142875 h 1164431"/>
                    <a:gd name="connsiteX69" fmla="*/ 700087 w 783431"/>
                    <a:gd name="connsiteY69" fmla="*/ 111919 h 1164431"/>
                    <a:gd name="connsiteX70" fmla="*/ 666750 w 783431"/>
                    <a:gd name="connsiteY70" fmla="*/ 107157 h 1164431"/>
                    <a:gd name="connsiteX71" fmla="*/ 645319 w 783431"/>
                    <a:gd name="connsiteY71" fmla="*/ 102394 h 1164431"/>
                    <a:gd name="connsiteX72" fmla="*/ 645319 w 783431"/>
                    <a:gd name="connsiteY72" fmla="*/ 102394 h 1164431"/>
                    <a:gd name="connsiteX73" fmla="*/ 678656 w 783431"/>
                    <a:gd name="connsiteY73" fmla="*/ 69057 h 1164431"/>
                    <a:gd name="connsiteX74" fmla="*/ 685800 w 783431"/>
                    <a:gd name="connsiteY74" fmla="*/ 40482 h 1164431"/>
                    <a:gd name="connsiteX75" fmla="*/ 678656 w 783431"/>
                    <a:gd name="connsiteY75" fmla="*/ 21432 h 1164431"/>
                    <a:gd name="connsiteX76" fmla="*/ 695325 w 783431"/>
                    <a:gd name="connsiteY76" fmla="*/ 2382 h 1164431"/>
                    <a:gd name="connsiteX77" fmla="*/ 628650 w 783431"/>
                    <a:gd name="connsiteY77" fmla="*/ 0 h 1164431"/>
                    <a:gd name="connsiteX78" fmla="*/ 552450 w 783431"/>
                    <a:gd name="connsiteY78" fmla="*/ 52388 h 1164431"/>
                    <a:gd name="connsiteX79" fmla="*/ 538162 w 783431"/>
                    <a:gd name="connsiteY79" fmla="*/ 90488 h 1164431"/>
                    <a:gd name="connsiteX80" fmla="*/ 445294 w 783431"/>
                    <a:gd name="connsiteY80" fmla="*/ 126207 h 1164431"/>
                    <a:gd name="connsiteX81" fmla="*/ 397669 w 783431"/>
                    <a:gd name="connsiteY81" fmla="*/ 159544 h 1164431"/>
                    <a:gd name="connsiteX82" fmla="*/ 376237 w 783431"/>
                    <a:gd name="connsiteY82" fmla="*/ 190500 h 1164431"/>
                    <a:gd name="connsiteX83" fmla="*/ 350044 w 783431"/>
                    <a:gd name="connsiteY83" fmla="*/ 140494 h 1164431"/>
                    <a:gd name="connsiteX84" fmla="*/ 316706 w 783431"/>
                    <a:gd name="connsiteY84" fmla="*/ 140494 h 1164431"/>
                    <a:gd name="connsiteX85" fmla="*/ 304800 w 783431"/>
                    <a:gd name="connsiteY85" fmla="*/ 166688 h 1164431"/>
                    <a:gd name="connsiteX86" fmla="*/ 280987 w 783431"/>
                    <a:gd name="connsiteY86" fmla="*/ 230982 h 1164431"/>
                    <a:gd name="connsiteX87" fmla="*/ 154781 w 783431"/>
                    <a:gd name="connsiteY87" fmla="*/ 223838 h 1164431"/>
                    <a:gd name="connsiteX88" fmla="*/ 140494 w 783431"/>
                    <a:gd name="connsiteY88" fmla="*/ 245269 h 1164431"/>
                    <a:gd name="connsiteX89" fmla="*/ 138112 w 783431"/>
                    <a:gd name="connsiteY89" fmla="*/ 280988 h 1164431"/>
                    <a:gd name="connsiteX90" fmla="*/ 66675 w 783431"/>
                    <a:gd name="connsiteY90" fmla="*/ 309563 h 1164431"/>
                    <a:gd name="connsiteX91" fmla="*/ 54769 w 783431"/>
                    <a:gd name="connsiteY91" fmla="*/ 323850 h 1164431"/>
                    <a:gd name="connsiteX92" fmla="*/ 66675 w 783431"/>
                    <a:gd name="connsiteY92" fmla="*/ 381000 h 1164431"/>
                    <a:gd name="connsiteX93" fmla="*/ 19050 w 783431"/>
                    <a:gd name="connsiteY93" fmla="*/ 423863 h 1164431"/>
                    <a:gd name="connsiteX94" fmla="*/ 26194 w 783431"/>
                    <a:gd name="connsiteY94" fmla="*/ 490538 h 1164431"/>
                    <a:gd name="connsiteX95" fmla="*/ 33337 w 783431"/>
                    <a:gd name="connsiteY95" fmla="*/ 554832 h 1164431"/>
                    <a:gd name="connsiteX96" fmla="*/ 0 w 783431"/>
                    <a:gd name="connsiteY96" fmla="*/ 614363 h 1164431"/>
                    <a:gd name="connsiteX0" fmla="*/ 0 w 783431"/>
                    <a:gd name="connsiteY0" fmla="*/ 614363 h 1164431"/>
                    <a:gd name="connsiteX1" fmla="*/ 21431 w 783431"/>
                    <a:gd name="connsiteY1" fmla="*/ 661988 h 1164431"/>
                    <a:gd name="connsiteX2" fmla="*/ 28575 w 783431"/>
                    <a:gd name="connsiteY2" fmla="*/ 742950 h 1164431"/>
                    <a:gd name="connsiteX3" fmla="*/ 76200 w 783431"/>
                    <a:gd name="connsiteY3" fmla="*/ 814388 h 1164431"/>
                    <a:gd name="connsiteX4" fmla="*/ 102394 w 783431"/>
                    <a:gd name="connsiteY4" fmla="*/ 919163 h 1164431"/>
                    <a:gd name="connsiteX5" fmla="*/ 116681 w 783431"/>
                    <a:gd name="connsiteY5" fmla="*/ 947738 h 1164431"/>
                    <a:gd name="connsiteX6" fmla="*/ 130969 w 783431"/>
                    <a:gd name="connsiteY6" fmla="*/ 995363 h 1164431"/>
                    <a:gd name="connsiteX7" fmla="*/ 150019 w 783431"/>
                    <a:gd name="connsiteY7" fmla="*/ 1023938 h 1164431"/>
                    <a:gd name="connsiteX8" fmla="*/ 159544 w 783431"/>
                    <a:gd name="connsiteY8" fmla="*/ 1042988 h 1164431"/>
                    <a:gd name="connsiteX9" fmla="*/ 197644 w 783431"/>
                    <a:gd name="connsiteY9" fmla="*/ 1069182 h 1164431"/>
                    <a:gd name="connsiteX10" fmla="*/ 245269 w 783431"/>
                    <a:gd name="connsiteY10" fmla="*/ 1090613 h 1164431"/>
                    <a:gd name="connsiteX11" fmla="*/ 264318 w 783431"/>
                    <a:gd name="connsiteY11" fmla="*/ 1131094 h 1164431"/>
                    <a:gd name="connsiteX12" fmla="*/ 295275 w 783431"/>
                    <a:gd name="connsiteY12" fmla="*/ 1164431 h 1164431"/>
                    <a:gd name="connsiteX13" fmla="*/ 354806 w 783431"/>
                    <a:gd name="connsiteY13" fmla="*/ 1152524 h 1164431"/>
                    <a:gd name="connsiteX14" fmla="*/ 604837 w 783431"/>
                    <a:gd name="connsiteY14" fmla="*/ 1085850 h 1164431"/>
                    <a:gd name="connsiteX15" fmla="*/ 585787 w 783431"/>
                    <a:gd name="connsiteY15" fmla="*/ 1035844 h 1164431"/>
                    <a:gd name="connsiteX16" fmla="*/ 607219 w 783431"/>
                    <a:gd name="connsiteY16" fmla="*/ 1021557 h 1164431"/>
                    <a:gd name="connsiteX17" fmla="*/ 645319 w 783431"/>
                    <a:gd name="connsiteY17" fmla="*/ 1016794 h 1164431"/>
                    <a:gd name="connsiteX18" fmla="*/ 685800 w 783431"/>
                    <a:gd name="connsiteY18" fmla="*/ 997744 h 1164431"/>
                    <a:gd name="connsiteX19" fmla="*/ 716756 w 783431"/>
                    <a:gd name="connsiteY19" fmla="*/ 1002507 h 1164431"/>
                    <a:gd name="connsiteX20" fmla="*/ 738187 w 783431"/>
                    <a:gd name="connsiteY20" fmla="*/ 969169 h 1164431"/>
                    <a:gd name="connsiteX21" fmla="*/ 783431 w 783431"/>
                    <a:gd name="connsiteY21" fmla="*/ 933450 h 1164431"/>
                    <a:gd name="connsiteX22" fmla="*/ 776287 w 783431"/>
                    <a:gd name="connsiteY22" fmla="*/ 907257 h 1164431"/>
                    <a:gd name="connsiteX23" fmla="*/ 752475 w 783431"/>
                    <a:gd name="connsiteY23" fmla="*/ 888207 h 1164431"/>
                    <a:gd name="connsiteX24" fmla="*/ 752475 w 783431"/>
                    <a:gd name="connsiteY24" fmla="*/ 864394 h 1164431"/>
                    <a:gd name="connsiteX25" fmla="*/ 728662 w 783431"/>
                    <a:gd name="connsiteY25" fmla="*/ 852488 h 1164431"/>
                    <a:gd name="connsiteX26" fmla="*/ 711994 w 783431"/>
                    <a:gd name="connsiteY26" fmla="*/ 802482 h 1164431"/>
                    <a:gd name="connsiteX27" fmla="*/ 688181 w 783431"/>
                    <a:gd name="connsiteY27" fmla="*/ 814388 h 1164431"/>
                    <a:gd name="connsiteX28" fmla="*/ 659606 w 783431"/>
                    <a:gd name="connsiteY28" fmla="*/ 814388 h 1164431"/>
                    <a:gd name="connsiteX29" fmla="*/ 647700 w 783431"/>
                    <a:gd name="connsiteY29" fmla="*/ 847725 h 1164431"/>
                    <a:gd name="connsiteX30" fmla="*/ 623887 w 783431"/>
                    <a:gd name="connsiteY30" fmla="*/ 847725 h 1164431"/>
                    <a:gd name="connsiteX31" fmla="*/ 576262 w 783431"/>
                    <a:gd name="connsiteY31" fmla="*/ 828675 h 1164431"/>
                    <a:gd name="connsiteX32" fmla="*/ 554831 w 783431"/>
                    <a:gd name="connsiteY32" fmla="*/ 816769 h 1164431"/>
                    <a:gd name="connsiteX33" fmla="*/ 547687 w 783431"/>
                    <a:gd name="connsiteY33" fmla="*/ 783432 h 1164431"/>
                    <a:gd name="connsiteX34" fmla="*/ 561975 w 783431"/>
                    <a:gd name="connsiteY34" fmla="*/ 754857 h 1164431"/>
                    <a:gd name="connsiteX35" fmla="*/ 533400 w 783431"/>
                    <a:gd name="connsiteY35" fmla="*/ 733425 h 1164431"/>
                    <a:gd name="connsiteX36" fmla="*/ 509587 w 783431"/>
                    <a:gd name="connsiteY36" fmla="*/ 711994 h 1164431"/>
                    <a:gd name="connsiteX37" fmla="*/ 473869 w 783431"/>
                    <a:gd name="connsiteY37" fmla="*/ 711994 h 1164431"/>
                    <a:gd name="connsiteX38" fmla="*/ 435769 w 783431"/>
                    <a:gd name="connsiteY38" fmla="*/ 711994 h 1164431"/>
                    <a:gd name="connsiteX39" fmla="*/ 438150 w 783431"/>
                    <a:gd name="connsiteY39" fmla="*/ 669132 h 1164431"/>
                    <a:gd name="connsiteX40" fmla="*/ 428625 w 783431"/>
                    <a:gd name="connsiteY40" fmla="*/ 642938 h 1164431"/>
                    <a:gd name="connsiteX41" fmla="*/ 423862 w 783431"/>
                    <a:gd name="connsiteY41" fmla="*/ 607219 h 1164431"/>
                    <a:gd name="connsiteX42" fmla="*/ 426244 w 783431"/>
                    <a:gd name="connsiteY42" fmla="*/ 578644 h 1164431"/>
                    <a:gd name="connsiteX43" fmla="*/ 440531 w 783431"/>
                    <a:gd name="connsiteY43" fmla="*/ 566738 h 1164431"/>
                    <a:gd name="connsiteX44" fmla="*/ 450056 w 783431"/>
                    <a:gd name="connsiteY44" fmla="*/ 535782 h 1164431"/>
                    <a:gd name="connsiteX45" fmla="*/ 457200 w 783431"/>
                    <a:gd name="connsiteY45" fmla="*/ 519113 h 1164431"/>
                    <a:gd name="connsiteX46" fmla="*/ 481012 w 783431"/>
                    <a:gd name="connsiteY46" fmla="*/ 526257 h 1164431"/>
                    <a:gd name="connsiteX47" fmla="*/ 495300 w 783431"/>
                    <a:gd name="connsiteY47" fmla="*/ 576263 h 1164431"/>
                    <a:gd name="connsiteX48" fmla="*/ 507206 w 783431"/>
                    <a:gd name="connsiteY48" fmla="*/ 581025 h 1164431"/>
                    <a:gd name="connsiteX49" fmla="*/ 526256 w 783431"/>
                    <a:gd name="connsiteY49" fmla="*/ 583407 h 1164431"/>
                    <a:gd name="connsiteX50" fmla="*/ 554831 w 783431"/>
                    <a:gd name="connsiteY50" fmla="*/ 583407 h 1164431"/>
                    <a:gd name="connsiteX51" fmla="*/ 557212 w 783431"/>
                    <a:gd name="connsiteY51" fmla="*/ 547688 h 1164431"/>
                    <a:gd name="connsiteX52" fmla="*/ 545306 w 783431"/>
                    <a:gd name="connsiteY52" fmla="*/ 502444 h 1164431"/>
                    <a:gd name="connsiteX53" fmla="*/ 545306 w 783431"/>
                    <a:gd name="connsiteY53" fmla="*/ 476250 h 1164431"/>
                    <a:gd name="connsiteX54" fmla="*/ 581025 w 783431"/>
                    <a:gd name="connsiteY54" fmla="*/ 454819 h 1164431"/>
                    <a:gd name="connsiteX55" fmla="*/ 604837 w 783431"/>
                    <a:gd name="connsiteY55" fmla="*/ 435769 h 1164431"/>
                    <a:gd name="connsiteX56" fmla="*/ 640556 w 783431"/>
                    <a:gd name="connsiteY56" fmla="*/ 414338 h 1164431"/>
                    <a:gd name="connsiteX57" fmla="*/ 645319 w 783431"/>
                    <a:gd name="connsiteY57" fmla="*/ 395288 h 1164431"/>
                    <a:gd name="connsiteX58" fmla="*/ 633412 w 783431"/>
                    <a:gd name="connsiteY58" fmla="*/ 371475 h 1164431"/>
                    <a:gd name="connsiteX59" fmla="*/ 614362 w 783431"/>
                    <a:gd name="connsiteY59" fmla="*/ 369094 h 1164431"/>
                    <a:gd name="connsiteX60" fmla="*/ 609600 w 783431"/>
                    <a:gd name="connsiteY60" fmla="*/ 366713 h 1164431"/>
                    <a:gd name="connsiteX61" fmla="*/ 597694 w 783431"/>
                    <a:gd name="connsiteY61" fmla="*/ 357188 h 1164431"/>
                    <a:gd name="connsiteX62" fmla="*/ 611981 w 783431"/>
                    <a:gd name="connsiteY62" fmla="*/ 345282 h 1164431"/>
                    <a:gd name="connsiteX63" fmla="*/ 652462 w 783431"/>
                    <a:gd name="connsiteY63" fmla="*/ 316707 h 1164431"/>
                    <a:gd name="connsiteX64" fmla="*/ 678656 w 783431"/>
                    <a:gd name="connsiteY64" fmla="*/ 264319 h 1164431"/>
                    <a:gd name="connsiteX65" fmla="*/ 666750 w 783431"/>
                    <a:gd name="connsiteY65" fmla="*/ 242888 h 1164431"/>
                    <a:gd name="connsiteX66" fmla="*/ 638175 w 783431"/>
                    <a:gd name="connsiteY66" fmla="*/ 219075 h 1164431"/>
                    <a:gd name="connsiteX67" fmla="*/ 642937 w 783431"/>
                    <a:gd name="connsiteY67" fmla="*/ 180975 h 1164431"/>
                    <a:gd name="connsiteX68" fmla="*/ 673894 w 783431"/>
                    <a:gd name="connsiteY68" fmla="*/ 171450 h 1164431"/>
                    <a:gd name="connsiteX69" fmla="*/ 700087 w 783431"/>
                    <a:gd name="connsiteY69" fmla="*/ 142875 h 1164431"/>
                    <a:gd name="connsiteX70" fmla="*/ 700087 w 783431"/>
                    <a:gd name="connsiteY70" fmla="*/ 111919 h 1164431"/>
                    <a:gd name="connsiteX71" fmla="*/ 666750 w 783431"/>
                    <a:gd name="connsiteY71" fmla="*/ 107157 h 1164431"/>
                    <a:gd name="connsiteX72" fmla="*/ 645319 w 783431"/>
                    <a:gd name="connsiteY72" fmla="*/ 102394 h 1164431"/>
                    <a:gd name="connsiteX73" fmla="*/ 645319 w 783431"/>
                    <a:gd name="connsiteY73" fmla="*/ 102394 h 1164431"/>
                    <a:gd name="connsiteX74" fmla="*/ 678656 w 783431"/>
                    <a:gd name="connsiteY74" fmla="*/ 69057 h 1164431"/>
                    <a:gd name="connsiteX75" fmla="*/ 685800 w 783431"/>
                    <a:gd name="connsiteY75" fmla="*/ 40482 h 1164431"/>
                    <a:gd name="connsiteX76" fmla="*/ 678656 w 783431"/>
                    <a:gd name="connsiteY76" fmla="*/ 21432 h 1164431"/>
                    <a:gd name="connsiteX77" fmla="*/ 695325 w 783431"/>
                    <a:gd name="connsiteY77" fmla="*/ 2382 h 1164431"/>
                    <a:gd name="connsiteX78" fmla="*/ 628650 w 783431"/>
                    <a:gd name="connsiteY78" fmla="*/ 0 h 1164431"/>
                    <a:gd name="connsiteX79" fmla="*/ 552450 w 783431"/>
                    <a:gd name="connsiteY79" fmla="*/ 52388 h 1164431"/>
                    <a:gd name="connsiteX80" fmla="*/ 538162 w 783431"/>
                    <a:gd name="connsiteY80" fmla="*/ 90488 h 1164431"/>
                    <a:gd name="connsiteX81" fmla="*/ 445294 w 783431"/>
                    <a:gd name="connsiteY81" fmla="*/ 126207 h 1164431"/>
                    <a:gd name="connsiteX82" fmla="*/ 397669 w 783431"/>
                    <a:gd name="connsiteY82" fmla="*/ 159544 h 1164431"/>
                    <a:gd name="connsiteX83" fmla="*/ 376237 w 783431"/>
                    <a:gd name="connsiteY83" fmla="*/ 190500 h 1164431"/>
                    <a:gd name="connsiteX84" fmla="*/ 350044 w 783431"/>
                    <a:gd name="connsiteY84" fmla="*/ 140494 h 1164431"/>
                    <a:gd name="connsiteX85" fmla="*/ 316706 w 783431"/>
                    <a:gd name="connsiteY85" fmla="*/ 140494 h 1164431"/>
                    <a:gd name="connsiteX86" fmla="*/ 304800 w 783431"/>
                    <a:gd name="connsiteY86" fmla="*/ 166688 h 1164431"/>
                    <a:gd name="connsiteX87" fmla="*/ 280987 w 783431"/>
                    <a:gd name="connsiteY87" fmla="*/ 230982 h 1164431"/>
                    <a:gd name="connsiteX88" fmla="*/ 154781 w 783431"/>
                    <a:gd name="connsiteY88" fmla="*/ 223838 h 1164431"/>
                    <a:gd name="connsiteX89" fmla="*/ 140494 w 783431"/>
                    <a:gd name="connsiteY89" fmla="*/ 245269 h 1164431"/>
                    <a:gd name="connsiteX90" fmla="*/ 138112 w 783431"/>
                    <a:gd name="connsiteY90" fmla="*/ 280988 h 1164431"/>
                    <a:gd name="connsiteX91" fmla="*/ 66675 w 783431"/>
                    <a:gd name="connsiteY91" fmla="*/ 309563 h 1164431"/>
                    <a:gd name="connsiteX92" fmla="*/ 54769 w 783431"/>
                    <a:gd name="connsiteY92" fmla="*/ 323850 h 1164431"/>
                    <a:gd name="connsiteX93" fmla="*/ 66675 w 783431"/>
                    <a:gd name="connsiteY93" fmla="*/ 381000 h 1164431"/>
                    <a:gd name="connsiteX94" fmla="*/ 19050 w 783431"/>
                    <a:gd name="connsiteY94" fmla="*/ 423863 h 1164431"/>
                    <a:gd name="connsiteX95" fmla="*/ 26194 w 783431"/>
                    <a:gd name="connsiteY95" fmla="*/ 490538 h 1164431"/>
                    <a:gd name="connsiteX96" fmla="*/ 33337 w 783431"/>
                    <a:gd name="connsiteY96" fmla="*/ 554832 h 1164431"/>
                    <a:gd name="connsiteX97" fmla="*/ 0 w 783431"/>
                    <a:gd name="connsiteY97" fmla="*/ 614363 h 1164431"/>
                    <a:gd name="connsiteX0" fmla="*/ 0 w 783431"/>
                    <a:gd name="connsiteY0" fmla="*/ 614363 h 1200149"/>
                    <a:gd name="connsiteX1" fmla="*/ 21431 w 783431"/>
                    <a:gd name="connsiteY1" fmla="*/ 661988 h 1200149"/>
                    <a:gd name="connsiteX2" fmla="*/ 28575 w 783431"/>
                    <a:gd name="connsiteY2" fmla="*/ 742950 h 1200149"/>
                    <a:gd name="connsiteX3" fmla="*/ 76200 w 783431"/>
                    <a:gd name="connsiteY3" fmla="*/ 814388 h 1200149"/>
                    <a:gd name="connsiteX4" fmla="*/ 102394 w 783431"/>
                    <a:gd name="connsiteY4" fmla="*/ 919163 h 1200149"/>
                    <a:gd name="connsiteX5" fmla="*/ 116681 w 783431"/>
                    <a:gd name="connsiteY5" fmla="*/ 947738 h 1200149"/>
                    <a:gd name="connsiteX6" fmla="*/ 130969 w 783431"/>
                    <a:gd name="connsiteY6" fmla="*/ 995363 h 1200149"/>
                    <a:gd name="connsiteX7" fmla="*/ 150019 w 783431"/>
                    <a:gd name="connsiteY7" fmla="*/ 1023938 h 1200149"/>
                    <a:gd name="connsiteX8" fmla="*/ 159544 w 783431"/>
                    <a:gd name="connsiteY8" fmla="*/ 1042988 h 1200149"/>
                    <a:gd name="connsiteX9" fmla="*/ 197644 w 783431"/>
                    <a:gd name="connsiteY9" fmla="*/ 1069182 h 1200149"/>
                    <a:gd name="connsiteX10" fmla="*/ 245269 w 783431"/>
                    <a:gd name="connsiteY10" fmla="*/ 1090613 h 1200149"/>
                    <a:gd name="connsiteX11" fmla="*/ 264318 w 783431"/>
                    <a:gd name="connsiteY11" fmla="*/ 1131094 h 1200149"/>
                    <a:gd name="connsiteX12" fmla="*/ 295275 w 783431"/>
                    <a:gd name="connsiteY12" fmla="*/ 1164431 h 1200149"/>
                    <a:gd name="connsiteX13" fmla="*/ 385762 w 783431"/>
                    <a:gd name="connsiteY13" fmla="*/ 1200149 h 1200149"/>
                    <a:gd name="connsiteX14" fmla="*/ 604837 w 783431"/>
                    <a:gd name="connsiteY14" fmla="*/ 1085850 h 1200149"/>
                    <a:gd name="connsiteX15" fmla="*/ 585787 w 783431"/>
                    <a:gd name="connsiteY15" fmla="*/ 1035844 h 1200149"/>
                    <a:gd name="connsiteX16" fmla="*/ 607219 w 783431"/>
                    <a:gd name="connsiteY16" fmla="*/ 1021557 h 1200149"/>
                    <a:gd name="connsiteX17" fmla="*/ 645319 w 783431"/>
                    <a:gd name="connsiteY17" fmla="*/ 1016794 h 1200149"/>
                    <a:gd name="connsiteX18" fmla="*/ 685800 w 783431"/>
                    <a:gd name="connsiteY18" fmla="*/ 997744 h 1200149"/>
                    <a:gd name="connsiteX19" fmla="*/ 716756 w 783431"/>
                    <a:gd name="connsiteY19" fmla="*/ 1002507 h 1200149"/>
                    <a:gd name="connsiteX20" fmla="*/ 738187 w 783431"/>
                    <a:gd name="connsiteY20" fmla="*/ 969169 h 1200149"/>
                    <a:gd name="connsiteX21" fmla="*/ 783431 w 783431"/>
                    <a:gd name="connsiteY21" fmla="*/ 933450 h 1200149"/>
                    <a:gd name="connsiteX22" fmla="*/ 776287 w 783431"/>
                    <a:gd name="connsiteY22" fmla="*/ 907257 h 1200149"/>
                    <a:gd name="connsiteX23" fmla="*/ 752475 w 783431"/>
                    <a:gd name="connsiteY23" fmla="*/ 888207 h 1200149"/>
                    <a:gd name="connsiteX24" fmla="*/ 752475 w 783431"/>
                    <a:gd name="connsiteY24" fmla="*/ 864394 h 1200149"/>
                    <a:gd name="connsiteX25" fmla="*/ 728662 w 783431"/>
                    <a:gd name="connsiteY25" fmla="*/ 852488 h 1200149"/>
                    <a:gd name="connsiteX26" fmla="*/ 711994 w 783431"/>
                    <a:gd name="connsiteY26" fmla="*/ 802482 h 1200149"/>
                    <a:gd name="connsiteX27" fmla="*/ 688181 w 783431"/>
                    <a:gd name="connsiteY27" fmla="*/ 814388 h 1200149"/>
                    <a:gd name="connsiteX28" fmla="*/ 659606 w 783431"/>
                    <a:gd name="connsiteY28" fmla="*/ 814388 h 1200149"/>
                    <a:gd name="connsiteX29" fmla="*/ 647700 w 783431"/>
                    <a:gd name="connsiteY29" fmla="*/ 847725 h 1200149"/>
                    <a:gd name="connsiteX30" fmla="*/ 623887 w 783431"/>
                    <a:gd name="connsiteY30" fmla="*/ 847725 h 1200149"/>
                    <a:gd name="connsiteX31" fmla="*/ 576262 w 783431"/>
                    <a:gd name="connsiteY31" fmla="*/ 828675 h 1200149"/>
                    <a:gd name="connsiteX32" fmla="*/ 554831 w 783431"/>
                    <a:gd name="connsiteY32" fmla="*/ 816769 h 1200149"/>
                    <a:gd name="connsiteX33" fmla="*/ 547687 w 783431"/>
                    <a:gd name="connsiteY33" fmla="*/ 783432 h 1200149"/>
                    <a:gd name="connsiteX34" fmla="*/ 561975 w 783431"/>
                    <a:gd name="connsiteY34" fmla="*/ 754857 h 1200149"/>
                    <a:gd name="connsiteX35" fmla="*/ 533400 w 783431"/>
                    <a:gd name="connsiteY35" fmla="*/ 733425 h 1200149"/>
                    <a:gd name="connsiteX36" fmla="*/ 509587 w 783431"/>
                    <a:gd name="connsiteY36" fmla="*/ 711994 h 1200149"/>
                    <a:gd name="connsiteX37" fmla="*/ 473869 w 783431"/>
                    <a:gd name="connsiteY37" fmla="*/ 711994 h 1200149"/>
                    <a:gd name="connsiteX38" fmla="*/ 435769 w 783431"/>
                    <a:gd name="connsiteY38" fmla="*/ 711994 h 1200149"/>
                    <a:gd name="connsiteX39" fmla="*/ 438150 w 783431"/>
                    <a:gd name="connsiteY39" fmla="*/ 669132 h 1200149"/>
                    <a:gd name="connsiteX40" fmla="*/ 428625 w 783431"/>
                    <a:gd name="connsiteY40" fmla="*/ 642938 h 1200149"/>
                    <a:gd name="connsiteX41" fmla="*/ 423862 w 783431"/>
                    <a:gd name="connsiteY41" fmla="*/ 607219 h 1200149"/>
                    <a:gd name="connsiteX42" fmla="*/ 426244 w 783431"/>
                    <a:gd name="connsiteY42" fmla="*/ 578644 h 1200149"/>
                    <a:gd name="connsiteX43" fmla="*/ 440531 w 783431"/>
                    <a:gd name="connsiteY43" fmla="*/ 566738 h 1200149"/>
                    <a:gd name="connsiteX44" fmla="*/ 450056 w 783431"/>
                    <a:gd name="connsiteY44" fmla="*/ 535782 h 1200149"/>
                    <a:gd name="connsiteX45" fmla="*/ 457200 w 783431"/>
                    <a:gd name="connsiteY45" fmla="*/ 519113 h 1200149"/>
                    <a:gd name="connsiteX46" fmla="*/ 481012 w 783431"/>
                    <a:gd name="connsiteY46" fmla="*/ 526257 h 1200149"/>
                    <a:gd name="connsiteX47" fmla="*/ 495300 w 783431"/>
                    <a:gd name="connsiteY47" fmla="*/ 576263 h 1200149"/>
                    <a:gd name="connsiteX48" fmla="*/ 507206 w 783431"/>
                    <a:gd name="connsiteY48" fmla="*/ 581025 h 1200149"/>
                    <a:gd name="connsiteX49" fmla="*/ 526256 w 783431"/>
                    <a:gd name="connsiteY49" fmla="*/ 583407 h 1200149"/>
                    <a:gd name="connsiteX50" fmla="*/ 554831 w 783431"/>
                    <a:gd name="connsiteY50" fmla="*/ 583407 h 1200149"/>
                    <a:gd name="connsiteX51" fmla="*/ 557212 w 783431"/>
                    <a:gd name="connsiteY51" fmla="*/ 547688 h 1200149"/>
                    <a:gd name="connsiteX52" fmla="*/ 545306 w 783431"/>
                    <a:gd name="connsiteY52" fmla="*/ 502444 h 1200149"/>
                    <a:gd name="connsiteX53" fmla="*/ 545306 w 783431"/>
                    <a:gd name="connsiteY53" fmla="*/ 476250 h 1200149"/>
                    <a:gd name="connsiteX54" fmla="*/ 581025 w 783431"/>
                    <a:gd name="connsiteY54" fmla="*/ 454819 h 1200149"/>
                    <a:gd name="connsiteX55" fmla="*/ 604837 w 783431"/>
                    <a:gd name="connsiteY55" fmla="*/ 435769 h 1200149"/>
                    <a:gd name="connsiteX56" fmla="*/ 640556 w 783431"/>
                    <a:gd name="connsiteY56" fmla="*/ 414338 h 1200149"/>
                    <a:gd name="connsiteX57" fmla="*/ 645319 w 783431"/>
                    <a:gd name="connsiteY57" fmla="*/ 395288 h 1200149"/>
                    <a:gd name="connsiteX58" fmla="*/ 633412 w 783431"/>
                    <a:gd name="connsiteY58" fmla="*/ 371475 h 1200149"/>
                    <a:gd name="connsiteX59" fmla="*/ 614362 w 783431"/>
                    <a:gd name="connsiteY59" fmla="*/ 369094 h 1200149"/>
                    <a:gd name="connsiteX60" fmla="*/ 609600 w 783431"/>
                    <a:gd name="connsiteY60" fmla="*/ 366713 h 1200149"/>
                    <a:gd name="connsiteX61" fmla="*/ 597694 w 783431"/>
                    <a:gd name="connsiteY61" fmla="*/ 357188 h 1200149"/>
                    <a:gd name="connsiteX62" fmla="*/ 611981 w 783431"/>
                    <a:gd name="connsiteY62" fmla="*/ 345282 h 1200149"/>
                    <a:gd name="connsiteX63" fmla="*/ 652462 w 783431"/>
                    <a:gd name="connsiteY63" fmla="*/ 316707 h 1200149"/>
                    <a:gd name="connsiteX64" fmla="*/ 678656 w 783431"/>
                    <a:gd name="connsiteY64" fmla="*/ 264319 h 1200149"/>
                    <a:gd name="connsiteX65" fmla="*/ 666750 w 783431"/>
                    <a:gd name="connsiteY65" fmla="*/ 242888 h 1200149"/>
                    <a:gd name="connsiteX66" fmla="*/ 638175 w 783431"/>
                    <a:gd name="connsiteY66" fmla="*/ 219075 h 1200149"/>
                    <a:gd name="connsiteX67" fmla="*/ 642937 w 783431"/>
                    <a:gd name="connsiteY67" fmla="*/ 180975 h 1200149"/>
                    <a:gd name="connsiteX68" fmla="*/ 673894 w 783431"/>
                    <a:gd name="connsiteY68" fmla="*/ 171450 h 1200149"/>
                    <a:gd name="connsiteX69" fmla="*/ 700087 w 783431"/>
                    <a:gd name="connsiteY69" fmla="*/ 142875 h 1200149"/>
                    <a:gd name="connsiteX70" fmla="*/ 700087 w 783431"/>
                    <a:gd name="connsiteY70" fmla="*/ 111919 h 1200149"/>
                    <a:gd name="connsiteX71" fmla="*/ 666750 w 783431"/>
                    <a:gd name="connsiteY71" fmla="*/ 107157 h 1200149"/>
                    <a:gd name="connsiteX72" fmla="*/ 645319 w 783431"/>
                    <a:gd name="connsiteY72" fmla="*/ 102394 h 1200149"/>
                    <a:gd name="connsiteX73" fmla="*/ 645319 w 783431"/>
                    <a:gd name="connsiteY73" fmla="*/ 102394 h 1200149"/>
                    <a:gd name="connsiteX74" fmla="*/ 678656 w 783431"/>
                    <a:gd name="connsiteY74" fmla="*/ 69057 h 1200149"/>
                    <a:gd name="connsiteX75" fmla="*/ 685800 w 783431"/>
                    <a:gd name="connsiteY75" fmla="*/ 40482 h 1200149"/>
                    <a:gd name="connsiteX76" fmla="*/ 678656 w 783431"/>
                    <a:gd name="connsiteY76" fmla="*/ 21432 h 1200149"/>
                    <a:gd name="connsiteX77" fmla="*/ 695325 w 783431"/>
                    <a:gd name="connsiteY77" fmla="*/ 2382 h 1200149"/>
                    <a:gd name="connsiteX78" fmla="*/ 628650 w 783431"/>
                    <a:gd name="connsiteY78" fmla="*/ 0 h 1200149"/>
                    <a:gd name="connsiteX79" fmla="*/ 552450 w 783431"/>
                    <a:gd name="connsiteY79" fmla="*/ 52388 h 1200149"/>
                    <a:gd name="connsiteX80" fmla="*/ 538162 w 783431"/>
                    <a:gd name="connsiteY80" fmla="*/ 90488 h 1200149"/>
                    <a:gd name="connsiteX81" fmla="*/ 445294 w 783431"/>
                    <a:gd name="connsiteY81" fmla="*/ 126207 h 1200149"/>
                    <a:gd name="connsiteX82" fmla="*/ 397669 w 783431"/>
                    <a:gd name="connsiteY82" fmla="*/ 159544 h 1200149"/>
                    <a:gd name="connsiteX83" fmla="*/ 376237 w 783431"/>
                    <a:gd name="connsiteY83" fmla="*/ 190500 h 1200149"/>
                    <a:gd name="connsiteX84" fmla="*/ 350044 w 783431"/>
                    <a:gd name="connsiteY84" fmla="*/ 140494 h 1200149"/>
                    <a:gd name="connsiteX85" fmla="*/ 316706 w 783431"/>
                    <a:gd name="connsiteY85" fmla="*/ 140494 h 1200149"/>
                    <a:gd name="connsiteX86" fmla="*/ 304800 w 783431"/>
                    <a:gd name="connsiteY86" fmla="*/ 166688 h 1200149"/>
                    <a:gd name="connsiteX87" fmla="*/ 280987 w 783431"/>
                    <a:gd name="connsiteY87" fmla="*/ 230982 h 1200149"/>
                    <a:gd name="connsiteX88" fmla="*/ 154781 w 783431"/>
                    <a:gd name="connsiteY88" fmla="*/ 223838 h 1200149"/>
                    <a:gd name="connsiteX89" fmla="*/ 140494 w 783431"/>
                    <a:gd name="connsiteY89" fmla="*/ 245269 h 1200149"/>
                    <a:gd name="connsiteX90" fmla="*/ 138112 w 783431"/>
                    <a:gd name="connsiteY90" fmla="*/ 280988 h 1200149"/>
                    <a:gd name="connsiteX91" fmla="*/ 66675 w 783431"/>
                    <a:gd name="connsiteY91" fmla="*/ 309563 h 1200149"/>
                    <a:gd name="connsiteX92" fmla="*/ 54769 w 783431"/>
                    <a:gd name="connsiteY92" fmla="*/ 323850 h 1200149"/>
                    <a:gd name="connsiteX93" fmla="*/ 66675 w 783431"/>
                    <a:gd name="connsiteY93" fmla="*/ 381000 h 1200149"/>
                    <a:gd name="connsiteX94" fmla="*/ 19050 w 783431"/>
                    <a:gd name="connsiteY94" fmla="*/ 423863 h 1200149"/>
                    <a:gd name="connsiteX95" fmla="*/ 26194 w 783431"/>
                    <a:gd name="connsiteY95" fmla="*/ 490538 h 1200149"/>
                    <a:gd name="connsiteX96" fmla="*/ 33337 w 783431"/>
                    <a:gd name="connsiteY96" fmla="*/ 554832 h 1200149"/>
                    <a:gd name="connsiteX97" fmla="*/ 0 w 783431"/>
                    <a:gd name="connsiteY97" fmla="*/ 614363 h 1200149"/>
                    <a:gd name="connsiteX0" fmla="*/ 0 w 783431"/>
                    <a:gd name="connsiteY0" fmla="*/ 614363 h 1200149"/>
                    <a:gd name="connsiteX1" fmla="*/ 21431 w 783431"/>
                    <a:gd name="connsiteY1" fmla="*/ 661988 h 1200149"/>
                    <a:gd name="connsiteX2" fmla="*/ 28575 w 783431"/>
                    <a:gd name="connsiteY2" fmla="*/ 742950 h 1200149"/>
                    <a:gd name="connsiteX3" fmla="*/ 76200 w 783431"/>
                    <a:gd name="connsiteY3" fmla="*/ 814388 h 1200149"/>
                    <a:gd name="connsiteX4" fmla="*/ 102394 w 783431"/>
                    <a:gd name="connsiteY4" fmla="*/ 919163 h 1200149"/>
                    <a:gd name="connsiteX5" fmla="*/ 116681 w 783431"/>
                    <a:gd name="connsiteY5" fmla="*/ 947738 h 1200149"/>
                    <a:gd name="connsiteX6" fmla="*/ 130969 w 783431"/>
                    <a:gd name="connsiteY6" fmla="*/ 995363 h 1200149"/>
                    <a:gd name="connsiteX7" fmla="*/ 150019 w 783431"/>
                    <a:gd name="connsiteY7" fmla="*/ 1023938 h 1200149"/>
                    <a:gd name="connsiteX8" fmla="*/ 159544 w 783431"/>
                    <a:gd name="connsiteY8" fmla="*/ 1042988 h 1200149"/>
                    <a:gd name="connsiteX9" fmla="*/ 197644 w 783431"/>
                    <a:gd name="connsiteY9" fmla="*/ 1069182 h 1200149"/>
                    <a:gd name="connsiteX10" fmla="*/ 245269 w 783431"/>
                    <a:gd name="connsiteY10" fmla="*/ 1090613 h 1200149"/>
                    <a:gd name="connsiteX11" fmla="*/ 264318 w 783431"/>
                    <a:gd name="connsiteY11" fmla="*/ 1131094 h 1200149"/>
                    <a:gd name="connsiteX12" fmla="*/ 295275 w 783431"/>
                    <a:gd name="connsiteY12" fmla="*/ 1164431 h 1200149"/>
                    <a:gd name="connsiteX13" fmla="*/ 385762 w 783431"/>
                    <a:gd name="connsiteY13" fmla="*/ 1200149 h 1200149"/>
                    <a:gd name="connsiteX14" fmla="*/ 557212 w 783431"/>
                    <a:gd name="connsiteY14" fmla="*/ 1109662 h 1200149"/>
                    <a:gd name="connsiteX15" fmla="*/ 604837 w 783431"/>
                    <a:gd name="connsiteY15" fmla="*/ 1085850 h 1200149"/>
                    <a:gd name="connsiteX16" fmla="*/ 585787 w 783431"/>
                    <a:gd name="connsiteY16" fmla="*/ 1035844 h 1200149"/>
                    <a:gd name="connsiteX17" fmla="*/ 607219 w 783431"/>
                    <a:gd name="connsiteY17" fmla="*/ 1021557 h 1200149"/>
                    <a:gd name="connsiteX18" fmla="*/ 645319 w 783431"/>
                    <a:gd name="connsiteY18" fmla="*/ 1016794 h 1200149"/>
                    <a:gd name="connsiteX19" fmla="*/ 685800 w 783431"/>
                    <a:gd name="connsiteY19" fmla="*/ 997744 h 1200149"/>
                    <a:gd name="connsiteX20" fmla="*/ 716756 w 783431"/>
                    <a:gd name="connsiteY20" fmla="*/ 1002507 h 1200149"/>
                    <a:gd name="connsiteX21" fmla="*/ 738187 w 783431"/>
                    <a:gd name="connsiteY21" fmla="*/ 969169 h 1200149"/>
                    <a:gd name="connsiteX22" fmla="*/ 783431 w 783431"/>
                    <a:gd name="connsiteY22" fmla="*/ 933450 h 1200149"/>
                    <a:gd name="connsiteX23" fmla="*/ 776287 w 783431"/>
                    <a:gd name="connsiteY23" fmla="*/ 907257 h 1200149"/>
                    <a:gd name="connsiteX24" fmla="*/ 752475 w 783431"/>
                    <a:gd name="connsiteY24" fmla="*/ 888207 h 1200149"/>
                    <a:gd name="connsiteX25" fmla="*/ 752475 w 783431"/>
                    <a:gd name="connsiteY25" fmla="*/ 864394 h 1200149"/>
                    <a:gd name="connsiteX26" fmla="*/ 728662 w 783431"/>
                    <a:gd name="connsiteY26" fmla="*/ 852488 h 1200149"/>
                    <a:gd name="connsiteX27" fmla="*/ 711994 w 783431"/>
                    <a:gd name="connsiteY27" fmla="*/ 802482 h 1200149"/>
                    <a:gd name="connsiteX28" fmla="*/ 688181 w 783431"/>
                    <a:gd name="connsiteY28" fmla="*/ 814388 h 1200149"/>
                    <a:gd name="connsiteX29" fmla="*/ 659606 w 783431"/>
                    <a:gd name="connsiteY29" fmla="*/ 814388 h 1200149"/>
                    <a:gd name="connsiteX30" fmla="*/ 647700 w 783431"/>
                    <a:gd name="connsiteY30" fmla="*/ 847725 h 1200149"/>
                    <a:gd name="connsiteX31" fmla="*/ 623887 w 783431"/>
                    <a:gd name="connsiteY31" fmla="*/ 847725 h 1200149"/>
                    <a:gd name="connsiteX32" fmla="*/ 576262 w 783431"/>
                    <a:gd name="connsiteY32" fmla="*/ 828675 h 1200149"/>
                    <a:gd name="connsiteX33" fmla="*/ 554831 w 783431"/>
                    <a:gd name="connsiteY33" fmla="*/ 816769 h 1200149"/>
                    <a:gd name="connsiteX34" fmla="*/ 547687 w 783431"/>
                    <a:gd name="connsiteY34" fmla="*/ 783432 h 1200149"/>
                    <a:gd name="connsiteX35" fmla="*/ 561975 w 783431"/>
                    <a:gd name="connsiteY35" fmla="*/ 754857 h 1200149"/>
                    <a:gd name="connsiteX36" fmla="*/ 533400 w 783431"/>
                    <a:gd name="connsiteY36" fmla="*/ 733425 h 1200149"/>
                    <a:gd name="connsiteX37" fmla="*/ 509587 w 783431"/>
                    <a:gd name="connsiteY37" fmla="*/ 711994 h 1200149"/>
                    <a:gd name="connsiteX38" fmla="*/ 473869 w 783431"/>
                    <a:gd name="connsiteY38" fmla="*/ 711994 h 1200149"/>
                    <a:gd name="connsiteX39" fmla="*/ 435769 w 783431"/>
                    <a:gd name="connsiteY39" fmla="*/ 711994 h 1200149"/>
                    <a:gd name="connsiteX40" fmla="*/ 438150 w 783431"/>
                    <a:gd name="connsiteY40" fmla="*/ 669132 h 1200149"/>
                    <a:gd name="connsiteX41" fmla="*/ 428625 w 783431"/>
                    <a:gd name="connsiteY41" fmla="*/ 642938 h 1200149"/>
                    <a:gd name="connsiteX42" fmla="*/ 423862 w 783431"/>
                    <a:gd name="connsiteY42" fmla="*/ 607219 h 1200149"/>
                    <a:gd name="connsiteX43" fmla="*/ 426244 w 783431"/>
                    <a:gd name="connsiteY43" fmla="*/ 578644 h 1200149"/>
                    <a:gd name="connsiteX44" fmla="*/ 440531 w 783431"/>
                    <a:gd name="connsiteY44" fmla="*/ 566738 h 1200149"/>
                    <a:gd name="connsiteX45" fmla="*/ 450056 w 783431"/>
                    <a:gd name="connsiteY45" fmla="*/ 535782 h 1200149"/>
                    <a:gd name="connsiteX46" fmla="*/ 457200 w 783431"/>
                    <a:gd name="connsiteY46" fmla="*/ 519113 h 1200149"/>
                    <a:gd name="connsiteX47" fmla="*/ 481012 w 783431"/>
                    <a:gd name="connsiteY47" fmla="*/ 526257 h 1200149"/>
                    <a:gd name="connsiteX48" fmla="*/ 495300 w 783431"/>
                    <a:gd name="connsiteY48" fmla="*/ 576263 h 1200149"/>
                    <a:gd name="connsiteX49" fmla="*/ 507206 w 783431"/>
                    <a:gd name="connsiteY49" fmla="*/ 581025 h 1200149"/>
                    <a:gd name="connsiteX50" fmla="*/ 526256 w 783431"/>
                    <a:gd name="connsiteY50" fmla="*/ 583407 h 1200149"/>
                    <a:gd name="connsiteX51" fmla="*/ 554831 w 783431"/>
                    <a:gd name="connsiteY51" fmla="*/ 583407 h 1200149"/>
                    <a:gd name="connsiteX52" fmla="*/ 557212 w 783431"/>
                    <a:gd name="connsiteY52" fmla="*/ 547688 h 1200149"/>
                    <a:gd name="connsiteX53" fmla="*/ 545306 w 783431"/>
                    <a:gd name="connsiteY53" fmla="*/ 502444 h 1200149"/>
                    <a:gd name="connsiteX54" fmla="*/ 545306 w 783431"/>
                    <a:gd name="connsiteY54" fmla="*/ 476250 h 1200149"/>
                    <a:gd name="connsiteX55" fmla="*/ 581025 w 783431"/>
                    <a:gd name="connsiteY55" fmla="*/ 454819 h 1200149"/>
                    <a:gd name="connsiteX56" fmla="*/ 604837 w 783431"/>
                    <a:gd name="connsiteY56" fmla="*/ 435769 h 1200149"/>
                    <a:gd name="connsiteX57" fmla="*/ 640556 w 783431"/>
                    <a:gd name="connsiteY57" fmla="*/ 414338 h 1200149"/>
                    <a:gd name="connsiteX58" fmla="*/ 645319 w 783431"/>
                    <a:gd name="connsiteY58" fmla="*/ 395288 h 1200149"/>
                    <a:gd name="connsiteX59" fmla="*/ 633412 w 783431"/>
                    <a:gd name="connsiteY59" fmla="*/ 371475 h 1200149"/>
                    <a:gd name="connsiteX60" fmla="*/ 614362 w 783431"/>
                    <a:gd name="connsiteY60" fmla="*/ 369094 h 1200149"/>
                    <a:gd name="connsiteX61" fmla="*/ 609600 w 783431"/>
                    <a:gd name="connsiteY61" fmla="*/ 366713 h 1200149"/>
                    <a:gd name="connsiteX62" fmla="*/ 597694 w 783431"/>
                    <a:gd name="connsiteY62" fmla="*/ 357188 h 1200149"/>
                    <a:gd name="connsiteX63" fmla="*/ 611981 w 783431"/>
                    <a:gd name="connsiteY63" fmla="*/ 345282 h 1200149"/>
                    <a:gd name="connsiteX64" fmla="*/ 652462 w 783431"/>
                    <a:gd name="connsiteY64" fmla="*/ 316707 h 1200149"/>
                    <a:gd name="connsiteX65" fmla="*/ 678656 w 783431"/>
                    <a:gd name="connsiteY65" fmla="*/ 264319 h 1200149"/>
                    <a:gd name="connsiteX66" fmla="*/ 666750 w 783431"/>
                    <a:gd name="connsiteY66" fmla="*/ 242888 h 1200149"/>
                    <a:gd name="connsiteX67" fmla="*/ 638175 w 783431"/>
                    <a:gd name="connsiteY67" fmla="*/ 219075 h 1200149"/>
                    <a:gd name="connsiteX68" fmla="*/ 642937 w 783431"/>
                    <a:gd name="connsiteY68" fmla="*/ 180975 h 1200149"/>
                    <a:gd name="connsiteX69" fmla="*/ 673894 w 783431"/>
                    <a:gd name="connsiteY69" fmla="*/ 171450 h 1200149"/>
                    <a:gd name="connsiteX70" fmla="*/ 700087 w 783431"/>
                    <a:gd name="connsiteY70" fmla="*/ 142875 h 1200149"/>
                    <a:gd name="connsiteX71" fmla="*/ 700087 w 783431"/>
                    <a:gd name="connsiteY71" fmla="*/ 111919 h 1200149"/>
                    <a:gd name="connsiteX72" fmla="*/ 666750 w 783431"/>
                    <a:gd name="connsiteY72" fmla="*/ 107157 h 1200149"/>
                    <a:gd name="connsiteX73" fmla="*/ 645319 w 783431"/>
                    <a:gd name="connsiteY73" fmla="*/ 102394 h 1200149"/>
                    <a:gd name="connsiteX74" fmla="*/ 645319 w 783431"/>
                    <a:gd name="connsiteY74" fmla="*/ 102394 h 1200149"/>
                    <a:gd name="connsiteX75" fmla="*/ 678656 w 783431"/>
                    <a:gd name="connsiteY75" fmla="*/ 69057 h 1200149"/>
                    <a:gd name="connsiteX76" fmla="*/ 685800 w 783431"/>
                    <a:gd name="connsiteY76" fmla="*/ 40482 h 1200149"/>
                    <a:gd name="connsiteX77" fmla="*/ 678656 w 783431"/>
                    <a:gd name="connsiteY77" fmla="*/ 21432 h 1200149"/>
                    <a:gd name="connsiteX78" fmla="*/ 695325 w 783431"/>
                    <a:gd name="connsiteY78" fmla="*/ 2382 h 1200149"/>
                    <a:gd name="connsiteX79" fmla="*/ 628650 w 783431"/>
                    <a:gd name="connsiteY79" fmla="*/ 0 h 1200149"/>
                    <a:gd name="connsiteX80" fmla="*/ 552450 w 783431"/>
                    <a:gd name="connsiteY80" fmla="*/ 52388 h 1200149"/>
                    <a:gd name="connsiteX81" fmla="*/ 538162 w 783431"/>
                    <a:gd name="connsiteY81" fmla="*/ 90488 h 1200149"/>
                    <a:gd name="connsiteX82" fmla="*/ 445294 w 783431"/>
                    <a:gd name="connsiteY82" fmla="*/ 126207 h 1200149"/>
                    <a:gd name="connsiteX83" fmla="*/ 397669 w 783431"/>
                    <a:gd name="connsiteY83" fmla="*/ 159544 h 1200149"/>
                    <a:gd name="connsiteX84" fmla="*/ 376237 w 783431"/>
                    <a:gd name="connsiteY84" fmla="*/ 190500 h 1200149"/>
                    <a:gd name="connsiteX85" fmla="*/ 350044 w 783431"/>
                    <a:gd name="connsiteY85" fmla="*/ 140494 h 1200149"/>
                    <a:gd name="connsiteX86" fmla="*/ 316706 w 783431"/>
                    <a:gd name="connsiteY86" fmla="*/ 140494 h 1200149"/>
                    <a:gd name="connsiteX87" fmla="*/ 304800 w 783431"/>
                    <a:gd name="connsiteY87" fmla="*/ 166688 h 1200149"/>
                    <a:gd name="connsiteX88" fmla="*/ 280987 w 783431"/>
                    <a:gd name="connsiteY88" fmla="*/ 230982 h 1200149"/>
                    <a:gd name="connsiteX89" fmla="*/ 154781 w 783431"/>
                    <a:gd name="connsiteY89" fmla="*/ 223838 h 1200149"/>
                    <a:gd name="connsiteX90" fmla="*/ 140494 w 783431"/>
                    <a:gd name="connsiteY90" fmla="*/ 245269 h 1200149"/>
                    <a:gd name="connsiteX91" fmla="*/ 138112 w 783431"/>
                    <a:gd name="connsiteY91" fmla="*/ 280988 h 1200149"/>
                    <a:gd name="connsiteX92" fmla="*/ 66675 w 783431"/>
                    <a:gd name="connsiteY92" fmla="*/ 309563 h 1200149"/>
                    <a:gd name="connsiteX93" fmla="*/ 54769 w 783431"/>
                    <a:gd name="connsiteY93" fmla="*/ 323850 h 1200149"/>
                    <a:gd name="connsiteX94" fmla="*/ 66675 w 783431"/>
                    <a:gd name="connsiteY94" fmla="*/ 381000 h 1200149"/>
                    <a:gd name="connsiteX95" fmla="*/ 19050 w 783431"/>
                    <a:gd name="connsiteY95" fmla="*/ 423863 h 1200149"/>
                    <a:gd name="connsiteX96" fmla="*/ 26194 w 783431"/>
                    <a:gd name="connsiteY96" fmla="*/ 490538 h 1200149"/>
                    <a:gd name="connsiteX97" fmla="*/ 33337 w 783431"/>
                    <a:gd name="connsiteY97" fmla="*/ 554832 h 1200149"/>
                    <a:gd name="connsiteX98" fmla="*/ 0 w 783431"/>
                    <a:gd name="connsiteY98" fmla="*/ 614363 h 1200149"/>
                    <a:gd name="connsiteX0" fmla="*/ 0 w 783431"/>
                    <a:gd name="connsiteY0" fmla="*/ 614363 h 1200149"/>
                    <a:gd name="connsiteX1" fmla="*/ 21431 w 783431"/>
                    <a:gd name="connsiteY1" fmla="*/ 661988 h 1200149"/>
                    <a:gd name="connsiteX2" fmla="*/ 28575 w 783431"/>
                    <a:gd name="connsiteY2" fmla="*/ 742950 h 1200149"/>
                    <a:gd name="connsiteX3" fmla="*/ 76200 w 783431"/>
                    <a:gd name="connsiteY3" fmla="*/ 814388 h 1200149"/>
                    <a:gd name="connsiteX4" fmla="*/ 102394 w 783431"/>
                    <a:gd name="connsiteY4" fmla="*/ 919163 h 1200149"/>
                    <a:gd name="connsiteX5" fmla="*/ 116681 w 783431"/>
                    <a:gd name="connsiteY5" fmla="*/ 947738 h 1200149"/>
                    <a:gd name="connsiteX6" fmla="*/ 130969 w 783431"/>
                    <a:gd name="connsiteY6" fmla="*/ 995363 h 1200149"/>
                    <a:gd name="connsiteX7" fmla="*/ 150019 w 783431"/>
                    <a:gd name="connsiteY7" fmla="*/ 1023938 h 1200149"/>
                    <a:gd name="connsiteX8" fmla="*/ 159544 w 783431"/>
                    <a:gd name="connsiteY8" fmla="*/ 1042988 h 1200149"/>
                    <a:gd name="connsiteX9" fmla="*/ 197644 w 783431"/>
                    <a:gd name="connsiteY9" fmla="*/ 1069182 h 1200149"/>
                    <a:gd name="connsiteX10" fmla="*/ 245269 w 783431"/>
                    <a:gd name="connsiteY10" fmla="*/ 1090613 h 1200149"/>
                    <a:gd name="connsiteX11" fmla="*/ 264318 w 783431"/>
                    <a:gd name="connsiteY11" fmla="*/ 1131094 h 1200149"/>
                    <a:gd name="connsiteX12" fmla="*/ 295275 w 783431"/>
                    <a:gd name="connsiteY12" fmla="*/ 1164431 h 1200149"/>
                    <a:gd name="connsiteX13" fmla="*/ 385762 w 783431"/>
                    <a:gd name="connsiteY13" fmla="*/ 1200149 h 1200149"/>
                    <a:gd name="connsiteX14" fmla="*/ 592931 w 783431"/>
                    <a:gd name="connsiteY14" fmla="*/ 1126331 h 1200149"/>
                    <a:gd name="connsiteX15" fmla="*/ 604837 w 783431"/>
                    <a:gd name="connsiteY15" fmla="*/ 1085850 h 1200149"/>
                    <a:gd name="connsiteX16" fmla="*/ 585787 w 783431"/>
                    <a:gd name="connsiteY16" fmla="*/ 1035844 h 1200149"/>
                    <a:gd name="connsiteX17" fmla="*/ 607219 w 783431"/>
                    <a:gd name="connsiteY17" fmla="*/ 1021557 h 1200149"/>
                    <a:gd name="connsiteX18" fmla="*/ 645319 w 783431"/>
                    <a:gd name="connsiteY18" fmla="*/ 1016794 h 1200149"/>
                    <a:gd name="connsiteX19" fmla="*/ 685800 w 783431"/>
                    <a:gd name="connsiteY19" fmla="*/ 997744 h 1200149"/>
                    <a:gd name="connsiteX20" fmla="*/ 716756 w 783431"/>
                    <a:gd name="connsiteY20" fmla="*/ 1002507 h 1200149"/>
                    <a:gd name="connsiteX21" fmla="*/ 738187 w 783431"/>
                    <a:gd name="connsiteY21" fmla="*/ 969169 h 1200149"/>
                    <a:gd name="connsiteX22" fmla="*/ 783431 w 783431"/>
                    <a:gd name="connsiteY22" fmla="*/ 933450 h 1200149"/>
                    <a:gd name="connsiteX23" fmla="*/ 776287 w 783431"/>
                    <a:gd name="connsiteY23" fmla="*/ 907257 h 1200149"/>
                    <a:gd name="connsiteX24" fmla="*/ 752475 w 783431"/>
                    <a:gd name="connsiteY24" fmla="*/ 888207 h 1200149"/>
                    <a:gd name="connsiteX25" fmla="*/ 752475 w 783431"/>
                    <a:gd name="connsiteY25" fmla="*/ 864394 h 1200149"/>
                    <a:gd name="connsiteX26" fmla="*/ 728662 w 783431"/>
                    <a:gd name="connsiteY26" fmla="*/ 852488 h 1200149"/>
                    <a:gd name="connsiteX27" fmla="*/ 711994 w 783431"/>
                    <a:gd name="connsiteY27" fmla="*/ 802482 h 1200149"/>
                    <a:gd name="connsiteX28" fmla="*/ 688181 w 783431"/>
                    <a:gd name="connsiteY28" fmla="*/ 814388 h 1200149"/>
                    <a:gd name="connsiteX29" fmla="*/ 659606 w 783431"/>
                    <a:gd name="connsiteY29" fmla="*/ 814388 h 1200149"/>
                    <a:gd name="connsiteX30" fmla="*/ 647700 w 783431"/>
                    <a:gd name="connsiteY30" fmla="*/ 847725 h 1200149"/>
                    <a:gd name="connsiteX31" fmla="*/ 623887 w 783431"/>
                    <a:gd name="connsiteY31" fmla="*/ 847725 h 1200149"/>
                    <a:gd name="connsiteX32" fmla="*/ 576262 w 783431"/>
                    <a:gd name="connsiteY32" fmla="*/ 828675 h 1200149"/>
                    <a:gd name="connsiteX33" fmla="*/ 554831 w 783431"/>
                    <a:gd name="connsiteY33" fmla="*/ 816769 h 1200149"/>
                    <a:gd name="connsiteX34" fmla="*/ 547687 w 783431"/>
                    <a:gd name="connsiteY34" fmla="*/ 783432 h 1200149"/>
                    <a:gd name="connsiteX35" fmla="*/ 561975 w 783431"/>
                    <a:gd name="connsiteY35" fmla="*/ 754857 h 1200149"/>
                    <a:gd name="connsiteX36" fmla="*/ 533400 w 783431"/>
                    <a:gd name="connsiteY36" fmla="*/ 733425 h 1200149"/>
                    <a:gd name="connsiteX37" fmla="*/ 509587 w 783431"/>
                    <a:gd name="connsiteY37" fmla="*/ 711994 h 1200149"/>
                    <a:gd name="connsiteX38" fmla="*/ 473869 w 783431"/>
                    <a:gd name="connsiteY38" fmla="*/ 711994 h 1200149"/>
                    <a:gd name="connsiteX39" fmla="*/ 435769 w 783431"/>
                    <a:gd name="connsiteY39" fmla="*/ 711994 h 1200149"/>
                    <a:gd name="connsiteX40" fmla="*/ 438150 w 783431"/>
                    <a:gd name="connsiteY40" fmla="*/ 669132 h 1200149"/>
                    <a:gd name="connsiteX41" fmla="*/ 428625 w 783431"/>
                    <a:gd name="connsiteY41" fmla="*/ 642938 h 1200149"/>
                    <a:gd name="connsiteX42" fmla="*/ 423862 w 783431"/>
                    <a:gd name="connsiteY42" fmla="*/ 607219 h 1200149"/>
                    <a:gd name="connsiteX43" fmla="*/ 426244 w 783431"/>
                    <a:gd name="connsiteY43" fmla="*/ 578644 h 1200149"/>
                    <a:gd name="connsiteX44" fmla="*/ 440531 w 783431"/>
                    <a:gd name="connsiteY44" fmla="*/ 566738 h 1200149"/>
                    <a:gd name="connsiteX45" fmla="*/ 450056 w 783431"/>
                    <a:gd name="connsiteY45" fmla="*/ 535782 h 1200149"/>
                    <a:gd name="connsiteX46" fmla="*/ 457200 w 783431"/>
                    <a:gd name="connsiteY46" fmla="*/ 519113 h 1200149"/>
                    <a:gd name="connsiteX47" fmla="*/ 481012 w 783431"/>
                    <a:gd name="connsiteY47" fmla="*/ 526257 h 1200149"/>
                    <a:gd name="connsiteX48" fmla="*/ 495300 w 783431"/>
                    <a:gd name="connsiteY48" fmla="*/ 576263 h 1200149"/>
                    <a:gd name="connsiteX49" fmla="*/ 507206 w 783431"/>
                    <a:gd name="connsiteY49" fmla="*/ 581025 h 1200149"/>
                    <a:gd name="connsiteX50" fmla="*/ 526256 w 783431"/>
                    <a:gd name="connsiteY50" fmla="*/ 583407 h 1200149"/>
                    <a:gd name="connsiteX51" fmla="*/ 554831 w 783431"/>
                    <a:gd name="connsiteY51" fmla="*/ 583407 h 1200149"/>
                    <a:gd name="connsiteX52" fmla="*/ 557212 w 783431"/>
                    <a:gd name="connsiteY52" fmla="*/ 547688 h 1200149"/>
                    <a:gd name="connsiteX53" fmla="*/ 545306 w 783431"/>
                    <a:gd name="connsiteY53" fmla="*/ 502444 h 1200149"/>
                    <a:gd name="connsiteX54" fmla="*/ 545306 w 783431"/>
                    <a:gd name="connsiteY54" fmla="*/ 476250 h 1200149"/>
                    <a:gd name="connsiteX55" fmla="*/ 581025 w 783431"/>
                    <a:gd name="connsiteY55" fmla="*/ 454819 h 1200149"/>
                    <a:gd name="connsiteX56" fmla="*/ 604837 w 783431"/>
                    <a:gd name="connsiteY56" fmla="*/ 435769 h 1200149"/>
                    <a:gd name="connsiteX57" fmla="*/ 640556 w 783431"/>
                    <a:gd name="connsiteY57" fmla="*/ 414338 h 1200149"/>
                    <a:gd name="connsiteX58" fmla="*/ 645319 w 783431"/>
                    <a:gd name="connsiteY58" fmla="*/ 395288 h 1200149"/>
                    <a:gd name="connsiteX59" fmla="*/ 633412 w 783431"/>
                    <a:gd name="connsiteY59" fmla="*/ 371475 h 1200149"/>
                    <a:gd name="connsiteX60" fmla="*/ 614362 w 783431"/>
                    <a:gd name="connsiteY60" fmla="*/ 369094 h 1200149"/>
                    <a:gd name="connsiteX61" fmla="*/ 609600 w 783431"/>
                    <a:gd name="connsiteY61" fmla="*/ 366713 h 1200149"/>
                    <a:gd name="connsiteX62" fmla="*/ 597694 w 783431"/>
                    <a:gd name="connsiteY62" fmla="*/ 357188 h 1200149"/>
                    <a:gd name="connsiteX63" fmla="*/ 611981 w 783431"/>
                    <a:gd name="connsiteY63" fmla="*/ 345282 h 1200149"/>
                    <a:gd name="connsiteX64" fmla="*/ 652462 w 783431"/>
                    <a:gd name="connsiteY64" fmla="*/ 316707 h 1200149"/>
                    <a:gd name="connsiteX65" fmla="*/ 678656 w 783431"/>
                    <a:gd name="connsiteY65" fmla="*/ 264319 h 1200149"/>
                    <a:gd name="connsiteX66" fmla="*/ 666750 w 783431"/>
                    <a:gd name="connsiteY66" fmla="*/ 242888 h 1200149"/>
                    <a:gd name="connsiteX67" fmla="*/ 638175 w 783431"/>
                    <a:gd name="connsiteY67" fmla="*/ 219075 h 1200149"/>
                    <a:gd name="connsiteX68" fmla="*/ 642937 w 783431"/>
                    <a:gd name="connsiteY68" fmla="*/ 180975 h 1200149"/>
                    <a:gd name="connsiteX69" fmla="*/ 673894 w 783431"/>
                    <a:gd name="connsiteY69" fmla="*/ 171450 h 1200149"/>
                    <a:gd name="connsiteX70" fmla="*/ 700087 w 783431"/>
                    <a:gd name="connsiteY70" fmla="*/ 142875 h 1200149"/>
                    <a:gd name="connsiteX71" fmla="*/ 700087 w 783431"/>
                    <a:gd name="connsiteY71" fmla="*/ 111919 h 1200149"/>
                    <a:gd name="connsiteX72" fmla="*/ 666750 w 783431"/>
                    <a:gd name="connsiteY72" fmla="*/ 107157 h 1200149"/>
                    <a:gd name="connsiteX73" fmla="*/ 645319 w 783431"/>
                    <a:gd name="connsiteY73" fmla="*/ 102394 h 1200149"/>
                    <a:gd name="connsiteX74" fmla="*/ 645319 w 783431"/>
                    <a:gd name="connsiteY74" fmla="*/ 102394 h 1200149"/>
                    <a:gd name="connsiteX75" fmla="*/ 678656 w 783431"/>
                    <a:gd name="connsiteY75" fmla="*/ 69057 h 1200149"/>
                    <a:gd name="connsiteX76" fmla="*/ 685800 w 783431"/>
                    <a:gd name="connsiteY76" fmla="*/ 40482 h 1200149"/>
                    <a:gd name="connsiteX77" fmla="*/ 678656 w 783431"/>
                    <a:gd name="connsiteY77" fmla="*/ 21432 h 1200149"/>
                    <a:gd name="connsiteX78" fmla="*/ 695325 w 783431"/>
                    <a:gd name="connsiteY78" fmla="*/ 2382 h 1200149"/>
                    <a:gd name="connsiteX79" fmla="*/ 628650 w 783431"/>
                    <a:gd name="connsiteY79" fmla="*/ 0 h 1200149"/>
                    <a:gd name="connsiteX80" fmla="*/ 552450 w 783431"/>
                    <a:gd name="connsiteY80" fmla="*/ 52388 h 1200149"/>
                    <a:gd name="connsiteX81" fmla="*/ 538162 w 783431"/>
                    <a:gd name="connsiteY81" fmla="*/ 90488 h 1200149"/>
                    <a:gd name="connsiteX82" fmla="*/ 445294 w 783431"/>
                    <a:gd name="connsiteY82" fmla="*/ 126207 h 1200149"/>
                    <a:gd name="connsiteX83" fmla="*/ 397669 w 783431"/>
                    <a:gd name="connsiteY83" fmla="*/ 159544 h 1200149"/>
                    <a:gd name="connsiteX84" fmla="*/ 376237 w 783431"/>
                    <a:gd name="connsiteY84" fmla="*/ 190500 h 1200149"/>
                    <a:gd name="connsiteX85" fmla="*/ 350044 w 783431"/>
                    <a:gd name="connsiteY85" fmla="*/ 140494 h 1200149"/>
                    <a:gd name="connsiteX86" fmla="*/ 316706 w 783431"/>
                    <a:gd name="connsiteY86" fmla="*/ 140494 h 1200149"/>
                    <a:gd name="connsiteX87" fmla="*/ 304800 w 783431"/>
                    <a:gd name="connsiteY87" fmla="*/ 166688 h 1200149"/>
                    <a:gd name="connsiteX88" fmla="*/ 280987 w 783431"/>
                    <a:gd name="connsiteY88" fmla="*/ 230982 h 1200149"/>
                    <a:gd name="connsiteX89" fmla="*/ 154781 w 783431"/>
                    <a:gd name="connsiteY89" fmla="*/ 223838 h 1200149"/>
                    <a:gd name="connsiteX90" fmla="*/ 140494 w 783431"/>
                    <a:gd name="connsiteY90" fmla="*/ 245269 h 1200149"/>
                    <a:gd name="connsiteX91" fmla="*/ 138112 w 783431"/>
                    <a:gd name="connsiteY91" fmla="*/ 280988 h 1200149"/>
                    <a:gd name="connsiteX92" fmla="*/ 66675 w 783431"/>
                    <a:gd name="connsiteY92" fmla="*/ 309563 h 1200149"/>
                    <a:gd name="connsiteX93" fmla="*/ 54769 w 783431"/>
                    <a:gd name="connsiteY93" fmla="*/ 323850 h 1200149"/>
                    <a:gd name="connsiteX94" fmla="*/ 66675 w 783431"/>
                    <a:gd name="connsiteY94" fmla="*/ 381000 h 1200149"/>
                    <a:gd name="connsiteX95" fmla="*/ 19050 w 783431"/>
                    <a:gd name="connsiteY95" fmla="*/ 423863 h 1200149"/>
                    <a:gd name="connsiteX96" fmla="*/ 26194 w 783431"/>
                    <a:gd name="connsiteY96" fmla="*/ 490538 h 1200149"/>
                    <a:gd name="connsiteX97" fmla="*/ 33337 w 783431"/>
                    <a:gd name="connsiteY97" fmla="*/ 554832 h 1200149"/>
                    <a:gd name="connsiteX98" fmla="*/ 0 w 783431"/>
                    <a:gd name="connsiteY98" fmla="*/ 614363 h 1200149"/>
                    <a:gd name="connsiteX0" fmla="*/ 0 w 783431"/>
                    <a:gd name="connsiteY0" fmla="*/ 614363 h 1200149"/>
                    <a:gd name="connsiteX1" fmla="*/ 21431 w 783431"/>
                    <a:gd name="connsiteY1" fmla="*/ 661988 h 1200149"/>
                    <a:gd name="connsiteX2" fmla="*/ 28575 w 783431"/>
                    <a:gd name="connsiteY2" fmla="*/ 742950 h 1200149"/>
                    <a:gd name="connsiteX3" fmla="*/ 76200 w 783431"/>
                    <a:gd name="connsiteY3" fmla="*/ 814388 h 1200149"/>
                    <a:gd name="connsiteX4" fmla="*/ 102394 w 783431"/>
                    <a:gd name="connsiteY4" fmla="*/ 919163 h 1200149"/>
                    <a:gd name="connsiteX5" fmla="*/ 116681 w 783431"/>
                    <a:gd name="connsiteY5" fmla="*/ 947738 h 1200149"/>
                    <a:gd name="connsiteX6" fmla="*/ 130969 w 783431"/>
                    <a:gd name="connsiteY6" fmla="*/ 995363 h 1200149"/>
                    <a:gd name="connsiteX7" fmla="*/ 150019 w 783431"/>
                    <a:gd name="connsiteY7" fmla="*/ 1023938 h 1200149"/>
                    <a:gd name="connsiteX8" fmla="*/ 159544 w 783431"/>
                    <a:gd name="connsiteY8" fmla="*/ 1042988 h 1200149"/>
                    <a:gd name="connsiteX9" fmla="*/ 197644 w 783431"/>
                    <a:gd name="connsiteY9" fmla="*/ 1069182 h 1200149"/>
                    <a:gd name="connsiteX10" fmla="*/ 245269 w 783431"/>
                    <a:gd name="connsiteY10" fmla="*/ 1090613 h 1200149"/>
                    <a:gd name="connsiteX11" fmla="*/ 264318 w 783431"/>
                    <a:gd name="connsiteY11" fmla="*/ 1131094 h 1200149"/>
                    <a:gd name="connsiteX12" fmla="*/ 295275 w 783431"/>
                    <a:gd name="connsiteY12" fmla="*/ 1164431 h 1200149"/>
                    <a:gd name="connsiteX13" fmla="*/ 385762 w 783431"/>
                    <a:gd name="connsiteY13" fmla="*/ 1200149 h 1200149"/>
                    <a:gd name="connsiteX14" fmla="*/ 545306 w 783431"/>
                    <a:gd name="connsiteY14" fmla="*/ 1145381 h 1200149"/>
                    <a:gd name="connsiteX15" fmla="*/ 592931 w 783431"/>
                    <a:gd name="connsiteY15" fmla="*/ 1126331 h 1200149"/>
                    <a:gd name="connsiteX16" fmla="*/ 604837 w 783431"/>
                    <a:gd name="connsiteY16" fmla="*/ 1085850 h 1200149"/>
                    <a:gd name="connsiteX17" fmla="*/ 585787 w 783431"/>
                    <a:gd name="connsiteY17" fmla="*/ 1035844 h 1200149"/>
                    <a:gd name="connsiteX18" fmla="*/ 607219 w 783431"/>
                    <a:gd name="connsiteY18" fmla="*/ 1021557 h 1200149"/>
                    <a:gd name="connsiteX19" fmla="*/ 645319 w 783431"/>
                    <a:gd name="connsiteY19" fmla="*/ 1016794 h 1200149"/>
                    <a:gd name="connsiteX20" fmla="*/ 685800 w 783431"/>
                    <a:gd name="connsiteY20" fmla="*/ 997744 h 1200149"/>
                    <a:gd name="connsiteX21" fmla="*/ 716756 w 783431"/>
                    <a:gd name="connsiteY21" fmla="*/ 1002507 h 1200149"/>
                    <a:gd name="connsiteX22" fmla="*/ 738187 w 783431"/>
                    <a:gd name="connsiteY22" fmla="*/ 969169 h 1200149"/>
                    <a:gd name="connsiteX23" fmla="*/ 783431 w 783431"/>
                    <a:gd name="connsiteY23" fmla="*/ 933450 h 1200149"/>
                    <a:gd name="connsiteX24" fmla="*/ 776287 w 783431"/>
                    <a:gd name="connsiteY24" fmla="*/ 907257 h 1200149"/>
                    <a:gd name="connsiteX25" fmla="*/ 752475 w 783431"/>
                    <a:gd name="connsiteY25" fmla="*/ 888207 h 1200149"/>
                    <a:gd name="connsiteX26" fmla="*/ 752475 w 783431"/>
                    <a:gd name="connsiteY26" fmla="*/ 864394 h 1200149"/>
                    <a:gd name="connsiteX27" fmla="*/ 728662 w 783431"/>
                    <a:gd name="connsiteY27" fmla="*/ 852488 h 1200149"/>
                    <a:gd name="connsiteX28" fmla="*/ 711994 w 783431"/>
                    <a:gd name="connsiteY28" fmla="*/ 802482 h 1200149"/>
                    <a:gd name="connsiteX29" fmla="*/ 688181 w 783431"/>
                    <a:gd name="connsiteY29" fmla="*/ 814388 h 1200149"/>
                    <a:gd name="connsiteX30" fmla="*/ 659606 w 783431"/>
                    <a:gd name="connsiteY30" fmla="*/ 814388 h 1200149"/>
                    <a:gd name="connsiteX31" fmla="*/ 647700 w 783431"/>
                    <a:gd name="connsiteY31" fmla="*/ 847725 h 1200149"/>
                    <a:gd name="connsiteX32" fmla="*/ 623887 w 783431"/>
                    <a:gd name="connsiteY32" fmla="*/ 847725 h 1200149"/>
                    <a:gd name="connsiteX33" fmla="*/ 576262 w 783431"/>
                    <a:gd name="connsiteY33" fmla="*/ 828675 h 1200149"/>
                    <a:gd name="connsiteX34" fmla="*/ 554831 w 783431"/>
                    <a:gd name="connsiteY34" fmla="*/ 816769 h 1200149"/>
                    <a:gd name="connsiteX35" fmla="*/ 547687 w 783431"/>
                    <a:gd name="connsiteY35" fmla="*/ 783432 h 1200149"/>
                    <a:gd name="connsiteX36" fmla="*/ 561975 w 783431"/>
                    <a:gd name="connsiteY36" fmla="*/ 754857 h 1200149"/>
                    <a:gd name="connsiteX37" fmla="*/ 533400 w 783431"/>
                    <a:gd name="connsiteY37" fmla="*/ 733425 h 1200149"/>
                    <a:gd name="connsiteX38" fmla="*/ 509587 w 783431"/>
                    <a:gd name="connsiteY38" fmla="*/ 711994 h 1200149"/>
                    <a:gd name="connsiteX39" fmla="*/ 473869 w 783431"/>
                    <a:gd name="connsiteY39" fmla="*/ 711994 h 1200149"/>
                    <a:gd name="connsiteX40" fmla="*/ 435769 w 783431"/>
                    <a:gd name="connsiteY40" fmla="*/ 711994 h 1200149"/>
                    <a:gd name="connsiteX41" fmla="*/ 438150 w 783431"/>
                    <a:gd name="connsiteY41" fmla="*/ 669132 h 1200149"/>
                    <a:gd name="connsiteX42" fmla="*/ 428625 w 783431"/>
                    <a:gd name="connsiteY42" fmla="*/ 642938 h 1200149"/>
                    <a:gd name="connsiteX43" fmla="*/ 423862 w 783431"/>
                    <a:gd name="connsiteY43" fmla="*/ 607219 h 1200149"/>
                    <a:gd name="connsiteX44" fmla="*/ 426244 w 783431"/>
                    <a:gd name="connsiteY44" fmla="*/ 578644 h 1200149"/>
                    <a:gd name="connsiteX45" fmla="*/ 440531 w 783431"/>
                    <a:gd name="connsiteY45" fmla="*/ 566738 h 1200149"/>
                    <a:gd name="connsiteX46" fmla="*/ 450056 w 783431"/>
                    <a:gd name="connsiteY46" fmla="*/ 535782 h 1200149"/>
                    <a:gd name="connsiteX47" fmla="*/ 457200 w 783431"/>
                    <a:gd name="connsiteY47" fmla="*/ 519113 h 1200149"/>
                    <a:gd name="connsiteX48" fmla="*/ 481012 w 783431"/>
                    <a:gd name="connsiteY48" fmla="*/ 526257 h 1200149"/>
                    <a:gd name="connsiteX49" fmla="*/ 495300 w 783431"/>
                    <a:gd name="connsiteY49" fmla="*/ 576263 h 1200149"/>
                    <a:gd name="connsiteX50" fmla="*/ 507206 w 783431"/>
                    <a:gd name="connsiteY50" fmla="*/ 581025 h 1200149"/>
                    <a:gd name="connsiteX51" fmla="*/ 526256 w 783431"/>
                    <a:gd name="connsiteY51" fmla="*/ 583407 h 1200149"/>
                    <a:gd name="connsiteX52" fmla="*/ 554831 w 783431"/>
                    <a:gd name="connsiteY52" fmla="*/ 583407 h 1200149"/>
                    <a:gd name="connsiteX53" fmla="*/ 557212 w 783431"/>
                    <a:gd name="connsiteY53" fmla="*/ 547688 h 1200149"/>
                    <a:gd name="connsiteX54" fmla="*/ 545306 w 783431"/>
                    <a:gd name="connsiteY54" fmla="*/ 502444 h 1200149"/>
                    <a:gd name="connsiteX55" fmla="*/ 545306 w 783431"/>
                    <a:gd name="connsiteY55" fmla="*/ 476250 h 1200149"/>
                    <a:gd name="connsiteX56" fmla="*/ 581025 w 783431"/>
                    <a:gd name="connsiteY56" fmla="*/ 454819 h 1200149"/>
                    <a:gd name="connsiteX57" fmla="*/ 604837 w 783431"/>
                    <a:gd name="connsiteY57" fmla="*/ 435769 h 1200149"/>
                    <a:gd name="connsiteX58" fmla="*/ 640556 w 783431"/>
                    <a:gd name="connsiteY58" fmla="*/ 414338 h 1200149"/>
                    <a:gd name="connsiteX59" fmla="*/ 645319 w 783431"/>
                    <a:gd name="connsiteY59" fmla="*/ 395288 h 1200149"/>
                    <a:gd name="connsiteX60" fmla="*/ 633412 w 783431"/>
                    <a:gd name="connsiteY60" fmla="*/ 371475 h 1200149"/>
                    <a:gd name="connsiteX61" fmla="*/ 614362 w 783431"/>
                    <a:gd name="connsiteY61" fmla="*/ 369094 h 1200149"/>
                    <a:gd name="connsiteX62" fmla="*/ 609600 w 783431"/>
                    <a:gd name="connsiteY62" fmla="*/ 366713 h 1200149"/>
                    <a:gd name="connsiteX63" fmla="*/ 597694 w 783431"/>
                    <a:gd name="connsiteY63" fmla="*/ 357188 h 1200149"/>
                    <a:gd name="connsiteX64" fmla="*/ 611981 w 783431"/>
                    <a:gd name="connsiteY64" fmla="*/ 345282 h 1200149"/>
                    <a:gd name="connsiteX65" fmla="*/ 652462 w 783431"/>
                    <a:gd name="connsiteY65" fmla="*/ 316707 h 1200149"/>
                    <a:gd name="connsiteX66" fmla="*/ 678656 w 783431"/>
                    <a:gd name="connsiteY66" fmla="*/ 264319 h 1200149"/>
                    <a:gd name="connsiteX67" fmla="*/ 666750 w 783431"/>
                    <a:gd name="connsiteY67" fmla="*/ 242888 h 1200149"/>
                    <a:gd name="connsiteX68" fmla="*/ 638175 w 783431"/>
                    <a:gd name="connsiteY68" fmla="*/ 219075 h 1200149"/>
                    <a:gd name="connsiteX69" fmla="*/ 642937 w 783431"/>
                    <a:gd name="connsiteY69" fmla="*/ 180975 h 1200149"/>
                    <a:gd name="connsiteX70" fmla="*/ 673894 w 783431"/>
                    <a:gd name="connsiteY70" fmla="*/ 171450 h 1200149"/>
                    <a:gd name="connsiteX71" fmla="*/ 700087 w 783431"/>
                    <a:gd name="connsiteY71" fmla="*/ 142875 h 1200149"/>
                    <a:gd name="connsiteX72" fmla="*/ 700087 w 783431"/>
                    <a:gd name="connsiteY72" fmla="*/ 111919 h 1200149"/>
                    <a:gd name="connsiteX73" fmla="*/ 666750 w 783431"/>
                    <a:gd name="connsiteY73" fmla="*/ 107157 h 1200149"/>
                    <a:gd name="connsiteX74" fmla="*/ 645319 w 783431"/>
                    <a:gd name="connsiteY74" fmla="*/ 102394 h 1200149"/>
                    <a:gd name="connsiteX75" fmla="*/ 645319 w 783431"/>
                    <a:gd name="connsiteY75" fmla="*/ 102394 h 1200149"/>
                    <a:gd name="connsiteX76" fmla="*/ 678656 w 783431"/>
                    <a:gd name="connsiteY76" fmla="*/ 69057 h 1200149"/>
                    <a:gd name="connsiteX77" fmla="*/ 685800 w 783431"/>
                    <a:gd name="connsiteY77" fmla="*/ 40482 h 1200149"/>
                    <a:gd name="connsiteX78" fmla="*/ 678656 w 783431"/>
                    <a:gd name="connsiteY78" fmla="*/ 21432 h 1200149"/>
                    <a:gd name="connsiteX79" fmla="*/ 695325 w 783431"/>
                    <a:gd name="connsiteY79" fmla="*/ 2382 h 1200149"/>
                    <a:gd name="connsiteX80" fmla="*/ 628650 w 783431"/>
                    <a:gd name="connsiteY80" fmla="*/ 0 h 1200149"/>
                    <a:gd name="connsiteX81" fmla="*/ 552450 w 783431"/>
                    <a:gd name="connsiteY81" fmla="*/ 52388 h 1200149"/>
                    <a:gd name="connsiteX82" fmla="*/ 538162 w 783431"/>
                    <a:gd name="connsiteY82" fmla="*/ 90488 h 1200149"/>
                    <a:gd name="connsiteX83" fmla="*/ 445294 w 783431"/>
                    <a:gd name="connsiteY83" fmla="*/ 126207 h 1200149"/>
                    <a:gd name="connsiteX84" fmla="*/ 397669 w 783431"/>
                    <a:gd name="connsiteY84" fmla="*/ 159544 h 1200149"/>
                    <a:gd name="connsiteX85" fmla="*/ 376237 w 783431"/>
                    <a:gd name="connsiteY85" fmla="*/ 190500 h 1200149"/>
                    <a:gd name="connsiteX86" fmla="*/ 350044 w 783431"/>
                    <a:gd name="connsiteY86" fmla="*/ 140494 h 1200149"/>
                    <a:gd name="connsiteX87" fmla="*/ 316706 w 783431"/>
                    <a:gd name="connsiteY87" fmla="*/ 140494 h 1200149"/>
                    <a:gd name="connsiteX88" fmla="*/ 304800 w 783431"/>
                    <a:gd name="connsiteY88" fmla="*/ 166688 h 1200149"/>
                    <a:gd name="connsiteX89" fmla="*/ 280987 w 783431"/>
                    <a:gd name="connsiteY89" fmla="*/ 230982 h 1200149"/>
                    <a:gd name="connsiteX90" fmla="*/ 154781 w 783431"/>
                    <a:gd name="connsiteY90" fmla="*/ 223838 h 1200149"/>
                    <a:gd name="connsiteX91" fmla="*/ 140494 w 783431"/>
                    <a:gd name="connsiteY91" fmla="*/ 245269 h 1200149"/>
                    <a:gd name="connsiteX92" fmla="*/ 138112 w 783431"/>
                    <a:gd name="connsiteY92" fmla="*/ 280988 h 1200149"/>
                    <a:gd name="connsiteX93" fmla="*/ 66675 w 783431"/>
                    <a:gd name="connsiteY93" fmla="*/ 309563 h 1200149"/>
                    <a:gd name="connsiteX94" fmla="*/ 54769 w 783431"/>
                    <a:gd name="connsiteY94" fmla="*/ 323850 h 1200149"/>
                    <a:gd name="connsiteX95" fmla="*/ 66675 w 783431"/>
                    <a:gd name="connsiteY95" fmla="*/ 381000 h 1200149"/>
                    <a:gd name="connsiteX96" fmla="*/ 19050 w 783431"/>
                    <a:gd name="connsiteY96" fmla="*/ 423863 h 1200149"/>
                    <a:gd name="connsiteX97" fmla="*/ 26194 w 783431"/>
                    <a:gd name="connsiteY97" fmla="*/ 490538 h 1200149"/>
                    <a:gd name="connsiteX98" fmla="*/ 33337 w 783431"/>
                    <a:gd name="connsiteY98" fmla="*/ 554832 h 1200149"/>
                    <a:gd name="connsiteX99" fmla="*/ 0 w 783431"/>
                    <a:gd name="connsiteY99" fmla="*/ 614363 h 1200149"/>
                    <a:gd name="connsiteX0" fmla="*/ 0 w 783431"/>
                    <a:gd name="connsiteY0" fmla="*/ 614363 h 1202531"/>
                    <a:gd name="connsiteX1" fmla="*/ 21431 w 783431"/>
                    <a:gd name="connsiteY1" fmla="*/ 661988 h 1202531"/>
                    <a:gd name="connsiteX2" fmla="*/ 28575 w 783431"/>
                    <a:gd name="connsiteY2" fmla="*/ 742950 h 1202531"/>
                    <a:gd name="connsiteX3" fmla="*/ 76200 w 783431"/>
                    <a:gd name="connsiteY3" fmla="*/ 814388 h 1202531"/>
                    <a:gd name="connsiteX4" fmla="*/ 102394 w 783431"/>
                    <a:gd name="connsiteY4" fmla="*/ 919163 h 1202531"/>
                    <a:gd name="connsiteX5" fmla="*/ 116681 w 783431"/>
                    <a:gd name="connsiteY5" fmla="*/ 947738 h 1202531"/>
                    <a:gd name="connsiteX6" fmla="*/ 130969 w 783431"/>
                    <a:gd name="connsiteY6" fmla="*/ 995363 h 1202531"/>
                    <a:gd name="connsiteX7" fmla="*/ 150019 w 783431"/>
                    <a:gd name="connsiteY7" fmla="*/ 1023938 h 1202531"/>
                    <a:gd name="connsiteX8" fmla="*/ 159544 w 783431"/>
                    <a:gd name="connsiteY8" fmla="*/ 1042988 h 1202531"/>
                    <a:gd name="connsiteX9" fmla="*/ 197644 w 783431"/>
                    <a:gd name="connsiteY9" fmla="*/ 1069182 h 1202531"/>
                    <a:gd name="connsiteX10" fmla="*/ 245269 w 783431"/>
                    <a:gd name="connsiteY10" fmla="*/ 1090613 h 1202531"/>
                    <a:gd name="connsiteX11" fmla="*/ 264318 w 783431"/>
                    <a:gd name="connsiteY11" fmla="*/ 1131094 h 1202531"/>
                    <a:gd name="connsiteX12" fmla="*/ 295275 w 783431"/>
                    <a:gd name="connsiteY12" fmla="*/ 1164431 h 1202531"/>
                    <a:gd name="connsiteX13" fmla="*/ 385762 w 783431"/>
                    <a:gd name="connsiteY13" fmla="*/ 1200149 h 1202531"/>
                    <a:gd name="connsiteX14" fmla="*/ 554831 w 783431"/>
                    <a:gd name="connsiteY14" fmla="*/ 1202531 h 1202531"/>
                    <a:gd name="connsiteX15" fmla="*/ 592931 w 783431"/>
                    <a:gd name="connsiteY15" fmla="*/ 1126331 h 1202531"/>
                    <a:gd name="connsiteX16" fmla="*/ 604837 w 783431"/>
                    <a:gd name="connsiteY16" fmla="*/ 1085850 h 1202531"/>
                    <a:gd name="connsiteX17" fmla="*/ 585787 w 783431"/>
                    <a:gd name="connsiteY17" fmla="*/ 1035844 h 1202531"/>
                    <a:gd name="connsiteX18" fmla="*/ 607219 w 783431"/>
                    <a:gd name="connsiteY18" fmla="*/ 1021557 h 1202531"/>
                    <a:gd name="connsiteX19" fmla="*/ 645319 w 783431"/>
                    <a:gd name="connsiteY19" fmla="*/ 1016794 h 1202531"/>
                    <a:gd name="connsiteX20" fmla="*/ 685800 w 783431"/>
                    <a:gd name="connsiteY20" fmla="*/ 997744 h 1202531"/>
                    <a:gd name="connsiteX21" fmla="*/ 716756 w 783431"/>
                    <a:gd name="connsiteY21" fmla="*/ 1002507 h 1202531"/>
                    <a:gd name="connsiteX22" fmla="*/ 738187 w 783431"/>
                    <a:gd name="connsiteY22" fmla="*/ 969169 h 1202531"/>
                    <a:gd name="connsiteX23" fmla="*/ 783431 w 783431"/>
                    <a:gd name="connsiteY23" fmla="*/ 933450 h 1202531"/>
                    <a:gd name="connsiteX24" fmla="*/ 776287 w 783431"/>
                    <a:gd name="connsiteY24" fmla="*/ 907257 h 1202531"/>
                    <a:gd name="connsiteX25" fmla="*/ 752475 w 783431"/>
                    <a:gd name="connsiteY25" fmla="*/ 888207 h 1202531"/>
                    <a:gd name="connsiteX26" fmla="*/ 752475 w 783431"/>
                    <a:gd name="connsiteY26" fmla="*/ 864394 h 1202531"/>
                    <a:gd name="connsiteX27" fmla="*/ 728662 w 783431"/>
                    <a:gd name="connsiteY27" fmla="*/ 852488 h 1202531"/>
                    <a:gd name="connsiteX28" fmla="*/ 711994 w 783431"/>
                    <a:gd name="connsiteY28" fmla="*/ 802482 h 1202531"/>
                    <a:gd name="connsiteX29" fmla="*/ 688181 w 783431"/>
                    <a:gd name="connsiteY29" fmla="*/ 814388 h 1202531"/>
                    <a:gd name="connsiteX30" fmla="*/ 659606 w 783431"/>
                    <a:gd name="connsiteY30" fmla="*/ 814388 h 1202531"/>
                    <a:gd name="connsiteX31" fmla="*/ 647700 w 783431"/>
                    <a:gd name="connsiteY31" fmla="*/ 847725 h 1202531"/>
                    <a:gd name="connsiteX32" fmla="*/ 623887 w 783431"/>
                    <a:gd name="connsiteY32" fmla="*/ 847725 h 1202531"/>
                    <a:gd name="connsiteX33" fmla="*/ 576262 w 783431"/>
                    <a:gd name="connsiteY33" fmla="*/ 828675 h 1202531"/>
                    <a:gd name="connsiteX34" fmla="*/ 554831 w 783431"/>
                    <a:gd name="connsiteY34" fmla="*/ 816769 h 1202531"/>
                    <a:gd name="connsiteX35" fmla="*/ 547687 w 783431"/>
                    <a:gd name="connsiteY35" fmla="*/ 783432 h 1202531"/>
                    <a:gd name="connsiteX36" fmla="*/ 561975 w 783431"/>
                    <a:gd name="connsiteY36" fmla="*/ 754857 h 1202531"/>
                    <a:gd name="connsiteX37" fmla="*/ 533400 w 783431"/>
                    <a:gd name="connsiteY37" fmla="*/ 733425 h 1202531"/>
                    <a:gd name="connsiteX38" fmla="*/ 509587 w 783431"/>
                    <a:gd name="connsiteY38" fmla="*/ 711994 h 1202531"/>
                    <a:gd name="connsiteX39" fmla="*/ 473869 w 783431"/>
                    <a:gd name="connsiteY39" fmla="*/ 711994 h 1202531"/>
                    <a:gd name="connsiteX40" fmla="*/ 435769 w 783431"/>
                    <a:gd name="connsiteY40" fmla="*/ 711994 h 1202531"/>
                    <a:gd name="connsiteX41" fmla="*/ 438150 w 783431"/>
                    <a:gd name="connsiteY41" fmla="*/ 669132 h 1202531"/>
                    <a:gd name="connsiteX42" fmla="*/ 428625 w 783431"/>
                    <a:gd name="connsiteY42" fmla="*/ 642938 h 1202531"/>
                    <a:gd name="connsiteX43" fmla="*/ 423862 w 783431"/>
                    <a:gd name="connsiteY43" fmla="*/ 607219 h 1202531"/>
                    <a:gd name="connsiteX44" fmla="*/ 426244 w 783431"/>
                    <a:gd name="connsiteY44" fmla="*/ 578644 h 1202531"/>
                    <a:gd name="connsiteX45" fmla="*/ 440531 w 783431"/>
                    <a:gd name="connsiteY45" fmla="*/ 566738 h 1202531"/>
                    <a:gd name="connsiteX46" fmla="*/ 450056 w 783431"/>
                    <a:gd name="connsiteY46" fmla="*/ 535782 h 1202531"/>
                    <a:gd name="connsiteX47" fmla="*/ 457200 w 783431"/>
                    <a:gd name="connsiteY47" fmla="*/ 519113 h 1202531"/>
                    <a:gd name="connsiteX48" fmla="*/ 481012 w 783431"/>
                    <a:gd name="connsiteY48" fmla="*/ 526257 h 1202531"/>
                    <a:gd name="connsiteX49" fmla="*/ 495300 w 783431"/>
                    <a:gd name="connsiteY49" fmla="*/ 576263 h 1202531"/>
                    <a:gd name="connsiteX50" fmla="*/ 507206 w 783431"/>
                    <a:gd name="connsiteY50" fmla="*/ 581025 h 1202531"/>
                    <a:gd name="connsiteX51" fmla="*/ 526256 w 783431"/>
                    <a:gd name="connsiteY51" fmla="*/ 583407 h 1202531"/>
                    <a:gd name="connsiteX52" fmla="*/ 554831 w 783431"/>
                    <a:gd name="connsiteY52" fmla="*/ 583407 h 1202531"/>
                    <a:gd name="connsiteX53" fmla="*/ 557212 w 783431"/>
                    <a:gd name="connsiteY53" fmla="*/ 547688 h 1202531"/>
                    <a:gd name="connsiteX54" fmla="*/ 545306 w 783431"/>
                    <a:gd name="connsiteY54" fmla="*/ 502444 h 1202531"/>
                    <a:gd name="connsiteX55" fmla="*/ 545306 w 783431"/>
                    <a:gd name="connsiteY55" fmla="*/ 476250 h 1202531"/>
                    <a:gd name="connsiteX56" fmla="*/ 581025 w 783431"/>
                    <a:gd name="connsiteY56" fmla="*/ 454819 h 1202531"/>
                    <a:gd name="connsiteX57" fmla="*/ 604837 w 783431"/>
                    <a:gd name="connsiteY57" fmla="*/ 435769 h 1202531"/>
                    <a:gd name="connsiteX58" fmla="*/ 640556 w 783431"/>
                    <a:gd name="connsiteY58" fmla="*/ 414338 h 1202531"/>
                    <a:gd name="connsiteX59" fmla="*/ 645319 w 783431"/>
                    <a:gd name="connsiteY59" fmla="*/ 395288 h 1202531"/>
                    <a:gd name="connsiteX60" fmla="*/ 633412 w 783431"/>
                    <a:gd name="connsiteY60" fmla="*/ 371475 h 1202531"/>
                    <a:gd name="connsiteX61" fmla="*/ 614362 w 783431"/>
                    <a:gd name="connsiteY61" fmla="*/ 369094 h 1202531"/>
                    <a:gd name="connsiteX62" fmla="*/ 609600 w 783431"/>
                    <a:gd name="connsiteY62" fmla="*/ 366713 h 1202531"/>
                    <a:gd name="connsiteX63" fmla="*/ 597694 w 783431"/>
                    <a:gd name="connsiteY63" fmla="*/ 357188 h 1202531"/>
                    <a:gd name="connsiteX64" fmla="*/ 611981 w 783431"/>
                    <a:gd name="connsiteY64" fmla="*/ 345282 h 1202531"/>
                    <a:gd name="connsiteX65" fmla="*/ 652462 w 783431"/>
                    <a:gd name="connsiteY65" fmla="*/ 316707 h 1202531"/>
                    <a:gd name="connsiteX66" fmla="*/ 678656 w 783431"/>
                    <a:gd name="connsiteY66" fmla="*/ 264319 h 1202531"/>
                    <a:gd name="connsiteX67" fmla="*/ 666750 w 783431"/>
                    <a:gd name="connsiteY67" fmla="*/ 242888 h 1202531"/>
                    <a:gd name="connsiteX68" fmla="*/ 638175 w 783431"/>
                    <a:gd name="connsiteY68" fmla="*/ 219075 h 1202531"/>
                    <a:gd name="connsiteX69" fmla="*/ 642937 w 783431"/>
                    <a:gd name="connsiteY69" fmla="*/ 180975 h 1202531"/>
                    <a:gd name="connsiteX70" fmla="*/ 673894 w 783431"/>
                    <a:gd name="connsiteY70" fmla="*/ 171450 h 1202531"/>
                    <a:gd name="connsiteX71" fmla="*/ 700087 w 783431"/>
                    <a:gd name="connsiteY71" fmla="*/ 142875 h 1202531"/>
                    <a:gd name="connsiteX72" fmla="*/ 700087 w 783431"/>
                    <a:gd name="connsiteY72" fmla="*/ 111919 h 1202531"/>
                    <a:gd name="connsiteX73" fmla="*/ 666750 w 783431"/>
                    <a:gd name="connsiteY73" fmla="*/ 107157 h 1202531"/>
                    <a:gd name="connsiteX74" fmla="*/ 645319 w 783431"/>
                    <a:gd name="connsiteY74" fmla="*/ 102394 h 1202531"/>
                    <a:gd name="connsiteX75" fmla="*/ 645319 w 783431"/>
                    <a:gd name="connsiteY75" fmla="*/ 102394 h 1202531"/>
                    <a:gd name="connsiteX76" fmla="*/ 678656 w 783431"/>
                    <a:gd name="connsiteY76" fmla="*/ 69057 h 1202531"/>
                    <a:gd name="connsiteX77" fmla="*/ 685800 w 783431"/>
                    <a:gd name="connsiteY77" fmla="*/ 40482 h 1202531"/>
                    <a:gd name="connsiteX78" fmla="*/ 678656 w 783431"/>
                    <a:gd name="connsiteY78" fmla="*/ 21432 h 1202531"/>
                    <a:gd name="connsiteX79" fmla="*/ 695325 w 783431"/>
                    <a:gd name="connsiteY79" fmla="*/ 2382 h 1202531"/>
                    <a:gd name="connsiteX80" fmla="*/ 628650 w 783431"/>
                    <a:gd name="connsiteY80" fmla="*/ 0 h 1202531"/>
                    <a:gd name="connsiteX81" fmla="*/ 552450 w 783431"/>
                    <a:gd name="connsiteY81" fmla="*/ 52388 h 1202531"/>
                    <a:gd name="connsiteX82" fmla="*/ 538162 w 783431"/>
                    <a:gd name="connsiteY82" fmla="*/ 90488 h 1202531"/>
                    <a:gd name="connsiteX83" fmla="*/ 445294 w 783431"/>
                    <a:gd name="connsiteY83" fmla="*/ 126207 h 1202531"/>
                    <a:gd name="connsiteX84" fmla="*/ 397669 w 783431"/>
                    <a:gd name="connsiteY84" fmla="*/ 159544 h 1202531"/>
                    <a:gd name="connsiteX85" fmla="*/ 376237 w 783431"/>
                    <a:gd name="connsiteY85" fmla="*/ 190500 h 1202531"/>
                    <a:gd name="connsiteX86" fmla="*/ 350044 w 783431"/>
                    <a:gd name="connsiteY86" fmla="*/ 140494 h 1202531"/>
                    <a:gd name="connsiteX87" fmla="*/ 316706 w 783431"/>
                    <a:gd name="connsiteY87" fmla="*/ 140494 h 1202531"/>
                    <a:gd name="connsiteX88" fmla="*/ 304800 w 783431"/>
                    <a:gd name="connsiteY88" fmla="*/ 166688 h 1202531"/>
                    <a:gd name="connsiteX89" fmla="*/ 280987 w 783431"/>
                    <a:gd name="connsiteY89" fmla="*/ 230982 h 1202531"/>
                    <a:gd name="connsiteX90" fmla="*/ 154781 w 783431"/>
                    <a:gd name="connsiteY90" fmla="*/ 223838 h 1202531"/>
                    <a:gd name="connsiteX91" fmla="*/ 140494 w 783431"/>
                    <a:gd name="connsiteY91" fmla="*/ 245269 h 1202531"/>
                    <a:gd name="connsiteX92" fmla="*/ 138112 w 783431"/>
                    <a:gd name="connsiteY92" fmla="*/ 280988 h 1202531"/>
                    <a:gd name="connsiteX93" fmla="*/ 66675 w 783431"/>
                    <a:gd name="connsiteY93" fmla="*/ 309563 h 1202531"/>
                    <a:gd name="connsiteX94" fmla="*/ 54769 w 783431"/>
                    <a:gd name="connsiteY94" fmla="*/ 323850 h 1202531"/>
                    <a:gd name="connsiteX95" fmla="*/ 66675 w 783431"/>
                    <a:gd name="connsiteY95" fmla="*/ 381000 h 1202531"/>
                    <a:gd name="connsiteX96" fmla="*/ 19050 w 783431"/>
                    <a:gd name="connsiteY96" fmla="*/ 423863 h 1202531"/>
                    <a:gd name="connsiteX97" fmla="*/ 26194 w 783431"/>
                    <a:gd name="connsiteY97" fmla="*/ 490538 h 1202531"/>
                    <a:gd name="connsiteX98" fmla="*/ 33337 w 783431"/>
                    <a:gd name="connsiteY98" fmla="*/ 554832 h 1202531"/>
                    <a:gd name="connsiteX99" fmla="*/ 0 w 783431"/>
                    <a:gd name="connsiteY99" fmla="*/ 614363 h 1202531"/>
                    <a:gd name="connsiteX0" fmla="*/ 0 w 783431"/>
                    <a:gd name="connsiteY0" fmla="*/ 614363 h 1202531"/>
                    <a:gd name="connsiteX1" fmla="*/ 21431 w 783431"/>
                    <a:gd name="connsiteY1" fmla="*/ 661988 h 1202531"/>
                    <a:gd name="connsiteX2" fmla="*/ 28575 w 783431"/>
                    <a:gd name="connsiteY2" fmla="*/ 742950 h 1202531"/>
                    <a:gd name="connsiteX3" fmla="*/ 76200 w 783431"/>
                    <a:gd name="connsiteY3" fmla="*/ 814388 h 1202531"/>
                    <a:gd name="connsiteX4" fmla="*/ 102394 w 783431"/>
                    <a:gd name="connsiteY4" fmla="*/ 919163 h 1202531"/>
                    <a:gd name="connsiteX5" fmla="*/ 116681 w 783431"/>
                    <a:gd name="connsiteY5" fmla="*/ 947738 h 1202531"/>
                    <a:gd name="connsiteX6" fmla="*/ 130969 w 783431"/>
                    <a:gd name="connsiteY6" fmla="*/ 995363 h 1202531"/>
                    <a:gd name="connsiteX7" fmla="*/ 150019 w 783431"/>
                    <a:gd name="connsiteY7" fmla="*/ 1023938 h 1202531"/>
                    <a:gd name="connsiteX8" fmla="*/ 159544 w 783431"/>
                    <a:gd name="connsiteY8" fmla="*/ 1042988 h 1202531"/>
                    <a:gd name="connsiteX9" fmla="*/ 197644 w 783431"/>
                    <a:gd name="connsiteY9" fmla="*/ 1069182 h 1202531"/>
                    <a:gd name="connsiteX10" fmla="*/ 245269 w 783431"/>
                    <a:gd name="connsiteY10" fmla="*/ 1090613 h 1202531"/>
                    <a:gd name="connsiteX11" fmla="*/ 264318 w 783431"/>
                    <a:gd name="connsiteY11" fmla="*/ 1131094 h 1202531"/>
                    <a:gd name="connsiteX12" fmla="*/ 295275 w 783431"/>
                    <a:gd name="connsiteY12" fmla="*/ 1164431 h 1202531"/>
                    <a:gd name="connsiteX13" fmla="*/ 385762 w 783431"/>
                    <a:gd name="connsiteY13" fmla="*/ 1200149 h 1202531"/>
                    <a:gd name="connsiteX14" fmla="*/ 461962 w 783431"/>
                    <a:gd name="connsiteY14" fmla="*/ 1197768 h 1202531"/>
                    <a:gd name="connsiteX15" fmla="*/ 554831 w 783431"/>
                    <a:gd name="connsiteY15" fmla="*/ 1202531 h 1202531"/>
                    <a:gd name="connsiteX16" fmla="*/ 592931 w 783431"/>
                    <a:gd name="connsiteY16" fmla="*/ 1126331 h 1202531"/>
                    <a:gd name="connsiteX17" fmla="*/ 604837 w 783431"/>
                    <a:gd name="connsiteY17" fmla="*/ 1085850 h 1202531"/>
                    <a:gd name="connsiteX18" fmla="*/ 585787 w 783431"/>
                    <a:gd name="connsiteY18" fmla="*/ 1035844 h 1202531"/>
                    <a:gd name="connsiteX19" fmla="*/ 607219 w 783431"/>
                    <a:gd name="connsiteY19" fmla="*/ 1021557 h 1202531"/>
                    <a:gd name="connsiteX20" fmla="*/ 645319 w 783431"/>
                    <a:gd name="connsiteY20" fmla="*/ 1016794 h 1202531"/>
                    <a:gd name="connsiteX21" fmla="*/ 685800 w 783431"/>
                    <a:gd name="connsiteY21" fmla="*/ 997744 h 1202531"/>
                    <a:gd name="connsiteX22" fmla="*/ 716756 w 783431"/>
                    <a:gd name="connsiteY22" fmla="*/ 1002507 h 1202531"/>
                    <a:gd name="connsiteX23" fmla="*/ 738187 w 783431"/>
                    <a:gd name="connsiteY23" fmla="*/ 969169 h 1202531"/>
                    <a:gd name="connsiteX24" fmla="*/ 783431 w 783431"/>
                    <a:gd name="connsiteY24" fmla="*/ 933450 h 1202531"/>
                    <a:gd name="connsiteX25" fmla="*/ 776287 w 783431"/>
                    <a:gd name="connsiteY25" fmla="*/ 907257 h 1202531"/>
                    <a:gd name="connsiteX26" fmla="*/ 752475 w 783431"/>
                    <a:gd name="connsiteY26" fmla="*/ 888207 h 1202531"/>
                    <a:gd name="connsiteX27" fmla="*/ 752475 w 783431"/>
                    <a:gd name="connsiteY27" fmla="*/ 864394 h 1202531"/>
                    <a:gd name="connsiteX28" fmla="*/ 728662 w 783431"/>
                    <a:gd name="connsiteY28" fmla="*/ 852488 h 1202531"/>
                    <a:gd name="connsiteX29" fmla="*/ 711994 w 783431"/>
                    <a:gd name="connsiteY29" fmla="*/ 802482 h 1202531"/>
                    <a:gd name="connsiteX30" fmla="*/ 688181 w 783431"/>
                    <a:gd name="connsiteY30" fmla="*/ 814388 h 1202531"/>
                    <a:gd name="connsiteX31" fmla="*/ 659606 w 783431"/>
                    <a:gd name="connsiteY31" fmla="*/ 814388 h 1202531"/>
                    <a:gd name="connsiteX32" fmla="*/ 647700 w 783431"/>
                    <a:gd name="connsiteY32" fmla="*/ 847725 h 1202531"/>
                    <a:gd name="connsiteX33" fmla="*/ 623887 w 783431"/>
                    <a:gd name="connsiteY33" fmla="*/ 847725 h 1202531"/>
                    <a:gd name="connsiteX34" fmla="*/ 576262 w 783431"/>
                    <a:gd name="connsiteY34" fmla="*/ 828675 h 1202531"/>
                    <a:gd name="connsiteX35" fmla="*/ 554831 w 783431"/>
                    <a:gd name="connsiteY35" fmla="*/ 816769 h 1202531"/>
                    <a:gd name="connsiteX36" fmla="*/ 547687 w 783431"/>
                    <a:gd name="connsiteY36" fmla="*/ 783432 h 1202531"/>
                    <a:gd name="connsiteX37" fmla="*/ 561975 w 783431"/>
                    <a:gd name="connsiteY37" fmla="*/ 754857 h 1202531"/>
                    <a:gd name="connsiteX38" fmla="*/ 533400 w 783431"/>
                    <a:gd name="connsiteY38" fmla="*/ 733425 h 1202531"/>
                    <a:gd name="connsiteX39" fmla="*/ 509587 w 783431"/>
                    <a:gd name="connsiteY39" fmla="*/ 711994 h 1202531"/>
                    <a:gd name="connsiteX40" fmla="*/ 473869 w 783431"/>
                    <a:gd name="connsiteY40" fmla="*/ 711994 h 1202531"/>
                    <a:gd name="connsiteX41" fmla="*/ 435769 w 783431"/>
                    <a:gd name="connsiteY41" fmla="*/ 711994 h 1202531"/>
                    <a:gd name="connsiteX42" fmla="*/ 438150 w 783431"/>
                    <a:gd name="connsiteY42" fmla="*/ 669132 h 1202531"/>
                    <a:gd name="connsiteX43" fmla="*/ 428625 w 783431"/>
                    <a:gd name="connsiteY43" fmla="*/ 642938 h 1202531"/>
                    <a:gd name="connsiteX44" fmla="*/ 423862 w 783431"/>
                    <a:gd name="connsiteY44" fmla="*/ 607219 h 1202531"/>
                    <a:gd name="connsiteX45" fmla="*/ 426244 w 783431"/>
                    <a:gd name="connsiteY45" fmla="*/ 578644 h 1202531"/>
                    <a:gd name="connsiteX46" fmla="*/ 440531 w 783431"/>
                    <a:gd name="connsiteY46" fmla="*/ 566738 h 1202531"/>
                    <a:gd name="connsiteX47" fmla="*/ 450056 w 783431"/>
                    <a:gd name="connsiteY47" fmla="*/ 535782 h 1202531"/>
                    <a:gd name="connsiteX48" fmla="*/ 457200 w 783431"/>
                    <a:gd name="connsiteY48" fmla="*/ 519113 h 1202531"/>
                    <a:gd name="connsiteX49" fmla="*/ 481012 w 783431"/>
                    <a:gd name="connsiteY49" fmla="*/ 526257 h 1202531"/>
                    <a:gd name="connsiteX50" fmla="*/ 495300 w 783431"/>
                    <a:gd name="connsiteY50" fmla="*/ 576263 h 1202531"/>
                    <a:gd name="connsiteX51" fmla="*/ 507206 w 783431"/>
                    <a:gd name="connsiteY51" fmla="*/ 581025 h 1202531"/>
                    <a:gd name="connsiteX52" fmla="*/ 526256 w 783431"/>
                    <a:gd name="connsiteY52" fmla="*/ 583407 h 1202531"/>
                    <a:gd name="connsiteX53" fmla="*/ 554831 w 783431"/>
                    <a:gd name="connsiteY53" fmla="*/ 583407 h 1202531"/>
                    <a:gd name="connsiteX54" fmla="*/ 557212 w 783431"/>
                    <a:gd name="connsiteY54" fmla="*/ 547688 h 1202531"/>
                    <a:gd name="connsiteX55" fmla="*/ 545306 w 783431"/>
                    <a:gd name="connsiteY55" fmla="*/ 502444 h 1202531"/>
                    <a:gd name="connsiteX56" fmla="*/ 545306 w 783431"/>
                    <a:gd name="connsiteY56" fmla="*/ 476250 h 1202531"/>
                    <a:gd name="connsiteX57" fmla="*/ 581025 w 783431"/>
                    <a:gd name="connsiteY57" fmla="*/ 454819 h 1202531"/>
                    <a:gd name="connsiteX58" fmla="*/ 604837 w 783431"/>
                    <a:gd name="connsiteY58" fmla="*/ 435769 h 1202531"/>
                    <a:gd name="connsiteX59" fmla="*/ 640556 w 783431"/>
                    <a:gd name="connsiteY59" fmla="*/ 414338 h 1202531"/>
                    <a:gd name="connsiteX60" fmla="*/ 645319 w 783431"/>
                    <a:gd name="connsiteY60" fmla="*/ 395288 h 1202531"/>
                    <a:gd name="connsiteX61" fmla="*/ 633412 w 783431"/>
                    <a:gd name="connsiteY61" fmla="*/ 371475 h 1202531"/>
                    <a:gd name="connsiteX62" fmla="*/ 614362 w 783431"/>
                    <a:gd name="connsiteY62" fmla="*/ 369094 h 1202531"/>
                    <a:gd name="connsiteX63" fmla="*/ 609600 w 783431"/>
                    <a:gd name="connsiteY63" fmla="*/ 366713 h 1202531"/>
                    <a:gd name="connsiteX64" fmla="*/ 597694 w 783431"/>
                    <a:gd name="connsiteY64" fmla="*/ 357188 h 1202531"/>
                    <a:gd name="connsiteX65" fmla="*/ 611981 w 783431"/>
                    <a:gd name="connsiteY65" fmla="*/ 345282 h 1202531"/>
                    <a:gd name="connsiteX66" fmla="*/ 652462 w 783431"/>
                    <a:gd name="connsiteY66" fmla="*/ 316707 h 1202531"/>
                    <a:gd name="connsiteX67" fmla="*/ 678656 w 783431"/>
                    <a:gd name="connsiteY67" fmla="*/ 264319 h 1202531"/>
                    <a:gd name="connsiteX68" fmla="*/ 666750 w 783431"/>
                    <a:gd name="connsiteY68" fmla="*/ 242888 h 1202531"/>
                    <a:gd name="connsiteX69" fmla="*/ 638175 w 783431"/>
                    <a:gd name="connsiteY69" fmla="*/ 219075 h 1202531"/>
                    <a:gd name="connsiteX70" fmla="*/ 642937 w 783431"/>
                    <a:gd name="connsiteY70" fmla="*/ 180975 h 1202531"/>
                    <a:gd name="connsiteX71" fmla="*/ 673894 w 783431"/>
                    <a:gd name="connsiteY71" fmla="*/ 171450 h 1202531"/>
                    <a:gd name="connsiteX72" fmla="*/ 700087 w 783431"/>
                    <a:gd name="connsiteY72" fmla="*/ 142875 h 1202531"/>
                    <a:gd name="connsiteX73" fmla="*/ 700087 w 783431"/>
                    <a:gd name="connsiteY73" fmla="*/ 111919 h 1202531"/>
                    <a:gd name="connsiteX74" fmla="*/ 666750 w 783431"/>
                    <a:gd name="connsiteY74" fmla="*/ 107157 h 1202531"/>
                    <a:gd name="connsiteX75" fmla="*/ 645319 w 783431"/>
                    <a:gd name="connsiteY75" fmla="*/ 102394 h 1202531"/>
                    <a:gd name="connsiteX76" fmla="*/ 645319 w 783431"/>
                    <a:gd name="connsiteY76" fmla="*/ 102394 h 1202531"/>
                    <a:gd name="connsiteX77" fmla="*/ 678656 w 783431"/>
                    <a:gd name="connsiteY77" fmla="*/ 69057 h 1202531"/>
                    <a:gd name="connsiteX78" fmla="*/ 685800 w 783431"/>
                    <a:gd name="connsiteY78" fmla="*/ 40482 h 1202531"/>
                    <a:gd name="connsiteX79" fmla="*/ 678656 w 783431"/>
                    <a:gd name="connsiteY79" fmla="*/ 21432 h 1202531"/>
                    <a:gd name="connsiteX80" fmla="*/ 695325 w 783431"/>
                    <a:gd name="connsiteY80" fmla="*/ 2382 h 1202531"/>
                    <a:gd name="connsiteX81" fmla="*/ 628650 w 783431"/>
                    <a:gd name="connsiteY81" fmla="*/ 0 h 1202531"/>
                    <a:gd name="connsiteX82" fmla="*/ 552450 w 783431"/>
                    <a:gd name="connsiteY82" fmla="*/ 52388 h 1202531"/>
                    <a:gd name="connsiteX83" fmla="*/ 538162 w 783431"/>
                    <a:gd name="connsiteY83" fmla="*/ 90488 h 1202531"/>
                    <a:gd name="connsiteX84" fmla="*/ 445294 w 783431"/>
                    <a:gd name="connsiteY84" fmla="*/ 126207 h 1202531"/>
                    <a:gd name="connsiteX85" fmla="*/ 397669 w 783431"/>
                    <a:gd name="connsiteY85" fmla="*/ 159544 h 1202531"/>
                    <a:gd name="connsiteX86" fmla="*/ 376237 w 783431"/>
                    <a:gd name="connsiteY86" fmla="*/ 190500 h 1202531"/>
                    <a:gd name="connsiteX87" fmla="*/ 350044 w 783431"/>
                    <a:gd name="connsiteY87" fmla="*/ 140494 h 1202531"/>
                    <a:gd name="connsiteX88" fmla="*/ 316706 w 783431"/>
                    <a:gd name="connsiteY88" fmla="*/ 140494 h 1202531"/>
                    <a:gd name="connsiteX89" fmla="*/ 304800 w 783431"/>
                    <a:gd name="connsiteY89" fmla="*/ 166688 h 1202531"/>
                    <a:gd name="connsiteX90" fmla="*/ 280987 w 783431"/>
                    <a:gd name="connsiteY90" fmla="*/ 230982 h 1202531"/>
                    <a:gd name="connsiteX91" fmla="*/ 154781 w 783431"/>
                    <a:gd name="connsiteY91" fmla="*/ 223838 h 1202531"/>
                    <a:gd name="connsiteX92" fmla="*/ 140494 w 783431"/>
                    <a:gd name="connsiteY92" fmla="*/ 245269 h 1202531"/>
                    <a:gd name="connsiteX93" fmla="*/ 138112 w 783431"/>
                    <a:gd name="connsiteY93" fmla="*/ 280988 h 1202531"/>
                    <a:gd name="connsiteX94" fmla="*/ 66675 w 783431"/>
                    <a:gd name="connsiteY94" fmla="*/ 309563 h 1202531"/>
                    <a:gd name="connsiteX95" fmla="*/ 54769 w 783431"/>
                    <a:gd name="connsiteY95" fmla="*/ 323850 h 1202531"/>
                    <a:gd name="connsiteX96" fmla="*/ 66675 w 783431"/>
                    <a:gd name="connsiteY96" fmla="*/ 381000 h 1202531"/>
                    <a:gd name="connsiteX97" fmla="*/ 19050 w 783431"/>
                    <a:gd name="connsiteY97" fmla="*/ 423863 h 1202531"/>
                    <a:gd name="connsiteX98" fmla="*/ 26194 w 783431"/>
                    <a:gd name="connsiteY98" fmla="*/ 490538 h 1202531"/>
                    <a:gd name="connsiteX99" fmla="*/ 33337 w 783431"/>
                    <a:gd name="connsiteY99" fmla="*/ 554832 h 1202531"/>
                    <a:gd name="connsiteX100" fmla="*/ 0 w 783431"/>
                    <a:gd name="connsiteY100" fmla="*/ 614363 h 1202531"/>
                    <a:gd name="connsiteX0" fmla="*/ 0 w 783431"/>
                    <a:gd name="connsiteY0" fmla="*/ 614363 h 1202531"/>
                    <a:gd name="connsiteX1" fmla="*/ 21431 w 783431"/>
                    <a:gd name="connsiteY1" fmla="*/ 661988 h 1202531"/>
                    <a:gd name="connsiteX2" fmla="*/ 28575 w 783431"/>
                    <a:gd name="connsiteY2" fmla="*/ 742950 h 1202531"/>
                    <a:gd name="connsiteX3" fmla="*/ 76200 w 783431"/>
                    <a:gd name="connsiteY3" fmla="*/ 814388 h 1202531"/>
                    <a:gd name="connsiteX4" fmla="*/ 102394 w 783431"/>
                    <a:gd name="connsiteY4" fmla="*/ 919163 h 1202531"/>
                    <a:gd name="connsiteX5" fmla="*/ 116681 w 783431"/>
                    <a:gd name="connsiteY5" fmla="*/ 947738 h 1202531"/>
                    <a:gd name="connsiteX6" fmla="*/ 130969 w 783431"/>
                    <a:gd name="connsiteY6" fmla="*/ 995363 h 1202531"/>
                    <a:gd name="connsiteX7" fmla="*/ 150019 w 783431"/>
                    <a:gd name="connsiteY7" fmla="*/ 1023938 h 1202531"/>
                    <a:gd name="connsiteX8" fmla="*/ 159544 w 783431"/>
                    <a:gd name="connsiteY8" fmla="*/ 1042988 h 1202531"/>
                    <a:gd name="connsiteX9" fmla="*/ 197644 w 783431"/>
                    <a:gd name="connsiteY9" fmla="*/ 1069182 h 1202531"/>
                    <a:gd name="connsiteX10" fmla="*/ 245269 w 783431"/>
                    <a:gd name="connsiteY10" fmla="*/ 1090613 h 1202531"/>
                    <a:gd name="connsiteX11" fmla="*/ 264318 w 783431"/>
                    <a:gd name="connsiteY11" fmla="*/ 1131094 h 1202531"/>
                    <a:gd name="connsiteX12" fmla="*/ 295275 w 783431"/>
                    <a:gd name="connsiteY12" fmla="*/ 1164431 h 1202531"/>
                    <a:gd name="connsiteX13" fmla="*/ 385762 w 783431"/>
                    <a:gd name="connsiteY13" fmla="*/ 1200149 h 1202531"/>
                    <a:gd name="connsiteX14" fmla="*/ 469106 w 783431"/>
                    <a:gd name="connsiteY14" fmla="*/ 1181100 h 1202531"/>
                    <a:gd name="connsiteX15" fmla="*/ 554831 w 783431"/>
                    <a:gd name="connsiteY15" fmla="*/ 1202531 h 1202531"/>
                    <a:gd name="connsiteX16" fmla="*/ 592931 w 783431"/>
                    <a:gd name="connsiteY16" fmla="*/ 1126331 h 1202531"/>
                    <a:gd name="connsiteX17" fmla="*/ 604837 w 783431"/>
                    <a:gd name="connsiteY17" fmla="*/ 1085850 h 1202531"/>
                    <a:gd name="connsiteX18" fmla="*/ 585787 w 783431"/>
                    <a:gd name="connsiteY18" fmla="*/ 1035844 h 1202531"/>
                    <a:gd name="connsiteX19" fmla="*/ 607219 w 783431"/>
                    <a:gd name="connsiteY19" fmla="*/ 1021557 h 1202531"/>
                    <a:gd name="connsiteX20" fmla="*/ 645319 w 783431"/>
                    <a:gd name="connsiteY20" fmla="*/ 1016794 h 1202531"/>
                    <a:gd name="connsiteX21" fmla="*/ 685800 w 783431"/>
                    <a:gd name="connsiteY21" fmla="*/ 997744 h 1202531"/>
                    <a:gd name="connsiteX22" fmla="*/ 716756 w 783431"/>
                    <a:gd name="connsiteY22" fmla="*/ 1002507 h 1202531"/>
                    <a:gd name="connsiteX23" fmla="*/ 738187 w 783431"/>
                    <a:gd name="connsiteY23" fmla="*/ 969169 h 1202531"/>
                    <a:gd name="connsiteX24" fmla="*/ 783431 w 783431"/>
                    <a:gd name="connsiteY24" fmla="*/ 933450 h 1202531"/>
                    <a:gd name="connsiteX25" fmla="*/ 776287 w 783431"/>
                    <a:gd name="connsiteY25" fmla="*/ 907257 h 1202531"/>
                    <a:gd name="connsiteX26" fmla="*/ 752475 w 783431"/>
                    <a:gd name="connsiteY26" fmla="*/ 888207 h 1202531"/>
                    <a:gd name="connsiteX27" fmla="*/ 752475 w 783431"/>
                    <a:gd name="connsiteY27" fmla="*/ 864394 h 1202531"/>
                    <a:gd name="connsiteX28" fmla="*/ 728662 w 783431"/>
                    <a:gd name="connsiteY28" fmla="*/ 852488 h 1202531"/>
                    <a:gd name="connsiteX29" fmla="*/ 711994 w 783431"/>
                    <a:gd name="connsiteY29" fmla="*/ 802482 h 1202531"/>
                    <a:gd name="connsiteX30" fmla="*/ 688181 w 783431"/>
                    <a:gd name="connsiteY30" fmla="*/ 814388 h 1202531"/>
                    <a:gd name="connsiteX31" fmla="*/ 659606 w 783431"/>
                    <a:gd name="connsiteY31" fmla="*/ 814388 h 1202531"/>
                    <a:gd name="connsiteX32" fmla="*/ 647700 w 783431"/>
                    <a:gd name="connsiteY32" fmla="*/ 847725 h 1202531"/>
                    <a:gd name="connsiteX33" fmla="*/ 623887 w 783431"/>
                    <a:gd name="connsiteY33" fmla="*/ 847725 h 1202531"/>
                    <a:gd name="connsiteX34" fmla="*/ 576262 w 783431"/>
                    <a:gd name="connsiteY34" fmla="*/ 828675 h 1202531"/>
                    <a:gd name="connsiteX35" fmla="*/ 554831 w 783431"/>
                    <a:gd name="connsiteY35" fmla="*/ 816769 h 1202531"/>
                    <a:gd name="connsiteX36" fmla="*/ 547687 w 783431"/>
                    <a:gd name="connsiteY36" fmla="*/ 783432 h 1202531"/>
                    <a:gd name="connsiteX37" fmla="*/ 561975 w 783431"/>
                    <a:gd name="connsiteY37" fmla="*/ 754857 h 1202531"/>
                    <a:gd name="connsiteX38" fmla="*/ 533400 w 783431"/>
                    <a:gd name="connsiteY38" fmla="*/ 733425 h 1202531"/>
                    <a:gd name="connsiteX39" fmla="*/ 509587 w 783431"/>
                    <a:gd name="connsiteY39" fmla="*/ 711994 h 1202531"/>
                    <a:gd name="connsiteX40" fmla="*/ 473869 w 783431"/>
                    <a:gd name="connsiteY40" fmla="*/ 711994 h 1202531"/>
                    <a:gd name="connsiteX41" fmla="*/ 435769 w 783431"/>
                    <a:gd name="connsiteY41" fmla="*/ 711994 h 1202531"/>
                    <a:gd name="connsiteX42" fmla="*/ 438150 w 783431"/>
                    <a:gd name="connsiteY42" fmla="*/ 669132 h 1202531"/>
                    <a:gd name="connsiteX43" fmla="*/ 428625 w 783431"/>
                    <a:gd name="connsiteY43" fmla="*/ 642938 h 1202531"/>
                    <a:gd name="connsiteX44" fmla="*/ 423862 w 783431"/>
                    <a:gd name="connsiteY44" fmla="*/ 607219 h 1202531"/>
                    <a:gd name="connsiteX45" fmla="*/ 426244 w 783431"/>
                    <a:gd name="connsiteY45" fmla="*/ 578644 h 1202531"/>
                    <a:gd name="connsiteX46" fmla="*/ 440531 w 783431"/>
                    <a:gd name="connsiteY46" fmla="*/ 566738 h 1202531"/>
                    <a:gd name="connsiteX47" fmla="*/ 450056 w 783431"/>
                    <a:gd name="connsiteY47" fmla="*/ 535782 h 1202531"/>
                    <a:gd name="connsiteX48" fmla="*/ 457200 w 783431"/>
                    <a:gd name="connsiteY48" fmla="*/ 519113 h 1202531"/>
                    <a:gd name="connsiteX49" fmla="*/ 481012 w 783431"/>
                    <a:gd name="connsiteY49" fmla="*/ 526257 h 1202531"/>
                    <a:gd name="connsiteX50" fmla="*/ 495300 w 783431"/>
                    <a:gd name="connsiteY50" fmla="*/ 576263 h 1202531"/>
                    <a:gd name="connsiteX51" fmla="*/ 507206 w 783431"/>
                    <a:gd name="connsiteY51" fmla="*/ 581025 h 1202531"/>
                    <a:gd name="connsiteX52" fmla="*/ 526256 w 783431"/>
                    <a:gd name="connsiteY52" fmla="*/ 583407 h 1202531"/>
                    <a:gd name="connsiteX53" fmla="*/ 554831 w 783431"/>
                    <a:gd name="connsiteY53" fmla="*/ 583407 h 1202531"/>
                    <a:gd name="connsiteX54" fmla="*/ 557212 w 783431"/>
                    <a:gd name="connsiteY54" fmla="*/ 547688 h 1202531"/>
                    <a:gd name="connsiteX55" fmla="*/ 545306 w 783431"/>
                    <a:gd name="connsiteY55" fmla="*/ 502444 h 1202531"/>
                    <a:gd name="connsiteX56" fmla="*/ 545306 w 783431"/>
                    <a:gd name="connsiteY56" fmla="*/ 476250 h 1202531"/>
                    <a:gd name="connsiteX57" fmla="*/ 581025 w 783431"/>
                    <a:gd name="connsiteY57" fmla="*/ 454819 h 1202531"/>
                    <a:gd name="connsiteX58" fmla="*/ 604837 w 783431"/>
                    <a:gd name="connsiteY58" fmla="*/ 435769 h 1202531"/>
                    <a:gd name="connsiteX59" fmla="*/ 640556 w 783431"/>
                    <a:gd name="connsiteY59" fmla="*/ 414338 h 1202531"/>
                    <a:gd name="connsiteX60" fmla="*/ 645319 w 783431"/>
                    <a:gd name="connsiteY60" fmla="*/ 395288 h 1202531"/>
                    <a:gd name="connsiteX61" fmla="*/ 633412 w 783431"/>
                    <a:gd name="connsiteY61" fmla="*/ 371475 h 1202531"/>
                    <a:gd name="connsiteX62" fmla="*/ 614362 w 783431"/>
                    <a:gd name="connsiteY62" fmla="*/ 369094 h 1202531"/>
                    <a:gd name="connsiteX63" fmla="*/ 609600 w 783431"/>
                    <a:gd name="connsiteY63" fmla="*/ 366713 h 1202531"/>
                    <a:gd name="connsiteX64" fmla="*/ 597694 w 783431"/>
                    <a:gd name="connsiteY64" fmla="*/ 357188 h 1202531"/>
                    <a:gd name="connsiteX65" fmla="*/ 611981 w 783431"/>
                    <a:gd name="connsiteY65" fmla="*/ 345282 h 1202531"/>
                    <a:gd name="connsiteX66" fmla="*/ 652462 w 783431"/>
                    <a:gd name="connsiteY66" fmla="*/ 316707 h 1202531"/>
                    <a:gd name="connsiteX67" fmla="*/ 678656 w 783431"/>
                    <a:gd name="connsiteY67" fmla="*/ 264319 h 1202531"/>
                    <a:gd name="connsiteX68" fmla="*/ 666750 w 783431"/>
                    <a:gd name="connsiteY68" fmla="*/ 242888 h 1202531"/>
                    <a:gd name="connsiteX69" fmla="*/ 638175 w 783431"/>
                    <a:gd name="connsiteY69" fmla="*/ 219075 h 1202531"/>
                    <a:gd name="connsiteX70" fmla="*/ 642937 w 783431"/>
                    <a:gd name="connsiteY70" fmla="*/ 180975 h 1202531"/>
                    <a:gd name="connsiteX71" fmla="*/ 673894 w 783431"/>
                    <a:gd name="connsiteY71" fmla="*/ 171450 h 1202531"/>
                    <a:gd name="connsiteX72" fmla="*/ 700087 w 783431"/>
                    <a:gd name="connsiteY72" fmla="*/ 142875 h 1202531"/>
                    <a:gd name="connsiteX73" fmla="*/ 700087 w 783431"/>
                    <a:gd name="connsiteY73" fmla="*/ 111919 h 1202531"/>
                    <a:gd name="connsiteX74" fmla="*/ 666750 w 783431"/>
                    <a:gd name="connsiteY74" fmla="*/ 107157 h 1202531"/>
                    <a:gd name="connsiteX75" fmla="*/ 645319 w 783431"/>
                    <a:gd name="connsiteY75" fmla="*/ 102394 h 1202531"/>
                    <a:gd name="connsiteX76" fmla="*/ 645319 w 783431"/>
                    <a:gd name="connsiteY76" fmla="*/ 102394 h 1202531"/>
                    <a:gd name="connsiteX77" fmla="*/ 678656 w 783431"/>
                    <a:gd name="connsiteY77" fmla="*/ 69057 h 1202531"/>
                    <a:gd name="connsiteX78" fmla="*/ 685800 w 783431"/>
                    <a:gd name="connsiteY78" fmla="*/ 40482 h 1202531"/>
                    <a:gd name="connsiteX79" fmla="*/ 678656 w 783431"/>
                    <a:gd name="connsiteY79" fmla="*/ 21432 h 1202531"/>
                    <a:gd name="connsiteX80" fmla="*/ 695325 w 783431"/>
                    <a:gd name="connsiteY80" fmla="*/ 2382 h 1202531"/>
                    <a:gd name="connsiteX81" fmla="*/ 628650 w 783431"/>
                    <a:gd name="connsiteY81" fmla="*/ 0 h 1202531"/>
                    <a:gd name="connsiteX82" fmla="*/ 552450 w 783431"/>
                    <a:gd name="connsiteY82" fmla="*/ 52388 h 1202531"/>
                    <a:gd name="connsiteX83" fmla="*/ 538162 w 783431"/>
                    <a:gd name="connsiteY83" fmla="*/ 90488 h 1202531"/>
                    <a:gd name="connsiteX84" fmla="*/ 445294 w 783431"/>
                    <a:gd name="connsiteY84" fmla="*/ 126207 h 1202531"/>
                    <a:gd name="connsiteX85" fmla="*/ 397669 w 783431"/>
                    <a:gd name="connsiteY85" fmla="*/ 159544 h 1202531"/>
                    <a:gd name="connsiteX86" fmla="*/ 376237 w 783431"/>
                    <a:gd name="connsiteY86" fmla="*/ 190500 h 1202531"/>
                    <a:gd name="connsiteX87" fmla="*/ 350044 w 783431"/>
                    <a:gd name="connsiteY87" fmla="*/ 140494 h 1202531"/>
                    <a:gd name="connsiteX88" fmla="*/ 316706 w 783431"/>
                    <a:gd name="connsiteY88" fmla="*/ 140494 h 1202531"/>
                    <a:gd name="connsiteX89" fmla="*/ 304800 w 783431"/>
                    <a:gd name="connsiteY89" fmla="*/ 166688 h 1202531"/>
                    <a:gd name="connsiteX90" fmla="*/ 280987 w 783431"/>
                    <a:gd name="connsiteY90" fmla="*/ 230982 h 1202531"/>
                    <a:gd name="connsiteX91" fmla="*/ 154781 w 783431"/>
                    <a:gd name="connsiteY91" fmla="*/ 223838 h 1202531"/>
                    <a:gd name="connsiteX92" fmla="*/ 140494 w 783431"/>
                    <a:gd name="connsiteY92" fmla="*/ 245269 h 1202531"/>
                    <a:gd name="connsiteX93" fmla="*/ 138112 w 783431"/>
                    <a:gd name="connsiteY93" fmla="*/ 280988 h 1202531"/>
                    <a:gd name="connsiteX94" fmla="*/ 66675 w 783431"/>
                    <a:gd name="connsiteY94" fmla="*/ 309563 h 1202531"/>
                    <a:gd name="connsiteX95" fmla="*/ 54769 w 783431"/>
                    <a:gd name="connsiteY95" fmla="*/ 323850 h 1202531"/>
                    <a:gd name="connsiteX96" fmla="*/ 66675 w 783431"/>
                    <a:gd name="connsiteY96" fmla="*/ 381000 h 1202531"/>
                    <a:gd name="connsiteX97" fmla="*/ 19050 w 783431"/>
                    <a:gd name="connsiteY97" fmla="*/ 423863 h 1202531"/>
                    <a:gd name="connsiteX98" fmla="*/ 26194 w 783431"/>
                    <a:gd name="connsiteY98" fmla="*/ 490538 h 1202531"/>
                    <a:gd name="connsiteX99" fmla="*/ 33337 w 783431"/>
                    <a:gd name="connsiteY99" fmla="*/ 554832 h 1202531"/>
                    <a:gd name="connsiteX100" fmla="*/ 0 w 783431"/>
                    <a:gd name="connsiteY100" fmla="*/ 614363 h 1202531"/>
                    <a:gd name="connsiteX0" fmla="*/ 0 w 783431"/>
                    <a:gd name="connsiteY0" fmla="*/ 614363 h 1202531"/>
                    <a:gd name="connsiteX1" fmla="*/ 21431 w 783431"/>
                    <a:gd name="connsiteY1" fmla="*/ 661988 h 1202531"/>
                    <a:gd name="connsiteX2" fmla="*/ 28575 w 783431"/>
                    <a:gd name="connsiteY2" fmla="*/ 742950 h 1202531"/>
                    <a:gd name="connsiteX3" fmla="*/ 76200 w 783431"/>
                    <a:gd name="connsiteY3" fmla="*/ 814388 h 1202531"/>
                    <a:gd name="connsiteX4" fmla="*/ 102394 w 783431"/>
                    <a:gd name="connsiteY4" fmla="*/ 919163 h 1202531"/>
                    <a:gd name="connsiteX5" fmla="*/ 116681 w 783431"/>
                    <a:gd name="connsiteY5" fmla="*/ 947738 h 1202531"/>
                    <a:gd name="connsiteX6" fmla="*/ 130969 w 783431"/>
                    <a:gd name="connsiteY6" fmla="*/ 995363 h 1202531"/>
                    <a:gd name="connsiteX7" fmla="*/ 150019 w 783431"/>
                    <a:gd name="connsiteY7" fmla="*/ 1023938 h 1202531"/>
                    <a:gd name="connsiteX8" fmla="*/ 159544 w 783431"/>
                    <a:gd name="connsiteY8" fmla="*/ 1042988 h 1202531"/>
                    <a:gd name="connsiteX9" fmla="*/ 197644 w 783431"/>
                    <a:gd name="connsiteY9" fmla="*/ 1069182 h 1202531"/>
                    <a:gd name="connsiteX10" fmla="*/ 245269 w 783431"/>
                    <a:gd name="connsiteY10" fmla="*/ 1090613 h 1202531"/>
                    <a:gd name="connsiteX11" fmla="*/ 264318 w 783431"/>
                    <a:gd name="connsiteY11" fmla="*/ 1131094 h 1202531"/>
                    <a:gd name="connsiteX12" fmla="*/ 295275 w 783431"/>
                    <a:gd name="connsiteY12" fmla="*/ 1164431 h 1202531"/>
                    <a:gd name="connsiteX13" fmla="*/ 385762 w 783431"/>
                    <a:gd name="connsiteY13" fmla="*/ 1200149 h 1202531"/>
                    <a:gd name="connsiteX14" fmla="*/ 419100 w 783431"/>
                    <a:gd name="connsiteY14" fmla="*/ 1190624 h 1202531"/>
                    <a:gd name="connsiteX15" fmla="*/ 469106 w 783431"/>
                    <a:gd name="connsiteY15" fmla="*/ 1181100 h 1202531"/>
                    <a:gd name="connsiteX16" fmla="*/ 554831 w 783431"/>
                    <a:gd name="connsiteY16" fmla="*/ 1202531 h 1202531"/>
                    <a:gd name="connsiteX17" fmla="*/ 592931 w 783431"/>
                    <a:gd name="connsiteY17" fmla="*/ 1126331 h 1202531"/>
                    <a:gd name="connsiteX18" fmla="*/ 604837 w 783431"/>
                    <a:gd name="connsiteY18" fmla="*/ 1085850 h 1202531"/>
                    <a:gd name="connsiteX19" fmla="*/ 585787 w 783431"/>
                    <a:gd name="connsiteY19" fmla="*/ 1035844 h 1202531"/>
                    <a:gd name="connsiteX20" fmla="*/ 607219 w 783431"/>
                    <a:gd name="connsiteY20" fmla="*/ 1021557 h 1202531"/>
                    <a:gd name="connsiteX21" fmla="*/ 645319 w 783431"/>
                    <a:gd name="connsiteY21" fmla="*/ 1016794 h 1202531"/>
                    <a:gd name="connsiteX22" fmla="*/ 685800 w 783431"/>
                    <a:gd name="connsiteY22" fmla="*/ 997744 h 1202531"/>
                    <a:gd name="connsiteX23" fmla="*/ 716756 w 783431"/>
                    <a:gd name="connsiteY23" fmla="*/ 1002507 h 1202531"/>
                    <a:gd name="connsiteX24" fmla="*/ 738187 w 783431"/>
                    <a:gd name="connsiteY24" fmla="*/ 969169 h 1202531"/>
                    <a:gd name="connsiteX25" fmla="*/ 783431 w 783431"/>
                    <a:gd name="connsiteY25" fmla="*/ 933450 h 1202531"/>
                    <a:gd name="connsiteX26" fmla="*/ 776287 w 783431"/>
                    <a:gd name="connsiteY26" fmla="*/ 907257 h 1202531"/>
                    <a:gd name="connsiteX27" fmla="*/ 752475 w 783431"/>
                    <a:gd name="connsiteY27" fmla="*/ 888207 h 1202531"/>
                    <a:gd name="connsiteX28" fmla="*/ 752475 w 783431"/>
                    <a:gd name="connsiteY28" fmla="*/ 864394 h 1202531"/>
                    <a:gd name="connsiteX29" fmla="*/ 728662 w 783431"/>
                    <a:gd name="connsiteY29" fmla="*/ 852488 h 1202531"/>
                    <a:gd name="connsiteX30" fmla="*/ 711994 w 783431"/>
                    <a:gd name="connsiteY30" fmla="*/ 802482 h 1202531"/>
                    <a:gd name="connsiteX31" fmla="*/ 688181 w 783431"/>
                    <a:gd name="connsiteY31" fmla="*/ 814388 h 1202531"/>
                    <a:gd name="connsiteX32" fmla="*/ 659606 w 783431"/>
                    <a:gd name="connsiteY32" fmla="*/ 814388 h 1202531"/>
                    <a:gd name="connsiteX33" fmla="*/ 647700 w 783431"/>
                    <a:gd name="connsiteY33" fmla="*/ 847725 h 1202531"/>
                    <a:gd name="connsiteX34" fmla="*/ 623887 w 783431"/>
                    <a:gd name="connsiteY34" fmla="*/ 847725 h 1202531"/>
                    <a:gd name="connsiteX35" fmla="*/ 576262 w 783431"/>
                    <a:gd name="connsiteY35" fmla="*/ 828675 h 1202531"/>
                    <a:gd name="connsiteX36" fmla="*/ 554831 w 783431"/>
                    <a:gd name="connsiteY36" fmla="*/ 816769 h 1202531"/>
                    <a:gd name="connsiteX37" fmla="*/ 547687 w 783431"/>
                    <a:gd name="connsiteY37" fmla="*/ 783432 h 1202531"/>
                    <a:gd name="connsiteX38" fmla="*/ 561975 w 783431"/>
                    <a:gd name="connsiteY38" fmla="*/ 754857 h 1202531"/>
                    <a:gd name="connsiteX39" fmla="*/ 533400 w 783431"/>
                    <a:gd name="connsiteY39" fmla="*/ 733425 h 1202531"/>
                    <a:gd name="connsiteX40" fmla="*/ 509587 w 783431"/>
                    <a:gd name="connsiteY40" fmla="*/ 711994 h 1202531"/>
                    <a:gd name="connsiteX41" fmla="*/ 473869 w 783431"/>
                    <a:gd name="connsiteY41" fmla="*/ 711994 h 1202531"/>
                    <a:gd name="connsiteX42" fmla="*/ 435769 w 783431"/>
                    <a:gd name="connsiteY42" fmla="*/ 711994 h 1202531"/>
                    <a:gd name="connsiteX43" fmla="*/ 438150 w 783431"/>
                    <a:gd name="connsiteY43" fmla="*/ 669132 h 1202531"/>
                    <a:gd name="connsiteX44" fmla="*/ 428625 w 783431"/>
                    <a:gd name="connsiteY44" fmla="*/ 642938 h 1202531"/>
                    <a:gd name="connsiteX45" fmla="*/ 423862 w 783431"/>
                    <a:gd name="connsiteY45" fmla="*/ 607219 h 1202531"/>
                    <a:gd name="connsiteX46" fmla="*/ 426244 w 783431"/>
                    <a:gd name="connsiteY46" fmla="*/ 578644 h 1202531"/>
                    <a:gd name="connsiteX47" fmla="*/ 440531 w 783431"/>
                    <a:gd name="connsiteY47" fmla="*/ 566738 h 1202531"/>
                    <a:gd name="connsiteX48" fmla="*/ 450056 w 783431"/>
                    <a:gd name="connsiteY48" fmla="*/ 535782 h 1202531"/>
                    <a:gd name="connsiteX49" fmla="*/ 457200 w 783431"/>
                    <a:gd name="connsiteY49" fmla="*/ 519113 h 1202531"/>
                    <a:gd name="connsiteX50" fmla="*/ 481012 w 783431"/>
                    <a:gd name="connsiteY50" fmla="*/ 526257 h 1202531"/>
                    <a:gd name="connsiteX51" fmla="*/ 495300 w 783431"/>
                    <a:gd name="connsiteY51" fmla="*/ 576263 h 1202531"/>
                    <a:gd name="connsiteX52" fmla="*/ 507206 w 783431"/>
                    <a:gd name="connsiteY52" fmla="*/ 581025 h 1202531"/>
                    <a:gd name="connsiteX53" fmla="*/ 526256 w 783431"/>
                    <a:gd name="connsiteY53" fmla="*/ 583407 h 1202531"/>
                    <a:gd name="connsiteX54" fmla="*/ 554831 w 783431"/>
                    <a:gd name="connsiteY54" fmla="*/ 583407 h 1202531"/>
                    <a:gd name="connsiteX55" fmla="*/ 557212 w 783431"/>
                    <a:gd name="connsiteY55" fmla="*/ 547688 h 1202531"/>
                    <a:gd name="connsiteX56" fmla="*/ 545306 w 783431"/>
                    <a:gd name="connsiteY56" fmla="*/ 502444 h 1202531"/>
                    <a:gd name="connsiteX57" fmla="*/ 545306 w 783431"/>
                    <a:gd name="connsiteY57" fmla="*/ 476250 h 1202531"/>
                    <a:gd name="connsiteX58" fmla="*/ 581025 w 783431"/>
                    <a:gd name="connsiteY58" fmla="*/ 454819 h 1202531"/>
                    <a:gd name="connsiteX59" fmla="*/ 604837 w 783431"/>
                    <a:gd name="connsiteY59" fmla="*/ 435769 h 1202531"/>
                    <a:gd name="connsiteX60" fmla="*/ 640556 w 783431"/>
                    <a:gd name="connsiteY60" fmla="*/ 414338 h 1202531"/>
                    <a:gd name="connsiteX61" fmla="*/ 645319 w 783431"/>
                    <a:gd name="connsiteY61" fmla="*/ 395288 h 1202531"/>
                    <a:gd name="connsiteX62" fmla="*/ 633412 w 783431"/>
                    <a:gd name="connsiteY62" fmla="*/ 371475 h 1202531"/>
                    <a:gd name="connsiteX63" fmla="*/ 614362 w 783431"/>
                    <a:gd name="connsiteY63" fmla="*/ 369094 h 1202531"/>
                    <a:gd name="connsiteX64" fmla="*/ 609600 w 783431"/>
                    <a:gd name="connsiteY64" fmla="*/ 366713 h 1202531"/>
                    <a:gd name="connsiteX65" fmla="*/ 597694 w 783431"/>
                    <a:gd name="connsiteY65" fmla="*/ 357188 h 1202531"/>
                    <a:gd name="connsiteX66" fmla="*/ 611981 w 783431"/>
                    <a:gd name="connsiteY66" fmla="*/ 345282 h 1202531"/>
                    <a:gd name="connsiteX67" fmla="*/ 652462 w 783431"/>
                    <a:gd name="connsiteY67" fmla="*/ 316707 h 1202531"/>
                    <a:gd name="connsiteX68" fmla="*/ 678656 w 783431"/>
                    <a:gd name="connsiteY68" fmla="*/ 264319 h 1202531"/>
                    <a:gd name="connsiteX69" fmla="*/ 666750 w 783431"/>
                    <a:gd name="connsiteY69" fmla="*/ 242888 h 1202531"/>
                    <a:gd name="connsiteX70" fmla="*/ 638175 w 783431"/>
                    <a:gd name="connsiteY70" fmla="*/ 219075 h 1202531"/>
                    <a:gd name="connsiteX71" fmla="*/ 642937 w 783431"/>
                    <a:gd name="connsiteY71" fmla="*/ 180975 h 1202531"/>
                    <a:gd name="connsiteX72" fmla="*/ 673894 w 783431"/>
                    <a:gd name="connsiteY72" fmla="*/ 171450 h 1202531"/>
                    <a:gd name="connsiteX73" fmla="*/ 700087 w 783431"/>
                    <a:gd name="connsiteY73" fmla="*/ 142875 h 1202531"/>
                    <a:gd name="connsiteX74" fmla="*/ 700087 w 783431"/>
                    <a:gd name="connsiteY74" fmla="*/ 111919 h 1202531"/>
                    <a:gd name="connsiteX75" fmla="*/ 666750 w 783431"/>
                    <a:gd name="connsiteY75" fmla="*/ 107157 h 1202531"/>
                    <a:gd name="connsiteX76" fmla="*/ 645319 w 783431"/>
                    <a:gd name="connsiteY76" fmla="*/ 102394 h 1202531"/>
                    <a:gd name="connsiteX77" fmla="*/ 645319 w 783431"/>
                    <a:gd name="connsiteY77" fmla="*/ 102394 h 1202531"/>
                    <a:gd name="connsiteX78" fmla="*/ 678656 w 783431"/>
                    <a:gd name="connsiteY78" fmla="*/ 69057 h 1202531"/>
                    <a:gd name="connsiteX79" fmla="*/ 685800 w 783431"/>
                    <a:gd name="connsiteY79" fmla="*/ 40482 h 1202531"/>
                    <a:gd name="connsiteX80" fmla="*/ 678656 w 783431"/>
                    <a:gd name="connsiteY80" fmla="*/ 21432 h 1202531"/>
                    <a:gd name="connsiteX81" fmla="*/ 695325 w 783431"/>
                    <a:gd name="connsiteY81" fmla="*/ 2382 h 1202531"/>
                    <a:gd name="connsiteX82" fmla="*/ 628650 w 783431"/>
                    <a:gd name="connsiteY82" fmla="*/ 0 h 1202531"/>
                    <a:gd name="connsiteX83" fmla="*/ 552450 w 783431"/>
                    <a:gd name="connsiteY83" fmla="*/ 52388 h 1202531"/>
                    <a:gd name="connsiteX84" fmla="*/ 538162 w 783431"/>
                    <a:gd name="connsiteY84" fmla="*/ 90488 h 1202531"/>
                    <a:gd name="connsiteX85" fmla="*/ 445294 w 783431"/>
                    <a:gd name="connsiteY85" fmla="*/ 126207 h 1202531"/>
                    <a:gd name="connsiteX86" fmla="*/ 397669 w 783431"/>
                    <a:gd name="connsiteY86" fmla="*/ 159544 h 1202531"/>
                    <a:gd name="connsiteX87" fmla="*/ 376237 w 783431"/>
                    <a:gd name="connsiteY87" fmla="*/ 190500 h 1202531"/>
                    <a:gd name="connsiteX88" fmla="*/ 350044 w 783431"/>
                    <a:gd name="connsiteY88" fmla="*/ 140494 h 1202531"/>
                    <a:gd name="connsiteX89" fmla="*/ 316706 w 783431"/>
                    <a:gd name="connsiteY89" fmla="*/ 140494 h 1202531"/>
                    <a:gd name="connsiteX90" fmla="*/ 304800 w 783431"/>
                    <a:gd name="connsiteY90" fmla="*/ 166688 h 1202531"/>
                    <a:gd name="connsiteX91" fmla="*/ 280987 w 783431"/>
                    <a:gd name="connsiteY91" fmla="*/ 230982 h 1202531"/>
                    <a:gd name="connsiteX92" fmla="*/ 154781 w 783431"/>
                    <a:gd name="connsiteY92" fmla="*/ 223838 h 1202531"/>
                    <a:gd name="connsiteX93" fmla="*/ 140494 w 783431"/>
                    <a:gd name="connsiteY93" fmla="*/ 245269 h 1202531"/>
                    <a:gd name="connsiteX94" fmla="*/ 138112 w 783431"/>
                    <a:gd name="connsiteY94" fmla="*/ 280988 h 1202531"/>
                    <a:gd name="connsiteX95" fmla="*/ 66675 w 783431"/>
                    <a:gd name="connsiteY95" fmla="*/ 309563 h 1202531"/>
                    <a:gd name="connsiteX96" fmla="*/ 54769 w 783431"/>
                    <a:gd name="connsiteY96" fmla="*/ 323850 h 1202531"/>
                    <a:gd name="connsiteX97" fmla="*/ 66675 w 783431"/>
                    <a:gd name="connsiteY97" fmla="*/ 381000 h 1202531"/>
                    <a:gd name="connsiteX98" fmla="*/ 19050 w 783431"/>
                    <a:gd name="connsiteY98" fmla="*/ 423863 h 1202531"/>
                    <a:gd name="connsiteX99" fmla="*/ 26194 w 783431"/>
                    <a:gd name="connsiteY99" fmla="*/ 490538 h 1202531"/>
                    <a:gd name="connsiteX100" fmla="*/ 33337 w 783431"/>
                    <a:gd name="connsiteY100" fmla="*/ 554832 h 1202531"/>
                    <a:gd name="connsiteX101" fmla="*/ 0 w 783431"/>
                    <a:gd name="connsiteY101" fmla="*/ 614363 h 1202531"/>
                    <a:gd name="connsiteX0" fmla="*/ 0 w 783431"/>
                    <a:gd name="connsiteY0" fmla="*/ 614363 h 1276349"/>
                    <a:gd name="connsiteX1" fmla="*/ 21431 w 783431"/>
                    <a:gd name="connsiteY1" fmla="*/ 661988 h 1276349"/>
                    <a:gd name="connsiteX2" fmla="*/ 28575 w 783431"/>
                    <a:gd name="connsiteY2" fmla="*/ 742950 h 1276349"/>
                    <a:gd name="connsiteX3" fmla="*/ 76200 w 783431"/>
                    <a:gd name="connsiteY3" fmla="*/ 814388 h 1276349"/>
                    <a:gd name="connsiteX4" fmla="*/ 102394 w 783431"/>
                    <a:gd name="connsiteY4" fmla="*/ 919163 h 1276349"/>
                    <a:gd name="connsiteX5" fmla="*/ 116681 w 783431"/>
                    <a:gd name="connsiteY5" fmla="*/ 947738 h 1276349"/>
                    <a:gd name="connsiteX6" fmla="*/ 130969 w 783431"/>
                    <a:gd name="connsiteY6" fmla="*/ 995363 h 1276349"/>
                    <a:gd name="connsiteX7" fmla="*/ 150019 w 783431"/>
                    <a:gd name="connsiteY7" fmla="*/ 1023938 h 1276349"/>
                    <a:gd name="connsiteX8" fmla="*/ 159544 w 783431"/>
                    <a:gd name="connsiteY8" fmla="*/ 1042988 h 1276349"/>
                    <a:gd name="connsiteX9" fmla="*/ 197644 w 783431"/>
                    <a:gd name="connsiteY9" fmla="*/ 1069182 h 1276349"/>
                    <a:gd name="connsiteX10" fmla="*/ 245269 w 783431"/>
                    <a:gd name="connsiteY10" fmla="*/ 1090613 h 1276349"/>
                    <a:gd name="connsiteX11" fmla="*/ 264318 w 783431"/>
                    <a:gd name="connsiteY11" fmla="*/ 1131094 h 1276349"/>
                    <a:gd name="connsiteX12" fmla="*/ 295275 w 783431"/>
                    <a:gd name="connsiteY12" fmla="*/ 1164431 h 1276349"/>
                    <a:gd name="connsiteX13" fmla="*/ 385762 w 783431"/>
                    <a:gd name="connsiteY13" fmla="*/ 1200149 h 1276349"/>
                    <a:gd name="connsiteX14" fmla="*/ 404812 w 783431"/>
                    <a:gd name="connsiteY14" fmla="*/ 1276349 h 1276349"/>
                    <a:gd name="connsiteX15" fmla="*/ 469106 w 783431"/>
                    <a:gd name="connsiteY15" fmla="*/ 1181100 h 1276349"/>
                    <a:gd name="connsiteX16" fmla="*/ 554831 w 783431"/>
                    <a:gd name="connsiteY16" fmla="*/ 1202531 h 1276349"/>
                    <a:gd name="connsiteX17" fmla="*/ 592931 w 783431"/>
                    <a:gd name="connsiteY17" fmla="*/ 1126331 h 1276349"/>
                    <a:gd name="connsiteX18" fmla="*/ 604837 w 783431"/>
                    <a:gd name="connsiteY18" fmla="*/ 1085850 h 1276349"/>
                    <a:gd name="connsiteX19" fmla="*/ 585787 w 783431"/>
                    <a:gd name="connsiteY19" fmla="*/ 1035844 h 1276349"/>
                    <a:gd name="connsiteX20" fmla="*/ 607219 w 783431"/>
                    <a:gd name="connsiteY20" fmla="*/ 1021557 h 1276349"/>
                    <a:gd name="connsiteX21" fmla="*/ 645319 w 783431"/>
                    <a:gd name="connsiteY21" fmla="*/ 1016794 h 1276349"/>
                    <a:gd name="connsiteX22" fmla="*/ 685800 w 783431"/>
                    <a:gd name="connsiteY22" fmla="*/ 997744 h 1276349"/>
                    <a:gd name="connsiteX23" fmla="*/ 716756 w 783431"/>
                    <a:gd name="connsiteY23" fmla="*/ 1002507 h 1276349"/>
                    <a:gd name="connsiteX24" fmla="*/ 738187 w 783431"/>
                    <a:gd name="connsiteY24" fmla="*/ 969169 h 1276349"/>
                    <a:gd name="connsiteX25" fmla="*/ 783431 w 783431"/>
                    <a:gd name="connsiteY25" fmla="*/ 933450 h 1276349"/>
                    <a:gd name="connsiteX26" fmla="*/ 776287 w 783431"/>
                    <a:gd name="connsiteY26" fmla="*/ 907257 h 1276349"/>
                    <a:gd name="connsiteX27" fmla="*/ 752475 w 783431"/>
                    <a:gd name="connsiteY27" fmla="*/ 888207 h 1276349"/>
                    <a:gd name="connsiteX28" fmla="*/ 752475 w 783431"/>
                    <a:gd name="connsiteY28" fmla="*/ 864394 h 1276349"/>
                    <a:gd name="connsiteX29" fmla="*/ 728662 w 783431"/>
                    <a:gd name="connsiteY29" fmla="*/ 852488 h 1276349"/>
                    <a:gd name="connsiteX30" fmla="*/ 711994 w 783431"/>
                    <a:gd name="connsiteY30" fmla="*/ 802482 h 1276349"/>
                    <a:gd name="connsiteX31" fmla="*/ 688181 w 783431"/>
                    <a:gd name="connsiteY31" fmla="*/ 814388 h 1276349"/>
                    <a:gd name="connsiteX32" fmla="*/ 659606 w 783431"/>
                    <a:gd name="connsiteY32" fmla="*/ 814388 h 1276349"/>
                    <a:gd name="connsiteX33" fmla="*/ 647700 w 783431"/>
                    <a:gd name="connsiteY33" fmla="*/ 847725 h 1276349"/>
                    <a:gd name="connsiteX34" fmla="*/ 623887 w 783431"/>
                    <a:gd name="connsiteY34" fmla="*/ 847725 h 1276349"/>
                    <a:gd name="connsiteX35" fmla="*/ 576262 w 783431"/>
                    <a:gd name="connsiteY35" fmla="*/ 828675 h 1276349"/>
                    <a:gd name="connsiteX36" fmla="*/ 554831 w 783431"/>
                    <a:gd name="connsiteY36" fmla="*/ 816769 h 1276349"/>
                    <a:gd name="connsiteX37" fmla="*/ 547687 w 783431"/>
                    <a:gd name="connsiteY37" fmla="*/ 783432 h 1276349"/>
                    <a:gd name="connsiteX38" fmla="*/ 561975 w 783431"/>
                    <a:gd name="connsiteY38" fmla="*/ 754857 h 1276349"/>
                    <a:gd name="connsiteX39" fmla="*/ 533400 w 783431"/>
                    <a:gd name="connsiteY39" fmla="*/ 733425 h 1276349"/>
                    <a:gd name="connsiteX40" fmla="*/ 509587 w 783431"/>
                    <a:gd name="connsiteY40" fmla="*/ 711994 h 1276349"/>
                    <a:gd name="connsiteX41" fmla="*/ 473869 w 783431"/>
                    <a:gd name="connsiteY41" fmla="*/ 711994 h 1276349"/>
                    <a:gd name="connsiteX42" fmla="*/ 435769 w 783431"/>
                    <a:gd name="connsiteY42" fmla="*/ 711994 h 1276349"/>
                    <a:gd name="connsiteX43" fmla="*/ 438150 w 783431"/>
                    <a:gd name="connsiteY43" fmla="*/ 669132 h 1276349"/>
                    <a:gd name="connsiteX44" fmla="*/ 428625 w 783431"/>
                    <a:gd name="connsiteY44" fmla="*/ 642938 h 1276349"/>
                    <a:gd name="connsiteX45" fmla="*/ 423862 w 783431"/>
                    <a:gd name="connsiteY45" fmla="*/ 607219 h 1276349"/>
                    <a:gd name="connsiteX46" fmla="*/ 426244 w 783431"/>
                    <a:gd name="connsiteY46" fmla="*/ 578644 h 1276349"/>
                    <a:gd name="connsiteX47" fmla="*/ 440531 w 783431"/>
                    <a:gd name="connsiteY47" fmla="*/ 566738 h 1276349"/>
                    <a:gd name="connsiteX48" fmla="*/ 450056 w 783431"/>
                    <a:gd name="connsiteY48" fmla="*/ 535782 h 1276349"/>
                    <a:gd name="connsiteX49" fmla="*/ 457200 w 783431"/>
                    <a:gd name="connsiteY49" fmla="*/ 519113 h 1276349"/>
                    <a:gd name="connsiteX50" fmla="*/ 481012 w 783431"/>
                    <a:gd name="connsiteY50" fmla="*/ 526257 h 1276349"/>
                    <a:gd name="connsiteX51" fmla="*/ 495300 w 783431"/>
                    <a:gd name="connsiteY51" fmla="*/ 576263 h 1276349"/>
                    <a:gd name="connsiteX52" fmla="*/ 507206 w 783431"/>
                    <a:gd name="connsiteY52" fmla="*/ 581025 h 1276349"/>
                    <a:gd name="connsiteX53" fmla="*/ 526256 w 783431"/>
                    <a:gd name="connsiteY53" fmla="*/ 583407 h 1276349"/>
                    <a:gd name="connsiteX54" fmla="*/ 554831 w 783431"/>
                    <a:gd name="connsiteY54" fmla="*/ 583407 h 1276349"/>
                    <a:gd name="connsiteX55" fmla="*/ 557212 w 783431"/>
                    <a:gd name="connsiteY55" fmla="*/ 547688 h 1276349"/>
                    <a:gd name="connsiteX56" fmla="*/ 545306 w 783431"/>
                    <a:gd name="connsiteY56" fmla="*/ 502444 h 1276349"/>
                    <a:gd name="connsiteX57" fmla="*/ 545306 w 783431"/>
                    <a:gd name="connsiteY57" fmla="*/ 476250 h 1276349"/>
                    <a:gd name="connsiteX58" fmla="*/ 581025 w 783431"/>
                    <a:gd name="connsiteY58" fmla="*/ 454819 h 1276349"/>
                    <a:gd name="connsiteX59" fmla="*/ 604837 w 783431"/>
                    <a:gd name="connsiteY59" fmla="*/ 435769 h 1276349"/>
                    <a:gd name="connsiteX60" fmla="*/ 640556 w 783431"/>
                    <a:gd name="connsiteY60" fmla="*/ 414338 h 1276349"/>
                    <a:gd name="connsiteX61" fmla="*/ 645319 w 783431"/>
                    <a:gd name="connsiteY61" fmla="*/ 395288 h 1276349"/>
                    <a:gd name="connsiteX62" fmla="*/ 633412 w 783431"/>
                    <a:gd name="connsiteY62" fmla="*/ 371475 h 1276349"/>
                    <a:gd name="connsiteX63" fmla="*/ 614362 w 783431"/>
                    <a:gd name="connsiteY63" fmla="*/ 369094 h 1276349"/>
                    <a:gd name="connsiteX64" fmla="*/ 609600 w 783431"/>
                    <a:gd name="connsiteY64" fmla="*/ 366713 h 1276349"/>
                    <a:gd name="connsiteX65" fmla="*/ 597694 w 783431"/>
                    <a:gd name="connsiteY65" fmla="*/ 357188 h 1276349"/>
                    <a:gd name="connsiteX66" fmla="*/ 611981 w 783431"/>
                    <a:gd name="connsiteY66" fmla="*/ 345282 h 1276349"/>
                    <a:gd name="connsiteX67" fmla="*/ 652462 w 783431"/>
                    <a:gd name="connsiteY67" fmla="*/ 316707 h 1276349"/>
                    <a:gd name="connsiteX68" fmla="*/ 678656 w 783431"/>
                    <a:gd name="connsiteY68" fmla="*/ 264319 h 1276349"/>
                    <a:gd name="connsiteX69" fmla="*/ 666750 w 783431"/>
                    <a:gd name="connsiteY69" fmla="*/ 242888 h 1276349"/>
                    <a:gd name="connsiteX70" fmla="*/ 638175 w 783431"/>
                    <a:gd name="connsiteY70" fmla="*/ 219075 h 1276349"/>
                    <a:gd name="connsiteX71" fmla="*/ 642937 w 783431"/>
                    <a:gd name="connsiteY71" fmla="*/ 180975 h 1276349"/>
                    <a:gd name="connsiteX72" fmla="*/ 673894 w 783431"/>
                    <a:gd name="connsiteY72" fmla="*/ 171450 h 1276349"/>
                    <a:gd name="connsiteX73" fmla="*/ 700087 w 783431"/>
                    <a:gd name="connsiteY73" fmla="*/ 142875 h 1276349"/>
                    <a:gd name="connsiteX74" fmla="*/ 700087 w 783431"/>
                    <a:gd name="connsiteY74" fmla="*/ 111919 h 1276349"/>
                    <a:gd name="connsiteX75" fmla="*/ 666750 w 783431"/>
                    <a:gd name="connsiteY75" fmla="*/ 107157 h 1276349"/>
                    <a:gd name="connsiteX76" fmla="*/ 645319 w 783431"/>
                    <a:gd name="connsiteY76" fmla="*/ 102394 h 1276349"/>
                    <a:gd name="connsiteX77" fmla="*/ 645319 w 783431"/>
                    <a:gd name="connsiteY77" fmla="*/ 102394 h 1276349"/>
                    <a:gd name="connsiteX78" fmla="*/ 678656 w 783431"/>
                    <a:gd name="connsiteY78" fmla="*/ 69057 h 1276349"/>
                    <a:gd name="connsiteX79" fmla="*/ 685800 w 783431"/>
                    <a:gd name="connsiteY79" fmla="*/ 40482 h 1276349"/>
                    <a:gd name="connsiteX80" fmla="*/ 678656 w 783431"/>
                    <a:gd name="connsiteY80" fmla="*/ 21432 h 1276349"/>
                    <a:gd name="connsiteX81" fmla="*/ 695325 w 783431"/>
                    <a:gd name="connsiteY81" fmla="*/ 2382 h 1276349"/>
                    <a:gd name="connsiteX82" fmla="*/ 628650 w 783431"/>
                    <a:gd name="connsiteY82" fmla="*/ 0 h 1276349"/>
                    <a:gd name="connsiteX83" fmla="*/ 552450 w 783431"/>
                    <a:gd name="connsiteY83" fmla="*/ 52388 h 1276349"/>
                    <a:gd name="connsiteX84" fmla="*/ 538162 w 783431"/>
                    <a:gd name="connsiteY84" fmla="*/ 90488 h 1276349"/>
                    <a:gd name="connsiteX85" fmla="*/ 445294 w 783431"/>
                    <a:gd name="connsiteY85" fmla="*/ 126207 h 1276349"/>
                    <a:gd name="connsiteX86" fmla="*/ 397669 w 783431"/>
                    <a:gd name="connsiteY86" fmla="*/ 159544 h 1276349"/>
                    <a:gd name="connsiteX87" fmla="*/ 376237 w 783431"/>
                    <a:gd name="connsiteY87" fmla="*/ 190500 h 1276349"/>
                    <a:gd name="connsiteX88" fmla="*/ 350044 w 783431"/>
                    <a:gd name="connsiteY88" fmla="*/ 140494 h 1276349"/>
                    <a:gd name="connsiteX89" fmla="*/ 316706 w 783431"/>
                    <a:gd name="connsiteY89" fmla="*/ 140494 h 1276349"/>
                    <a:gd name="connsiteX90" fmla="*/ 304800 w 783431"/>
                    <a:gd name="connsiteY90" fmla="*/ 166688 h 1276349"/>
                    <a:gd name="connsiteX91" fmla="*/ 280987 w 783431"/>
                    <a:gd name="connsiteY91" fmla="*/ 230982 h 1276349"/>
                    <a:gd name="connsiteX92" fmla="*/ 154781 w 783431"/>
                    <a:gd name="connsiteY92" fmla="*/ 223838 h 1276349"/>
                    <a:gd name="connsiteX93" fmla="*/ 140494 w 783431"/>
                    <a:gd name="connsiteY93" fmla="*/ 245269 h 1276349"/>
                    <a:gd name="connsiteX94" fmla="*/ 138112 w 783431"/>
                    <a:gd name="connsiteY94" fmla="*/ 280988 h 1276349"/>
                    <a:gd name="connsiteX95" fmla="*/ 66675 w 783431"/>
                    <a:gd name="connsiteY95" fmla="*/ 309563 h 1276349"/>
                    <a:gd name="connsiteX96" fmla="*/ 54769 w 783431"/>
                    <a:gd name="connsiteY96" fmla="*/ 323850 h 1276349"/>
                    <a:gd name="connsiteX97" fmla="*/ 66675 w 783431"/>
                    <a:gd name="connsiteY97" fmla="*/ 381000 h 1276349"/>
                    <a:gd name="connsiteX98" fmla="*/ 19050 w 783431"/>
                    <a:gd name="connsiteY98" fmla="*/ 423863 h 1276349"/>
                    <a:gd name="connsiteX99" fmla="*/ 26194 w 783431"/>
                    <a:gd name="connsiteY99" fmla="*/ 490538 h 1276349"/>
                    <a:gd name="connsiteX100" fmla="*/ 33337 w 783431"/>
                    <a:gd name="connsiteY100" fmla="*/ 554832 h 1276349"/>
                    <a:gd name="connsiteX101" fmla="*/ 0 w 783431"/>
                    <a:gd name="connsiteY101" fmla="*/ 614363 h 1276349"/>
                    <a:gd name="connsiteX0" fmla="*/ 0 w 783431"/>
                    <a:gd name="connsiteY0" fmla="*/ 614363 h 1276349"/>
                    <a:gd name="connsiteX1" fmla="*/ 21431 w 783431"/>
                    <a:gd name="connsiteY1" fmla="*/ 661988 h 1276349"/>
                    <a:gd name="connsiteX2" fmla="*/ 28575 w 783431"/>
                    <a:gd name="connsiteY2" fmla="*/ 742950 h 1276349"/>
                    <a:gd name="connsiteX3" fmla="*/ 76200 w 783431"/>
                    <a:gd name="connsiteY3" fmla="*/ 814388 h 1276349"/>
                    <a:gd name="connsiteX4" fmla="*/ 102394 w 783431"/>
                    <a:gd name="connsiteY4" fmla="*/ 919163 h 1276349"/>
                    <a:gd name="connsiteX5" fmla="*/ 116681 w 783431"/>
                    <a:gd name="connsiteY5" fmla="*/ 947738 h 1276349"/>
                    <a:gd name="connsiteX6" fmla="*/ 130969 w 783431"/>
                    <a:gd name="connsiteY6" fmla="*/ 995363 h 1276349"/>
                    <a:gd name="connsiteX7" fmla="*/ 150019 w 783431"/>
                    <a:gd name="connsiteY7" fmla="*/ 1023938 h 1276349"/>
                    <a:gd name="connsiteX8" fmla="*/ 159544 w 783431"/>
                    <a:gd name="connsiteY8" fmla="*/ 1042988 h 1276349"/>
                    <a:gd name="connsiteX9" fmla="*/ 197644 w 783431"/>
                    <a:gd name="connsiteY9" fmla="*/ 1069182 h 1276349"/>
                    <a:gd name="connsiteX10" fmla="*/ 245269 w 783431"/>
                    <a:gd name="connsiteY10" fmla="*/ 1090613 h 1276349"/>
                    <a:gd name="connsiteX11" fmla="*/ 264318 w 783431"/>
                    <a:gd name="connsiteY11" fmla="*/ 1131094 h 1276349"/>
                    <a:gd name="connsiteX12" fmla="*/ 295275 w 783431"/>
                    <a:gd name="connsiteY12" fmla="*/ 1164431 h 1276349"/>
                    <a:gd name="connsiteX13" fmla="*/ 385762 w 783431"/>
                    <a:gd name="connsiteY13" fmla="*/ 1200149 h 1276349"/>
                    <a:gd name="connsiteX14" fmla="*/ 404812 w 783431"/>
                    <a:gd name="connsiteY14" fmla="*/ 1276349 h 1276349"/>
                    <a:gd name="connsiteX15" fmla="*/ 438150 w 783431"/>
                    <a:gd name="connsiteY15" fmla="*/ 1228724 h 1276349"/>
                    <a:gd name="connsiteX16" fmla="*/ 469106 w 783431"/>
                    <a:gd name="connsiteY16" fmla="*/ 1181100 h 1276349"/>
                    <a:gd name="connsiteX17" fmla="*/ 554831 w 783431"/>
                    <a:gd name="connsiteY17" fmla="*/ 1202531 h 1276349"/>
                    <a:gd name="connsiteX18" fmla="*/ 592931 w 783431"/>
                    <a:gd name="connsiteY18" fmla="*/ 1126331 h 1276349"/>
                    <a:gd name="connsiteX19" fmla="*/ 604837 w 783431"/>
                    <a:gd name="connsiteY19" fmla="*/ 1085850 h 1276349"/>
                    <a:gd name="connsiteX20" fmla="*/ 585787 w 783431"/>
                    <a:gd name="connsiteY20" fmla="*/ 1035844 h 1276349"/>
                    <a:gd name="connsiteX21" fmla="*/ 607219 w 783431"/>
                    <a:gd name="connsiteY21" fmla="*/ 1021557 h 1276349"/>
                    <a:gd name="connsiteX22" fmla="*/ 645319 w 783431"/>
                    <a:gd name="connsiteY22" fmla="*/ 1016794 h 1276349"/>
                    <a:gd name="connsiteX23" fmla="*/ 685800 w 783431"/>
                    <a:gd name="connsiteY23" fmla="*/ 997744 h 1276349"/>
                    <a:gd name="connsiteX24" fmla="*/ 716756 w 783431"/>
                    <a:gd name="connsiteY24" fmla="*/ 1002507 h 1276349"/>
                    <a:gd name="connsiteX25" fmla="*/ 738187 w 783431"/>
                    <a:gd name="connsiteY25" fmla="*/ 969169 h 1276349"/>
                    <a:gd name="connsiteX26" fmla="*/ 783431 w 783431"/>
                    <a:gd name="connsiteY26" fmla="*/ 933450 h 1276349"/>
                    <a:gd name="connsiteX27" fmla="*/ 776287 w 783431"/>
                    <a:gd name="connsiteY27" fmla="*/ 907257 h 1276349"/>
                    <a:gd name="connsiteX28" fmla="*/ 752475 w 783431"/>
                    <a:gd name="connsiteY28" fmla="*/ 888207 h 1276349"/>
                    <a:gd name="connsiteX29" fmla="*/ 752475 w 783431"/>
                    <a:gd name="connsiteY29" fmla="*/ 864394 h 1276349"/>
                    <a:gd name="connsiteX30" fmla="*/ 728662 w 783431"/>
                    <a:gd name="connsiteY30" fmla="*/ 852488 h 1276349"/>
                    <a:gd name="connsiteX31" fmla="*/ 711994 w 783431"/>
                    <a:gd name="connsiteY31" fmla="*/ 802482 h 1276349"/>
                    <a:gd name="connsiteX32" fmla="*/ 688181 w 783431"/>
                    <a:gd name="connsiteY32" fmla="*/ 814388 h 1276349"/>
                    <a:gd name="connsiteX33" fmla="*/ 659606 w 783431"/>
                    <a:gd name="connsiteY33" fmla="*/ 814388 h 1276349"/>
                    <a:gd name="connsiteX34" fmla="*/ 647700 w 783431"/>
                    <a:gd name="connsiteY34" fmla="*/ 847725 h 1276349"/>
                    <a:gd name="connsiteX35" fmla="*/ 623887 w 783431"/>
                    <a:gd name="connsiteY35" fmla="*/ 847725 h 1276349"/>
                    <a:gd name="connsiteX36" fmla="*/ 576262 w 783431"/>
                    <a:gd name="connsiteY36" fmla="*/ 828675 h 1276349"/>
                    <a:gd name="connsiteX37" fmla="*/ 554831 w 783431"/>
                    <a:gd name="connsiteY37" fmla="*/ 816769 h 1276349"/>
                    <a:gd name="connsiteX38" fmla="*/ 547687 w 783431"/>
                    <a:gd name="connsiteY38" fmla="*/ 783432 h 1276349"/>
                    <a:gd name="connsiteX39" fmla="*/ 561975 w 783431"/>
                    <a:gd name="connsiteY39" fmla="*/ 754857 h 1276349"/>
                    <a:gd name="connsiteX40" fmla="*/ 533400 w 783431"/>
                    <a:gd name="connsiteY40" fmla="*/ 733425 h 1276349"/>
                    <a:gd name="connsiteX41" fmla="*/ 509587 w 783431"/>
                    <a:gd name="connsiteY41" fmla="*/ 711994 h 1276349"/>
                    <a:gd name="connsiteX42" fmla="*/ 473869 w 783431"/>
                    <a:gd name="connsiteY42" fmla="*/ 711994 h 1276349"/>
                    <a:gd name="connsiteX43" fmla="*/ 435769 w 783431"/>
                    <a:gd name="connsiteY43" fmla="*/ 711994 h 1276349"/>
                    <a:gd name="connsiteX44" fmla="*/ 438150 w 783431"/>
                    <a:gd name="connsiteY44" fmla="*/ 669132 h 1276349"/>
                    <a:gd name="connsiteX45" fmla="*/ 428625 w 783431"/>
                    <a:gd name="connsiteY45" fmla="*/ 642938 h 1276349"/>
                    <a:gd name="connsiteX46" fmla="*/ 423862 w 783431"/>
                    <a:gd name="connsiteY46" fmla="*/ 607219 h 1276349"/>
                    <a:gd name="connsiteX47" fmla="*/ 426244 w 783431"/>
                    <a:gd name="connsiteY47" fmla="*/ 578644 h 1276349"/>
                    <a:gd name="connsiteX48" fmla="*/ 440531 w 783431"/>
                    <a:gd name="connsiteY48" fmla="*/ 566738 h 1276349"/>
                    <a:gd name="connsiteX49" fmla="*/ 450056 w 783431"/>
                    <a:gd name="connsiteY49" fmla="*/ 535782 h 1276349"/>
                    <a:gd name="connsiteX50" fmla="*/ 457200 w 783431"/>
                    <a:gd name="connsiteY50" fmla="*/ 519113 h 1276349"/>
                    <a:gd name="connsiteX51" fmla="*/ 481012 w 783431"/>
                    <a:gd name="connsiteY51" fmla="*/ 526257 h 1276349"/>
                    <a:gd name="connsiteX52" fmla="*/ 495300 w 783431"/>
                    <a:gd name="connsiteY52" fmla="*/ 576263 h 1276349"/>
                    <a:gd name="connsiteX53" fmla="*/ 507206 w 783431"/>
                    <a:gd name="connsiteY53" fmla="*/ 581025 h 1276349"/>
                    <a:gd name="connsiteX54" fmla="*/ 526256 w 783431"/>
                    <a:gd name="connsiteY54" fmla="*/ 583407 h 1276349"/>
                    <a:gd name="connsiteX55" fmla="*/ 554831 w 783431"/>
                    <a:gd name="connsiteY55" fmla="*/ 583407 h 1276349"/>
                    <a:gd name="connsiteX56" fmla="*/ 557212 w 783431"/>
                    <a:gd name="connsiteY56" fmla="*/ 547688 h 1276349"/>
                    <a:gd name="connsiteX57" fmla="*/ 545306 w 783431"/>
                    <a:gd name="connsiteY57" fmla="*/ 502444 h 1276349"/>
                    <a:gd name="connsiteX58" fmla="*/ 545306 w 783431"/>
                    <a:gd name="connsiteY58" fmla="*/ 476250 h 1276349"/>
                    <a:gd name="connsiteX59" fmla="*/ 581025 w 783431"/>
                    <a:gd name="connsiteY59" fmla="*/ 454819 h 1276349"/>
                    <a:gd name="connsiteX60" fmla="*/ 604837 w 783431"/>
                    <a:gd name="connsiteY60" fmla="*/ 435769 h 1276349"/>
                    <a:gd name="connsiteX61" fmla="*/ 640556 w 783431"/>
                    <a:gd name="connsiteY61" fmla="*/ 414338 h 1276349"/>
                    <a:gd name="connsiteX62" fmla="*/ 645319 w 783431"/>
                    <a:gd name="connsiteY62" fmla="*/ 395288 h 1276349"/>
                    <a:gd name="connsiteX63" fmla="*/ 633412 w 783431"/>
                    <a:gd name="connsiteY63" fmla="*/ 371475 h 1276349"/>
                    <a:gd name="connsiteX64" fmla="*/ 614362 w 783431"/>
                    <a:gd name="connsiteY64" fmla="*/ 369094 h 1276349"/>
                    <a:gd name="connsiteX65" fmla="*/ 609600 w 783431"/>
                    <a:gd name="connsiteY65" fmla="*/ 366713 h 1276349"/>
                    <a:gd name="connsiteX66" fmla="*/ 597694 w 783431"/>
                    <a:gd name="connsiteY66" fmla="*/ 357188 h 1276349"/>
                    <a:gd name="connsiteX67" fmla="*/ 611981 w 783431"/>
                    <a:gd name="connsiteY67" fmla="*/ 345282 h 1276349"/>
                    <a:gd name="connsiteX68" fmla="*/ 652462 w 783431"/>
                    <a:gd name="connsiteY68" fmla="*/ 316707 h 1276349"/>
                    <a:gd name="connsiteX69" fmla="*/ 678656 w 783431"/>
                    <a:gd name="connsiteY69" fmla="*/ 264319 h 1276349"/>
                    <a:gd name="connsiteX70" fmla="*/ 666750 w 783431"/>
                    <a:gd name="connsiteY70" fmla="*/ 242888 h 1276349"/>
                    <a:gd name="connsiteX71" fmla="*/ 638175 w 783431"/>
                    <a:gd name="connsiteY71" fmla="*/ 219075 h 1276349"/>
                    <a:gd name="connsiteX72" fmla="*/ 642937 w 783431"/>
                    <a:gd name="connsiteY72" fmla="*/ 180975 h 1276349"/>
                    <a:gd name="connsiteX73" fmla="*/ 673894 w 783431"/>
                    <a:gd name="connsiteY73" fmla="*/ 171450 h 1276349"/>
                    <a:gd name="connsiteX74" fmla="*/ 700087 w 783431"/>
                    <a:gd name="connsiteY74" fmla="*/ 142875 h 1276349"/>
                    <a:gd name="connsiteX75" fmla="*/ 700087 w 783431"/>
                    <a:gd name="connsiteY75" fmla="*/ 111919 h 1276349"/>
                    <a:gd name="connsiteX76" fmla="*/ 666750 w 783431"/>
                    <a:gd name="connsiteY76" fmla="*/ 107157 h 1276349"/>
                    <a:gd name="connsiteX77" fmla="*/ 645319 w 783431"/>
                    <a:gd name="connsiteY77" fmla="*/ 102394 h 1276349"/>
                    <a:gd name="connsiteX78" fmla="*/ 645319 w 783431"/>
                    <a:gd name="connsiteY78" fmla="*/ 102394 h 1276349"/>
                    <a:gd name="connsiteX79" fmla="*/ 678656 w 783431"/>
                    <a:gd name="connsiteY79" fmla="*/ 69057 h 1276349"/>
                    <a:gd name="connsiteX80" fmla="*/ 685800 w 783431"/>
                    <a:gd name="connsiteY80" fmla="*/ 40482 h 1276349"/>
                    <a:gd name="connsiteX81" fmla="*/ 678656 w 783431"/>
                    <a:gd name="connsiteY81" fmla="*/ 21432 h 1276349"/>
                    <a:gd name="connsiteX82" fmla="*/ 695325 w 783431"/>
                    <a:gd name="connsiteY82" fmla="*/ 2382 h 1276349"/>
                    <a:gd name="connsiteX83" fmla="*/ 628650 w 783431"/>
                    <a:gd name="connsiteY83" fmla="*/ 0 h 1276349"/>
                    <a:gd name="connsiteX84" fmla="*/ 552450 w 783431"/>
                    <a:gd name="connsiteY84" fmla="*/ 52388 h 1276349"/>
                    <a:gd name="connsiteX85" fmla="*/ 538162 w 783431"/>
                    <a:gd name="connsiteY85" fmla="*/ 90488 h 1276349"/>
                    <a:gd name="connsiteX86" fmla="*/ 445294 w 783431"/>
                    <a:gd name="connsiteY86" fmla="*/ 126207 h 1276349"/>
                    <a:gd name="connsiteX87" fmla="*/ 397669 w 783431"/>
                    <a:gd name="connsiteY87" fmla="*/ 159544 h 1276349"/>
                    <a:gd name="connsiteX88" fmla="*/ 376237 w 783431"/>
                    <a:gd name="connsiteY88" fmla="*/ 190500 h 1276349"/>
                    <a:gd name="connsiteX89" fmla="*/ 350044 w 783431"/>
                    <a:gd name="connsiteY89" fmla="*/ 140494 h 1276349"/>
                    <a:gd name="connsiteX90" fmla="*/ 316706 w 783431"/>
                    <a:gd name="connsiteY90" fmla="*/ 140494 h 1276349"/>
                    <a:gd name="connsiteX91" fmla="*/ 304800 w 783431"/>
                    <a:gd name="connsiteY91" fmla="*/ 166688 h 1276349"/>
                    <a:gd name="connsiteX92" fmla="*/ 280987 w 783431"/>
                    <a:gd name="connsiteY92" fmla="*/ 230982 h 1276349"/>
                    <a:gd name="connsiteX93" fmla="*/ 154781 w 783431"/>
                    <a:gd name="connsiteY93" fmla="*/ 223838 h 1276349"/>
                    <a:gd name="connsiteX94" fmla="*/ 140494 w 783431"/>
                    <a:gd name="connsiteY94" fmla="*/ 245269 h 1276349"/>
                    <a:gd name="connsiteX95" fmla="*/ 138112 w 783431"/>
                    <a:gd name="connsiteY95" fmla="*/ 280988 h 1276349"/>
                    <a:gd name="connsiteX96" fmla="*/ 66675 w 783431"/>
                    <a:gd name="connsiteY96" fmla="*/ 309563 h 1276349"/>
                    <a:gd name="connsiteX97" fmla="*/ 54769 w 783431"/>
                    <a:gd name="connsiteY97" fmla="*/ 323850 h 1276349"/>
                    <a:gd name="connsiteX98" fmla="*/ 66675 w 783431"/>
                    <a:gd name="connsiteY98" fmla="*/ 381000 h 1276349"/>
                    <a:gd name="connsiteX99" fmla="*/ 19050 w 783431"/>
                    <a:gd name="connsiteY99" fmla="*/ 423863 h 1276349"/>
                    <a:gd name="connsiteX100" fmla="*/ 26194 w 783431"/>
                    <a:gd name="connsiteY100" fmla="*/ 490538 h 1276349"/>
                    <a:gd name="connsiteX101" fmla="*/ 33337 w 783431"/>
                    <a:gd name="connsiteY101" fmla="*/ 554832 h 1276349"/>
                    <a:gd name="connsiteX102" fmla="*/ 0 w 783431"/>
                    <a:gd name="connsiteY102" fmla="*/ 614363 h 1276349"/>
                    <a:gd name="connsiteX0" fmla="*/ 0 w 783431"/>
                    <a:gd name="connsiteY0" fmla="*/ 614363 h 1276349"/>
                    <a:gd name="connsiteX1" fmla="*/ 21431 w 783431"/>
                    <a:gd name="connsiteY1" fmla="*/ 661988 h 1276349"/>
                    <a:gd name="connsiteX2" fmla="*/ 28575 w 783431"/>
                    <a:gd name="connsiteY2" fmla="*/ 742950 h 1276349"/>
                    <a:gd name="connsiteX3" fmla="*/ 76200 w 783431"/>
                    <a:gd name="connsiteY3" fmla="*/ 814388 h 1276349"/>
                    <a:gd name="connsiteX4" fmla="*/ 102394 w 783431"/>
                    <a:gd name="connsiteY4" fmla="*/ 919163 h 1276349"/>
                    <a:gd name="connsiteX5" fmla="*/ 116681 w 783431"/>
                    <a:gd name="connsiteY5" fmla="*/ 947738 h 1276349"/>
                    <a:gd name="connsiteX6" fmla="*/ 130969 w 783431"/>
                    <a:gd name="connsiteY6" fmla="*/ 995363 h 1276349"/>
                    <a:gd name="connsiteX7" fmla="*/ 150019 w 783431"/>
                    <a:gd name="connsiteY7" fmla="*/ 1023938 h 1276349"/>
                    <a:gd name="connsiteX8" fmla="*/ 159544 w 783431"/>
                    <a:gd name="connsiteY8" fmla="*/ 1042988 h 1276349"/>
                    <a:gd name="connsiteX9" fmla="*/ 197644 w 783431"/>
                    <a:gd name="connsiteY9" fmla="*/ 1069182 h 1276349"/>
                    <a:gd name="connsiteX10" fmla="*/ 245269 w 783431"/>
                    <a:gd name="connsiteY10" fmla="*/ 1090613 h 1276349"/>
                    <a:gd name="connsiteX11" fmla="*/ 264318 w 783431"/>
                    <a:gd name="connsiteY11" fmla="*/ 1131094 h 1276349"/>
                    <a:gd name="connsiteX12" fmla="*/ 295275 w 783431"/>
                    <a:gd name="connsiteY12" fmla="*/ 1164431 h 1276349"/>
                    <a:gd name="connsiteX13" fmla="*/ 385762 w 783431"/>
                    <a:gd name="connsiteY13" fmla="*/ 1200149 h 1276349"/>
                    <a:gd name="connsiteX14" fmla="*/ 404812 w 783431"/>
                    <a:gd name="connsiteY14" fmla="*/ 1276349 h 1276349"/>
                    <a:gd name="connsiteX15" fmla="*/ 423863 w 783431"/>
                    <a:gd name="connsiteY15" fmla="*/ 1221580 h 1276349"/>
                    <a:gd name="connsiteX16" fmla="*/ 469106 w 783431"/>
                    <a:gd name="connsiteY16" fmla="*/ 1181100 h 1276349"/>
                    <a:gd name="connsiteX17" fmla="*/ 554831 w 783431"/>
                    <a:gd name="connsiteY17" fmla="*/ 1202531 h 1276349"/>
                    <a:gd name="connsiteX18" fmla="*/ 592931 w 783431"/>
                    <a:gd name="connsiteY18" fmla="*/ 1126331 h 1276349"/>
                    <a:gd name="connsiteX19" fmla="*/ 604837 w 783431"/>
                    <a:gd name="connsiteY19" fmla="*/ 1085850 h 1276349"/>
                    <a:gd name="connsiteX20" fmla="*/ 585787 w 783431"/>
                    <a:gd name="connsiteY20" fmla="*/ 1035844 h 1276349"/>
                    <a:gd name="connsiteX21" fmla="*/ 607219 w 783431"/>
                    <a:gd name="connsiteY21" fmla="*/ 1021557 h 1276349"/>
                    <a:gd name="connsiteX22" fmla="*/ 645319 w 783431"/>
                    <a:gd name="connsiteY22" fmla="*/ 1016794 h 1276349"/>
                    <a:gd name="connsiteX23" fmla="*/ 685800 w 783431"/>
                    <a:gd name="connsiteY23" fmla="*/ 997744 h 1276349"/>
                    <a:gd name="connsiteX24" fmla="*/ 716756 w 783431"/>
                    <a:gd name="connsiteY24" fmla="*/ 1002507 h 1276349"/>
                    <a:gd name="connsiteX25" fmla="*/ 738187 w 783431"/>
                    <a:gd name="connsiteY25" fmla="*/ 969169 h 1276349"/>
                    <a:gd name="connsiteX26" fmla="*/ 783431 w 783431"/>
                    <a:gd name="connsiteY26" fmla="*/ 933450 h 1276349"/>
                    <a:gd name="connsiteX27" fmla="*/ 776287 w 783431"/>
                    <a:gd name="connsiteY27" fmla="*/ 907257 h 1276349"/>
                    <a:gd name="connsiteX28" fmla="*/ 752475 w 783431"/>
                    <a:gd name="connsiteY28" fmla="*/ 888207 h 1276349"/>
                    <a:gd name="connsiteX29" fmla="*/ 752475 w 783431"/>
                    <a:gd name="connsiteY29" fmla="*/ 864394 h 1276349"/>
                    <a:gd name="connsiteX30" fmla="*/ 728662 w 783431"/>
                    <a:gd name="connsiteY30" fmla="*/ 852488 h 1276349"/>
                    <a:gd name="connsiteX31" fmla="*/ 711994 w 783431"/>
                    <a:gd name="connsiteY31" fmla="*/ 802482 h 1276349"/>
                    <a:gd name="connsiteX32" fmla="*/ 688181 w 783431"/>
                    <a:gd name="connsiteY32" fmla="*/ 814388 h 1276349"/>
                    <a:gd name="connsiteX33" fmla="*/ 659606 w 783431"/>
                    <a:gd name="connsiteY33" fmla="*/ 814388 h 1276349"/>
                    <a:gd name="connsiteX34" fmla="*/ 647700 w 783431"/>
                    <a:gd name="connsiteY34" fmla="*/ 847725 h 1276349"/>
                    <a:gd name="connsiteX35" fmla="*/ 623887 w 783431"/>
                    <a:gd name="connsiteY35" fmla="*/ 847725 h 1276349"/>
                    <a:gd name="connsiteX36" fmla="*/ 576262 w 783431"/>
                    <a:gd name="connsiteY36" fmla="*/ 828675 h 1276349"/>
                    <a:gd name="connsiteX37" fmla="*/ 554831 w 783431"/>
                    <a:gd name="connsiteY37" fmla="*/ 816769 h 1276349"/>
                    <a:gd name="connsiteX38" fmla="*/ 547687 w 783431"/>
                    <a:gd name="connsiteY38" fmla="*/ 783432 h 1276349"/>
                    <a:gd name="connsiteX39" fmla="*/ 561975 w 783431"/>
                    <a:gd name="connsiteY39" fmla="*/ 754857 h 1276349"/>
                    <a:gd name="connsiteX40" fmla="*/ 533400 w 783431"/>
                    <a:gd name="connsiteY40" fmla="*/ 733425 h 1276349"/>
                    <a:gd name="connsiteX41" fmla="*/ 509587 w 783431"/>
                    <a:gd name="connsiteY41" fmla="*/ 711994 h 1276349"/>
                    <a:gd name="connsiteX42" fmla="*/ 473869 w 783431"/>
                    <a:gd name="connsiteY42" fmla="*/ 711994 h 1276349"/>
                    <a:gd name="connsiteX43" fmla="*/ 435769 w 783431"/>
                    <a:gd name="connsiteY43" fmla="*/ 711994 h 1276349"/>
                    <a:gd name="connsiteX44" fmla="*/ 438150 w 783431"/>
                    <a:gd name="connsiteY44" fmla="*/ 669132 h 1276349"/>
                    <a:gd name="connsiteX45" fmla="*/ 428625 w 783431"/>
                    <a:gd name="connsiteY45" fmla="*/ 642938 h 1276349"/>
                    <a:gd name="connsiteX46" fmla="*/ 423862 w 783431"/>
                    <a:gd name="connsiteY46" fmla="*/ 607219 h 1276349"/>
                    <a:gd name="connsiteX47" fmla="*/ 426244 w 783431"/>
                    <a:gd name="connsiteY47" fmla="*/ 578644 h 1276349"/>
                    <a:gd name="connsiteX48" fmla="*/ 440531 w 783431"/>
                    <a:gd name="connsiteY48" fmla="*/ 566738 h 1276349"/>
                    <a:gd name="connsiteX49" fmla="*/ 450056 w 783431"/>
                    <a:gd name="connsiteY49" fmla="*/ 535782 h 1276349"/>
                    <a:gd name="connsiteX50" fmla="*/ 457200 w 783431"/>
                    <a:gd name="connsiteY50" fmla="*/ 519113 h 1276349"/>
                    <a:gd name="connsiteX51" fmla="*/ 481012 w 783431"/>
                    <a:gd name="connsiteY51" fmla="*/ 526257 h 1276349"/>
                    <a:gd name="connsiteX52" fmla="*/ 495300 w 783431"/>
                    <a:gd name="connsiteY52" fmla="*/ 576263 h 1276349"/>
                    <a:gd name="connsiteX53" fmla="*/ 507206 w 783431"/>
                    <a:gd name="connsiteY53" fmla="*/ 581025 h 1276349"/>
                    <a:gd name="connsiteX54" fmla="*/ 526256 w 783431"/>
                    <a:gd name="connsiteY54" fmla="*/ 583407 h 1276349"/>
                    <a:gd name="connsiteX55" fmla="*/ 554831 w 783431"/>
                    <a:gd name="connsiteY55" fmla="*/ 583407 h 1276349"/>
                    <a:gd name="connsiteX56" fmla="*/ 557212 w 783431"/>
                    <a:gd name="connsiteY56" fmla="*/ 547688 h 1276349"/>
                    <a:gd name="connsiteX57" fmla="*/ 545306 w 783431"/>
                    <a:gd name="connsiteY57" fmla="*/ 502444 h 1276349"/>
                    <a:gd name="connsiteX58" fmla="*/ 545306 w 783431"/>
                    <a:gd name="connsiteY58" fmla="*/ 476250 h 1276349"/>
                    <a:gd name="connsiteX59" fmla="*/ 581025 w 783431"/>
                    <a:gd name="connsiteY59" fmla="*/ 454819 h 1276349"/>
                    <a:gd name="connsiteX60" fmla="*/ 604837 w 783431"/>
                    <a:gd name="connsiteY60" fmla="*/ 435769 h 1276349"/>
                    <a:gd name="connsiteX61" fmla="*/ 640556 w 783431"/>
                    <a:gd name="connsiteY61" fmla="*/ 414338 h 1276349"/>
                    <a:gd name="connsiteX62" fmla="*/ 645319 w 783431"/>
                    <a:gd name="connsiteY62" fmla="*/ 395288 h 1276349"/>
                    <a:gd name="connsiteX63" fmla="*/ 633412 w 783431"/>
                    <a:gd name="connsiteY63" fmla="*/ 371475 h 1276349"/>
                    <a:gd name="connsiteX64" fmla="*/ 614362 w 783431"/>
                    <a:gd name="connsiteY64" fmla="*/ 369094 h 1276349"/>
                    <a:gd name="connsiteX65" fmla="*/ 609600 w 783431"/>
                    <a:gd name="connsiteY65" fmla="*/ 366713 h 1276349"/>
                    <a:gd name="connsiteX66" fmla="*/ 597694 w 783431"/>
                    <a:gd name="connsiteY66" fmla="*/ 357188 h 1276349"/>
                    <a:gd name="connsiteX67" fmla="*/ 611981 w 783431"/>
                    <a:gd name="connsiteY67" fmla="*/ 345282 h 1276349"/>
                    <a:gd name="connsiteX68" fmla="*/ 652462 w 783431"/>
                    <a:gd name="connsiteY68" fmla="*/ 316707 h 1276349"/>
                    <a:gd name="connsiteX69" fmla="*/ 678656 w 783431"/>
                    <a:gd name="connsiteY69" fmla="*/ 264319 h 1276349"/>
                    <a:gd name="connsiteX70" fmla="*/ 666750 w 783431"/>
                    <a:gd name="connsiteY70" fmla="*/ 242888 h 1276349"/>
                    <a:gd name="connsiteX71" fmla="*/ 638175 w 783431"/>
                    <a:gd name="connsiteY71" fmla="*/ 219075 h 1276349"/>
                    <a:gd name="connsiteX72" fmla="*/ 642937 w 783431"/>
                    <a:gd name="connsiteY72" fmla="*/ 180975 h 1276349"/>
                    <a:gd name="connsiteX73" fmla="*/ 673894 w 783431"/>
                    <a:gd name="connsiteY73" fmla="*/ 171450 h 1276349"/>
                    <a:gd name="connsiteX74" fmla="*/ 700087 w 783431"/>
                    <a:gd name="connsiteY74" fmla="*/ 142875 h 1276349"/>
                    <a:gd name="connsiteX75" fmla="*/ 700087 w 783431"/>
                    <a:gd name="connsiteY75" fmla="*/ 111919 h 1276349"/>
                    <a:gd name="connsiteX76" fmla="*/ 666750 w 783431"/>
                    <a:gd name="connsiteY76" fmla="*/ 107157 h 1276349"/>
                    <a:gd name="connsiteX77" fmla="*/ 645319 w 783431"/>
                    <a:gd name="connsiteY77" fmla="*/ 102394 h 1276349"/>
                    <a:gd name="connsiteX78" fmla="*/ 645319 w 783431"/>
                    <a:gd name="connsiteY78" fmla="*/ 102394 h 1276349"/>
                    <a:gd name="connsiteX79" fmla="*/ 678656 w 783431"/>
                    <a:gd name="connsiteY79" fmla="*/ 69057 h 1276349"/>
                    <a:gd name="connsiteX80" fmla="*/ 685800 w 783431"/>
                    <a:gd name="connsiteY80" fmla="*/ 40482 h 1276349"/>
                    <a:gd name="connsiteX81" fmla="*/ 678656 w 783431"/>
                    <a:gd name="connsiteY81" fmla="*/ 21432 h 1276349"/>
                    <a:gd name="connsiteX82" fmla="*/ 695325 w 783431"/>
                    <a:gd name="connsiteY82" fmla="*/ 2382 h 1276349"/>
                    <a:gd name="connsiteX83" fmla="*/ 628650 w 783431"/>
                    <a:gd name="connsiteY83" fmla="*/ 0 h 1276349"/>
                    <a:gd name="connsiteX84" fmla="*/ 552450 w 783431"/>
                    <a:gd name="connsiteY84" fmla="*/ 52388 h 1276349"/>
                    <a:gd name="connsiteX85" fmla="*/ 538162 w 783431"/>
                    <a:gd name="connsiteY85" fmla="*/ 90488 h 1276349"/>
                    <a:gd name="connsiteX86" fmla="*/ 445294 w 783431"/>
                    <a:gd name="connsiteY86" fmla="*/ 126207 h 1276349"/>
                    <a:gd name="connsiteX87" fmla="*/ 397669 w 783431"/>
                    <a:gd name="connsiteY87" fmla="*/ 159544 h 1276349"/>
                    <a:gd name="connsiteX88" fmla="*/ 376237 w 783431"/>
                    <a:gd name="connsiteY88" fmla="*/ 190500 h 1276349"/>
                    <a:gd name="connsiteX89" fmla="*/ 350044 w 783431"/>
                    <a:gd name="connsiteY89" fmla="*/ 140494 h 1276349"/>
                    <a:gd name="connsiteX90" fmla="*/ 316706 w 783431"/>
                    <a:gd name="connsiteY90" fmla="*/ 140494 h 1276349"/>
                    <a:gd name="connsiteX91" fmla="*/ 304800 w 783431"/>
                    <a:gd name="connsiteY91" fmla="*/ 166688 h 1276349"/>
                    <a:gd name="connsiteX92" fmla="*/ 280987 w 783431"/>
                    <a:gd name="connsiteY92" fmla="*/ 230982 h 1276349"/>
                    <a:gd name="connsiteX93" fmla="*/ 154781 w 783431"/>
                    <a:gd name="connsiteY93" fmla="*/ 223838 h 1276349"/>
                    <a:gd name="connsiteX94" fmla="*/ 140494 w 783431"/>
                    <a:gd name="connsiteY94" fmla="*/ 245269 h 1276349"/>
                    <a:gd name="connsiteX95" fmla="*/ 138112 w 783431"/>
                    <a:gd name="connsiteY95" fmla="*/ 280988 h 1276349"/>
                    <a:gd name="connsiteX96" fmla="*/ 66675 w 783431"/>
                    <a:gd name="connsiteY96" fmla="*/ 309563 h 1276349"/>
                    <a:gd name="connsiteX97" fmla="*/ 54769 w 783431"/>
                    <a:gd name="connsiteY97" fmla="*/ 323850 h 1276349"/>
                    <a:gd name="connsiteX98" fmla="*/ 66675 w 783431"/>
                    <a:gd name="connsiteY98" fmla="*/ 381000 h 1276349"/>
                    <a:gd name="connsiteX99" fmla="*/ 19050 w 783431"/>
                    <a:gd name="connsiteY99" fmla="*/ 423863 h 1276349"/>
                    <a:gd name="connsiteX100" fmla="*/ 26194 w 783431"/>
                    <a:gd name="connsiteY100" fmla="*/ 490538 h 1276349"/>
                    <a:gd name="connsiteX101" fmla="*/ 33337 w 783431"/>
                    <a:gd name="connsiteY101" fmla="*/ 554832 h 1276349"/>
                    <a:gd name="connsiteX102" fmla="*/ 0 w 783431"/>
                    <a:gd name="connsiteY102" fmla="*/ 614363 h 1276349"/>
                    <a:gd name="connsiteX0" fmla="*/ 0 w 783431"/>
                    <a:gd name="connsiteY0" fmla="*/ 614363 h 1276349"/>
                    <a:gd name="connsiteX1" fmla="*/ 21431 w 783431"/>
                    <a:gd name="connsiteY1" fmla="*/ 661988 h 1276349"/>
                    <a:gd name="connsiteX2" fmla="*/ 28575 w 783431"/>
                    <a:gd name="connsiteY2" fmla="*/ 742950 h 1276349"/>
                    <a:gd name="connsiteX3" fmla="*/ 76200 w 783431"/>
                    <a:gd name="connsiteY3" fmla="*/ 814388 h 1276349"/>
                    <a:gd name="connsiteX4" fmla="*/ 102394 w 783431"/>
                    <a:gd name="connsiteY4" fmla="*/ 919163 h 1276349"/>
                    <a:gd name="connsiteX5" fmla="*/ 116681 w 783431"/>
                    <a:gd name="connsiteY5" fmla="*/ 947738 h 1276349"/>
                    <a:gd name="connsiteX6" fmla="*/ 130969 w 783431"/>
                    <a:gd name="connsiteY6" fmla="*/ 995363 h 1276349"/>
                    <a:gd name="connsiteX7" fmla="*/ 150019 w 783431"/>
                    <a:gd name="connsiteY7" fmla="*/ 1023938 h 1276349"/>
                    <a:gd name="connsiteX8" fmla="*/ 159544 w 783431"/>
                    <a:gd name="connsiteY8" fmla="*/ 1042988 h 1276349"/>
                    <a:gd name="connsiteX9" fmla="*/ 197644 w 783431"/>
                    <a:gd name="connsiteY9" fmla="*/ 1069182 h 1276349"/>
                    <a:gd name="connsiteX10" fmla="*/ 245269 w 783431"/>
                    <a:gd name="connsiteY10" fmla="*/ 1090613 h 1276349"/>
                    <a:gd name="connsiteX11" fmla="*/ 264318 w 783431"/>
                    <a:gd name="connsiteY11" fmla="*/ 1131094 h 1276349"/>
                    <a:gd name="connsiteX12" fmla="*/ 295275 w 783431"/>
                    <a:gd name="connsiteY12" fmla="*/ 1164431 h 1276349"/>
                    <a:gd name="connsiteX13" fmla="*/ 385762 w 783431"/>
                    <a:gd name="connsiteY13" fmla="*/ 1200149 h 1276349"/>
                    <a:gd name="connsiteX14" fmla="*/ 404812 w 783431"/>
                    <a:gd name="connsiteY14" fmla="*/ 1276349 h 1276349"/>
                    <a:gd name="connsiteX15" fmla="*/ 416720 w 783431"/>
                    <a:gd name="connsiteY15" fmla="*/ 1212055 h 1276349"/>
                    <a:gd name="connsiteX16" fmla="*/ 469106 w 783431"/>
                    <a:gd name="connsiteY16" fmla="*/ 1181100 h 1276349"/>
                    <a:gd name="connsiteX17" fmla="*/ 554831 w 783431"/>
                    <a:gd name="connsiteY17" fmla="*/ 1202531 h 1276349"/>
                    <a:gd name="connsiteX18" fmla="*/ 592931 w 783431"/>
                    <a:gd name="connsiteY18" fmla="*/ 1126331 h 1276349"/>
                    <a:gd name="connsiteX19" fmla="*/ 604837 w 783431"/>
                    <a:gd name="connsiteY19" fmla="*/ 1085850 h 1276349"/>
                    <a:gd name="connsiteX20" fmla="*/ 585787 w 783431"/>
                    <a:gd name="connsiteY20" fmla="*/ 1035844 h 1276349"/>
                    <a:gd name="connsiteX21" fmla="*/ 607219 w 783431"/>
                    <a:gd name="connsiteY21" fmla="*/ 1021557 h 1276349"/>
                    <a:gd name="connsiteX22" fmla="*/ 645319 w 783431"/>
                    <a:gd name="connsiteY22" fmla="*/ 1016794 h 1276349"/>
                    <a:gd name="connsiteX23" fmla="*/ 685800 w 783431"/>
                    <a:gd name="connsiteY23" fmla="*/ 997744 h 1276349"/>
                    <a:gd name="connsiteX24" fmla="*/ 716756 w 783431"/>
                    <a:gd name="connsiteY24" fmla="*/ 1002507 h 1276349"/>
                    <a:gd name="connsiteX25" fmla="*/ 738187 w 783431"/>
                    <a:gd name="connsiteY25" fmla="*/ 969169 h 1276349"/>
                    <a:gd name="connsiteX26" fmla="*/ 783431 w 783431"/>
                    <a:gd name="connsiteY26" fmla="*/ 933450 h 1276349"/>
                    <a:gd name="connsiteX27" fmla="*/ 776287 w 783431"/>
                    <a:gd name="connsiteY27" fmla="*/ 907257 h 1276349"/>
                    <a:gd name="connsiteX28" fmla="*/ 752475 w 783431"/>
                    <a:gd name="connsiteY28" fmla="*/ 888207 h 1276349"/>
                    <a:gd name="connsiteX29" fmla="*/ 752475 w 783431"/>
                    <a:gd name="connsiteY29" fmla="*/ 864394 h 1276349"/>
                    <a:gd name="connsiteX30" fmla="*/ 728662 w 783431"/>
                    <a:gd name="connsiteY30" fmla="*/ 852488 h 1276349"/>
                    <a:gd name="connsiteX31" fmla="*/ 711994 w 783431"/>
                    <a:gd name="connsiteY31" fmla="*/ 802482 h 1276349"/>
                    <a:gd name="connsiteX32" fmla="*/ 688181 w 783431"/>
                    <a:gd name="connsiteY32" fmla="*/ 814388 h 1276349"/>
                    <a:gd name="connsiteX33" fmla="*/ 659606 w 783431"/>
                    <a:gd name="connsiteY33" fmla="*/ 814388 h 1276349"/>
                    <a:gd name="connsiteX34" fmla="*/ 647700 w 783431"/>
                    <a:gd name="connsiteY34" fmla="*/ 847725 h 1276349"/>
                    <a:gd name="connsiteX35" fmla="*/ 623887 w 783431"/>
                    <a:gd name="connsiteY35" fmla="*/ 847725 h 1276349"/>
                    <a:gd name="connsiteX36" fmla="*/ 576262 w 783431"/>
                    <a:gd name="connsiteY36" fmla="*/ 828675 h 1276349"/>
                    <a:gd name="connsiteX37" fmla="*/ 554831 w 783431"/>
                    <a:gd name="connsiteY37" fmla="*/ 816769 h 1276349"/>
                    <a:gd name="connsiteX38" fmla="*/ 547687 w 783431"/>
                    <a:gd name="connsiteY38" fmla="*/ 783432 h 1276349"/>
                    <a:gd name="connsiteX39" fmla="*/ 561975 w 783431"/>
                    <a:gd name="connsiteY39" fmla="*/ 754857 h 1276349"/>
                    <a:gd name="connsiteX40" fmla="*/ 533400 w 783431"/>
                    <a:gd name="connsiteY40" fmla="*/ 733425 h 1276349"/>
                    <a:gd name="connsiteX41" fmla="*/ 509587 w 783431"/>
                    <a:gd name="connsiteY41" fmla="*/ 711994 h 1276349"/>
                    <a:gd name="connsiteX42" fmla="*/ 473869 w 783431"/>
                    <a:gd name="connsiteY42" fmla="*/ 711994 h 1276349"/>
                    <a:gd name="connsiteX43" fmla="*/ 435769 w 783431"/>
                    <a:gd name="connsiteY43" fmla="*/ 711994 h 1276349"/>
                    <a:gd name="connsiteX44" fmla="*/ 438150 w 783431"/>
                    <a:gd name="connsiteY44" fmla="*/ 669132 h 1276349"/>
                    <a:gd name="connsiteX45" fmla="*/ 428625 w 783431"/>
                    <a:gd name="connsiteY45" fmla="*/ 642938 h 1276349"/>
                    <a:gd name="connsiteX46" fmla="*/ 423862 w 783431"/>
                    <a:gd name="connsiteY46" fmla="*/ 607219 h 1276349"/>
                    <a:gd name="connsiteX47" fmla="*/ 426244 w 783431"/>
                    <a:gd name="connsiteY47" fmla="*/ 578644 h 1276349"/>
                    <a:gd name="connsiteX48" fmla="*/ 440531 w 783431"/>
                    <a:gd name="connsiteY48" fmla="*/ 566738 h 1276349"/>
                    <a:gd name="connsiteX49" fmla="*/ 450056 w 783431"/>
                    <a:gd name="connsiteY49" fmla="*/ 535782 h 1276349"/>
                    <a:gd name="connsiteX50" fmla="*/ 457200 w 783431"/>
                    <a:gd name="connsiteY50" fmla="*/ 519113 h 1276349"/>
                    <a:gd name="connsiteX51" fmla="*/ 481012 w 783431"/>
                    <a:gd name="connsiteY51" fmla="*/ 526257 h 1276349"/>
                    <a:gd name="connsiteX52" fmla="*/ 495300 w 783431"/>
                    <a:gd name="connsiteY52" fmla="*/ 576263 h 1276349"/>
                    <a:gd name="connsiteX53" fmla="*/ 507206 w 783431"/>
                    <a:gd name="connsiteY53" fmla="*/ 581025 h 1276349"/>
                    <a:gd name="connsiteX54" fmla="*/ 526256 w 783431"/>
                    <a:gd name="connsiteY54" fmla="*/ 583407 h 1276349"/>
                    <a:gd name="connsiteX55" fmla="*/ 554831 w 783431"/>
                    <a:gd name="connsiteY55" fmla="*/ 583407 h 1276349"/>
                    <a:gd name="connsiteX56" fmla="*/ 557212 w 783431"/>
                    <a:gd name="connsiteY56" fmla="*/ 547688 h 1276349"/>
                    <a:gd name="connsiteX57" fmla="*/ 545306 w 783431"/>
                    <a:gd name="connsiteY57" fmla="*/ 502444 h 1276349"/>
                    <a:gd name="connsiteX58" fmla="*/ 545306 w 783431"/>
                    <a:gd name="connsiteY58" fmla="*/ 476250 h 1276349"/>
                    <a:gd name="connsiteX59" fmla="*/ 581025 w 783431"/>
                    <a:gd name="connsiteY59" fmla="*/ 454819 h 1276349"/>
                    <a:gd name="connsiteX60" fmla="*/ 604837 w 783431"/>
                    <a:gd name="connsiteY60" fmla="*/ 435769 h 1276349"/>
                    <a:gd name="connsiteX61" fmla="*/ 640556 w 783431"/>
                    <a:gd name="connsiteY61" fmla="*/ 414338 h 1276349"/>
                    <a:gd name="connsiteX62" fmla="*/ 645319 w 783431"/>
                    <a:gd name="connsiteY62" fmla="*/ 395288 h 1276349"/>
                    <a:gd name="connsiteX63" fmla="*/ 633412 w 783431"/>
                    <a:gd name="connsiteY63" fmla="*/ 371475 h 1276349"/>
                    <a:gd name="connsiteX64" fmla="*/ 614362 w 783431"/>
                    <a:gd name="connsiteY64" fmla="*/ 369094 h 1276349"/>
                    <a:gd name="connsiteX65" fmla="*/ 609600 w 783431"/>
                    <a:gd name="connsiteY65" fmla="*/ 366713 h 1276349"/>
                    <a:gd name="connsiteX66" fmla="*/ 597694 w 783431"/>
                    <a:gd name="connsiteY66" fmla="*/ 357188 h 1276349"/>
                    <a:gd name="connsiteX67" fmla="*/ 611981 w 783431"/>
                    <a:gd name="connsiteY67" fmla="*/ 345282 h 1276349"/>
                    <a:gd name="connsiteX68" fmla="*/ 652462 w 783431"/>
                    <a:gd name="connsiteY68" fmla="*/ 316707 h 1276349"/>
                    <a:gd name="connsiteX69" fmla="*/ 678656 w 783431"/>
                    <a:gd name="connsiteY69" fmla="*/ 264319 h 1276349"/>
                    <a:gd name="connsiteX70" fmla="*/ 666750 w 783431"/>
                    <a:gd name="connsiteY70" fmla="*/ 242888 h 1276349"/>
                    <a:gd name="connsiteX71" fmla="*/ 638175 w 783431"/>
                    <a:gd name="connsiteY71" fmla="*/ 219075 h 1276349"/>
                    <a:gd name="connsiteX72" fmla="*/ 642937 w 783431"/>
                    <a:gd name="connsiteY72" fmla="*/ 180975 h 1276349"/>
                    <a:gd name="connsiteX73" fmla="*/ 673894 w 783431"/>
                    <a:gd name="connsiteY73" fmla="*/ 171450 h 1276349"/>
                    <a:gd name="connsiteX74" fmla="*/ 700087 w 783431"/>
                    <a:gd name="connsiteY74" fmla="*/ 142875 h 1276349"/>
                    <a:gd name="connsiteX75" fmla="*/ 700087 w 783431"/>
                    <a:gd name="connsiteY75" fmla="*/ 111919 h 1276349"/>
                    <a:gd name="connsiteX76" fmla="*/ 666750 w 783431"/>
                    <a:gd name="connsiteY76" fmla="*/ 107157 h 1276349"/>
                    <a:gd name="connsiteX77" fmla="*/ 645319 w 783431"/>
                    <a:gd name="connsiteY77" fmla="*/ 102394 h 1276349"/>
                    <a:gd name="connsiteX78" fmla="*/ 645319 w 783431"/>
                    <a:gd name="connsiteY78" fmla="*/ 102394 h 1276349"/>
                    <a:gd name="connsiteX79" fmla="*/ 678656 w 783431"/>
                    <a:gd name="connsiteY79" fmla="*/ 69057 h 1276349"/>
                    <a:gd name="connsiteX80" fmla="*/ 685800 w 783431"/>
                    <a:gd name="connsiteY80" fmla="*/ 40482 h 1276349"/>
                    <a:gd name="connsiteX81" fmla="*/ 678656 w 783431"/>
                    <a:gd name="connsiteY81" fmla="*/ 21432 h 1276349"/>
                    <a:gd name="connsiteX82" fmla="*/ 695325 w 783431"/>
                    <a:gd name="connsiteY82" fmla="*/ 2382 h 1276349"/>
                    <a:gd name="connsiteX83" fmla="*/ 628650 w 783431"/>
                    <a:gd name="connsiteY83" fmla="*/ 0 h 1276349"/>
                    <a:gd name="connsiteX84" fmla="*/ 552450 w 783431"/>
                    <a:gd name="connsiteY84" fmla="*/ 52388 h 1276349"/>
                    <a:gd name="connsiteX85" fmla="*/ 538162 w 783431"/>
                    <a:gd name="connsiteY85" fmla="*/ 90488 h 1276349"/>
                    <a:gd name="connsiteX86" fmla="*/ 445294 w 783431"/>
                    <a:gd name="connsiteY86" fmla="*/ 126207 h 1276349"/>
                    <a:gd name="connsiteX87" fmla="*/ 397669 w 783431"/>
                    <a:gd name="connsiteY87" fmla="*/ 159544 h 1276349"/>
                    <a:gd name="connsiteX88" fmla="*/ 376237 w 783431"/>
                    <a:gd name="connsiteY88" fmla="*/ 190500 h 1276349"/>
                    <a:gd name="connsiteX89" fmla="*/ 350044 w 783431"/>
                    <a:gd name="connsiteY89" fmla="*/ 140494 h 1276349"/>
                    <a:gd name="connsiteX90" fmla="*/ 316706 w 783431"/>
                    <a:gd name="connsiteY90" fmla="*/ 140494 h 1276349"/>
                    <a:gd name="connsiteX91" fmla="*/ 304800 w 783431"/>
                    <a:gd name="connsiteY91" fmla="*/ 166688 h 1276349"/>
                    <a:gd name="connsiteX92" fmla="*/ 280987 w 783431"/>
                    <a:gd name="connsiteY92" fmla="*/ 230982 h 1276349"/>
                    <a:gd name="connsiteX93" fmla="*/ 154781 w 783431"/>
                    <a:gd name="connsiteY93" fmla="*/ 223838 h 1276349"/>
                    <a:gd name="connsiteX94" fmla="*/ 140494 w 783431"/>
                    <a:gd name="connsiteY94" fmla="*/ 245269 h 1276349"/>
                    <a:gd name="connsiteX95" fmla="*/ 138112 w 783431"/>
                    <a:gd name="connsiteY95" fmla="*/ 280988 h 1276349"/>
                    <a:gd name="connsiteX96" fmla="*/ 66675 w 783431"/>
                    <a:gd name="connsiteY96" fmla="*/ 309563 h 1276349"/>
                    <a:gd name="connsiteX97" fmla="*/ 54769 w 783431"/>
                    <a:gd name="connsiteY97" fmla="*/ 323850 h 1276349"/>
                    <a:gd name="connsiteX98" fmla="*/ 66675 w 783431"/>
                    <a:gd name="connsiteY98" fmla="*/ 381000 h 1276349"/>
                    <a:gd name="connsiteX99" fmla="*/ 19050 w 783431"/>
                    <a:gd name="connsiteY99" fmla="*/ 423863 h 1276349"/>
                    <a:gd name="connsiteX100" fmla="*/ 26194 w 783431"/>
                    <a:gd name="connsiteY100" fmla="*/ 490538 h 1276349"/>
                    <a:gd name="connsiteX101" fmla="*/ 33337 w 783431"/>
                    <a:gd name="connsiteY101" fmla="*/ 554832 h 1276349"/>
                    <a:gd name="connsiteX102" fmla="*/ 0 w 783431"/>
                    <a:gd name="connsiteY102" fmla="*/ 614363 h 1276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</a:cxnLst>
                  <a:rect l="l" t="t" r="r" b="b"/>
                  <a:pathLst>
                    <a:path w="783431" h="1276349">
                      <a:moveTo>
                        <a:pt x="0" y="614363"/>
                      </a:moveTo>
                      <a:lnTo>
                        <a:pt x="21431" y="661988"/>
                      </a:lnTo>
                      <a:lnTo>
                        <a:pt x="28575" y="742950"/>
                      </a:lnTo>
                      <a:lnTo>
                        <a:pt x="76200" y="814388"/>
                      </a:lnTo>
                      <a:lnTo>
                        <a:pt x="102394" y="919163"/>
                      </a:lnTo>
                      <a:lnTo>
                        <a:pt x="116681" y="947738"/>
                      </a:lnTo>
                      <a:lnTo>
                        <a:pt x="130969" y="995363"/>
                      </a:lnTo>
                      <a:lnTo>
                        <a:pt x="150019" y="1023938"/>
                      </a:lnTo>
                      <a:lnTo>
                        <a:pt x="159544" y="1042988"/>
                      </a:lnTo>
                      <a:lnTo>
                        <a:pt x="197644" y="1069182"/>
                      </a:lnTo>
                      <a:lnTo>
                        <a:pt x="245269" y="1090613"/>
                      </a:lnTo>
                      <a:lnTo>
                        <a:pt x="264318" y="1131094"/>
                      </a:lnTo>
                      <a:lnTo>
                        <a:pt x="295275" y="1164431"/>
                      </a:lnTo>
                      <a:lnTo>
                        <a:pt x="385762" y="1200149"/>
                      </a:lnTo>
                      <a:lnTo>
                        <a:pt x="404812" y="1276349"/>
                      </a:lnTo>
                      <a:lnTo>
                        <a:pt x="416720" y="1212055"/>
                      </a:lnTo>
                      <a:lnTo>
                        <a:pt x="469106" y="1181100"/>
                      </a:lnTo>
                      <a:lnTo>
                        <a:pt x="554831" y="1202531"/>
                      </a:lnTo>
                      <a:lnTo>
                        <a:pt x="592931" y="1126331"/>
                      </a:lnTo>
                      <a:lnTo>
                        <a:pt x="604837" y="1085850"/>
                      </a:lnTo>
                      <a:lnTo>
                        <a:pt x="585787" y="1035844"/>
                      </a:lnTo>
                      <a:lnTo>
                        <a:pt x="607219" y="1021557"/>
                      </a:lnTo>
                      <a:lnTo>
                        <a:pt x="645319" y="1016794"/>
                      </a:lnTo>
                      <a:lnTo>
                        <a:pt x="685800" y="997744"/>
                      </a:lnTo>
                      <a:lnTo>
                        <a:pt x="716756" y="1002507"/>
                      </a:lnTo>
                      <a:lnTo>
                        <a:pt x="738187" y="969169"/>
                      </a:lnTo>
                      <a:lnTo>
                        <a:pt x="783431" y="933450"/>
                      </a:lnTo>
                      <a:lnTo>
                        <a:pt x="776287" y="907257"/>
                      </a:lnTo>
                      <a:lnTo>
                        <a:pt x="752475" y="888207"/>
                      </a:lnTo>
                      <a:lnTo>
                        <a:pt x="752475" y="864394"/>
                      </a:lnTo>
                      <a:lnTo>
                        <a:pt x="728662" y="852488"/>
                      </a:lnTo>
                      <a:lnTo>
                        <a:pt x="711994" y="802482"/>
                      </a:lnTo>
                      <a:lnTo>
                        <a:pt x="688181" y="814388"/>
                      </a:lnTo>
                      <a:lnTo>
                        <a:pt x="659606" y="814388"/>
                      </a:lnTo>
                      <a:lnTo>
                        <a:pt x="647700" y="847725"/>
                      </a:lnTo>
                      <a:lnTo>
                        <a:pt x="623887" y="847725"/>
                      </a:lnTo>
                      <a:lnTo>
                        <a:pt x="576262" y="828675"/>
                      </a:lnTo>
                      <a:lnTo>
                        <a:pt x="554831" y="816769"/>
                      </a:lnTo>
                      <a:lnTo>
                        <a:pt x="547687" y="783432"/>
                      </a:lnTo>
                      <a:lnTo>
                        <a:pt x="561975" y="754857"/>
                      </a:lnTo>
                      <a:lnTo>
                        <a:pt x="533400" y="733425"/>
                      </a:lnTo>
                      <a:lnTo>
                        <a:pt x="509587" y="711994"/>
                      </a:lnTo>
                      <a:lnTo>
                        <a:pt x="473869" y="711994"/>
                      </a:lnTo>
                      <a:lnTo>
                        <a:pt x="435769" y="711994"/>
                      </a:lnTo>
                      <a:lnTo>
                        <a:pt x="438150" y="669132"/>
                      </a:lnTo>
                      <a:lnTo>
                        <a:pt x="428625" y="642938"/>
                      </a:lnTo>
                      <a:lnTo>
                        <a:pt x="423862" y="607219"/>
                      </a:lnTo>
                      <a:lnTo>
                        <a:pt x="426244" y="578644"/>
                      </a:lnTo>
                      <a:lnTo>
                        <a:pt x="440531" y="566738"/>
                      </a:lnTo>
                      <a:lnTo>
                        <a:pt x="450056" y="535782"/>
                      </a:lnTo>
                      <a:lnTo>
                        <a:pt x="457200" y="519113"/>
                      </a:lnTo>
                      <a:lnTo>
                        <a:pt x="481012" y="526257"/>
                      </a:lnTo>
                      <a:lnTo>
                        <a:pt x="495300" y="576263"/>
                      </a:lnTo>
                      <a:lnTo>
                        <a:pt x="507206" y="581025"/>
                      </a:lnTo>
                      <a:lnTo>
                        <a:pt x="526256" y="583407"/>
                      </a:lnTo>
                      <a:lnTo>
                        <a:pt x="554831" y="583407"/>
                      </a:lnTo>
                      <a:lnTo>
                        <a:pt x="557212" y="547688"/>
                      </a:lnTo>
                      <a:lnTo>
                        <a:pt x="545306" y="502444"/>
                      </a:lnTo>
                      <a:lnTo>
                        <a:pt x="545306" y="476250"/>
                      </a:lnTo>
                      <a:lnTo>
                        <a:pt x="581025" y="454819"/>
                      </a:lnTo>
                      <a:lnTo>
                        <a:pt x="604837" y="435769"/>
                      </a:lnTo>
                      <a:lnTo>
                        <a:pt x="640556" y="414338"/>
                      </a:lnTo>
                      <a:lnTo>
                        <a:pt x="645319" y="395288"/>
                      </a:lnTo>
                      <a:lnTo>
                        <a:pt x="633412" y="371475"/>
                      </a:lnTo>
                      <a:lnTo>
                        <a:pt x="614362" y="369094"/>
                      </a:lnTo>
                      <a:lnTo>
                        <a:pt x="609600" y="366713"/>
                      </a:lnTo>
                      <a:lnTo>
                        <a:pt x="597694" y="357188"/>
                      </a:lnTo>
                      <a:lnTo>
                        <a:pt x="611981" y="345282"/>
                      </a:lnTo>
                      <a:lnTo>
                        <a:pt x="652462" y="316707"/>
                      </a:lnTo>
                      <a:lnTo>
                        <a:pt x="678656" y="264319"/>
                      </a:lnTo>
                      <a:lnTo>
                        <a:pt x="666750" y="242888"/>
                      </a:lnTo>
                      <a:lnTo>
                        <a:pt x="638175" y="219075"/>
                      </a:lnTo>
                      <a:lnTo>
                        <a:pt x="642937" y="180975"/>
                      </a:lnTo>
                      <a:lnTo>
                        <a:pt x="673894" y="171450"/>
                      </a:lnTo>
                      <a:lnTo>
                        <a:pt x="700087" y="142875"/>
                      </a:lnTo>
                      <a:lnTo>
                        <a:pt x="700087" y="111919"/>
                      </a:lnTo>
                      <a:lnTo>
                        <a:pt x="666750" y="107157"/>
                      </a:lnTo>
                      <a:lnTo>
                        <a:pt x="645319" y="102394"/>
                      </a:lnTo>
                      <a:lnTo>
                        <a:pt x="645319" y="102394"/>
                      </a:lnTo>
                      <a:lnTo>
                        <a:pt x="678656" y="69057"/>
                      </a:lnTo>
                      <a:lnTo>
                        <a:pt x="685800" y="40482"/>
                      </a:lnTo>
                      <a:lnTo>
                        <a:pt x="678656" y="21432"/>
                      </a:lnTo>
                      <a:lnTo>
                        <a:pt x="695325" y="2382"/>
                      </a:lnTo>
                      <a:lnTo>
                        <a:pt x="628650" y="0"/>
                      </a:lnTo>
                      <a:lnTo>
                        <a:pt x="552450" y="52388"/>
                      </a:lnTo>
                      <a:lnTo>
                        <a:pt x="538162" y="90488"/>
                      </a:lnTo>
                      <a:lnTo>
                        <a:pt x="445294" y="126207"/>
                      </a:lnTo>
                      <a:lnTo>
                        <a:pt x="397669" y="159544"/>
                      </a:lnTo>
                      <a:lnTo>
                        <a:pt x="376237" y="190500"/>
                      </a:lnTo>
                      <a:lnTo>
                        <a:pt x="350044" y="140494"/>
                      </a:lnTo>
                      <a:lnTo>
                        <a:pt x="316706" y="140494"/>
                      </a:lnTo>
                      <a:lnTo>
                        <a:pt x="304800" y="166688"/>
                      </a:lnTo>
                      <a:lnTo>
                        <a:pt x="280987" y="230982"/>
                      </a:lnTo>
                      <a:lnTo>
                        <a:pt x="154781" y="223838"/>
                      </a:lnTo>
                      <a:lnTo>
                        <a:pt x="140494" y="245269"/>
                      </a:lnTo>
                      <a:lnTo>
                        <a:pt x="138112" y="280988"/>
                      </a:lnTo>
                      <a:lnTo>
                        <a:pt x="66675" y="309563"/>
                      </a:lnTo>
                      <a:lnTo>
                        <a:pt x="54769" y="323850"/>
                      </a:lnTo>
                      <a:lnTo>
                        <a:pt x="66675" y="381000"/>
                      </a:lnTo>
                      <a:lnTo>
                        <a:pt x="19050" y="423863"/>
                      </a:lnTo>
                      <a:lnTo>
                        <a:pt x="26194" y="490538"/>
                      </a:lnTo>
                      <a:lnTo>
                        <a:pt x="33337" y="554832"/>
                      </a:lnTo>
                      <a:lnTo>
                        <a:pt x="0" y="614363"/>
                      </a:lnTo>
                      <a:close/>
                    </a:path>
                  </a:pathLst>
                </a:custGeom>
                <a:solidFill>
                  <a:srgbClr val="92D050"/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384">
                  <a:extLst>
                    <a:ext uri="{FF2B5EF4-FFF2-40B4-BE49-F238E27FC236}">
                      <a16:creationId xmlns:a16="http://schemas.microsoft.com/office/drawing/2014/main" id="{AB3CC2B7-0391-325E-FB88-27789AA2AD81}"/>
                    </a:ext>
                  </a:extLst>
                </p:cNvPr>
                <p:cNvSpPr/>
                <p:nvPr/>
              </p:nvSpPr>
              <p:spPr>
                <a:xfrm rot="21396613">
                  <a:off x="1790264" y="5411867"/>
                  <a:ext cx="433895" cy="959495"/>
                </a:xfrm>
                <a:custGeom>
                  <a:avLst/>
                  <a:gdLst>
                    <a:gd name="connsiteX0" fmla="*/ 0 w 395287"/>
                    <a:gd name="connsiteY0" fmla="*/ 0 h 900113"/>
                    <a:gd name="connsiteX1" fmla="*/ 0 w 395287"/>
                    <a:gd name="connsiteY1" fmla="*/ 107157 h 900113"/>
                    <a:gd name="connsiteX2" fmla="*/ 9525 w 395287"/>
                    <a:gd name="connsiteY2" fmla="*/ 135732 h 900113"/>
                    <a:gd name="connsiteX3" fmla="*/ 9525 w 395287"/>
                    <a:gd name="connsiteY3" fmla="*/ 171450 h 900113"/>
                    <a:gd name="connsiteX4" fmla="*/ 54768 w 395287"/>
                    <a:gd name="connsiteY4" fmla="*/ 226219 h 900113"/>
                    <a:gd name="connsiteX5" fmla="*/ 73818 w 395287"/>
                    <a:gd name="connsiteY5" fmla="*/ 247650 h 900113"/>
                    <a:gd name="connsiteX6" fmla="*/ 100012 w 395287"/>
                    <a:gd name="connsiteY6" fmla="*/ 302419 h 900113"/>
                    <a:gd name="connsiteX7" fmla="*/ 97631 w 395287"/>
                    <a:gd name="connsiteY7" fmla="*/ 357188 h 900113"/>
                    <a:gd name="connsiteX8" fmla="*/ 152400 w 395287"/>
                    <a:gd name="connsiteY8" fmla="*/ 423863 h 900113"/>
                    <a:gd name="connsiteX9" fmla="*/ 176212 w 395287"/>
                    <a:gd name="connsiteY9" fmla="*/ 600075 h 900113"/>
                    <a:gd name="connsiteX10" fmla="*/ 185737 w 395287"/>
                    <a:gd name="connsiteY10" fmla="*/ 633413 h 900113"/>
                    <a:gd name="connsiteX11" fmla="*/ 200025 w 395287"/>
                    <a:gd name="connsiteY11" fmla="*/ 726282 h 900113"/>
                    <a:gd name="connsiteX12" fmla="*/ 350043 w 395287"/>
                    <a:gd name="connsiteY12" fmla="*/ 895350 h 900113"/>
                    <a:gd name="connsiteX13" fmla="*/ 361950 w 395287"/>
                    <a:gd name="connsiteY13" fmla="*/ 900113 h 900113"/>
                    <a:gd name="connsiteX14" fmla="*/ 381000 w 395287"/>
                    <a:gd name="connsiteY14" fmla="*/ 838200 h 900113"/>
                    <a:gd name="connsiteX15" fmla="*/ 373856 w 395287"/>
                    <a:gd name="connsiteY15" fmla="*/ 823913 h 900113"/>
                    <a:gd name="connsiteX16" fmla="*/ 369093 w 395287"/>
                    <a:gd name="connsiteY16" fmla="*/ 754857 h 900113"/>
                    <a:gd name="connsiteX17" fmla="*/ 390525 w 395287"/>
                    <a:gd name="connsiteY17" fmla="*/ 731044 h 900113"/>
                    <a:gd name="connsiteX18" fmla="*/ 395287 w 395287"/>
                    <a:gd name="connsiteY18" fmla="*/ 688182 h 900113"/>
                    <a:gd name="connsiteX19" fmla="*/ 366712 w 395287"/>
                    <a:gd name="connsiteY19" fmla="*/ 647700 h 900113"/>
                    <a:gd name="connsiteX20" fmla="*/ 364331 w 395287"/>
                    <a:gd name="connsiteY20" fmla="*/ 604838 h 900113"/>
                    <a:gd name="connsiteX21" fmla="*/ 395287 w 395287"/>
                    <a:gd name="connsiteY21" fmla="*/ 550069 h 900113"/>
                    <a:gd name="connsiteX22" fmla="*/ 395287 w 395287"/>
                    <a:gd name="connsiteY22" fmla="*/ 511969 h 900113"/>
                    <a:gd name="connsiteX23" fmla="*/ 381000 w 395287"/>
                    <a:gd name="connsiteY23" fmla="*/ 476250 h 900113"/>
                    <a:gd name="connsiteX24" fmla="*/ 319087 w 395287"/>
                    <a:gd name="connsiteY24" fmla="*/ 464344 h 900113"/>
                    <a:gd name="connsiteX25" fmla="*/ 292893 w 395287"/>
                    <a:gd name="connsiteY25" fmla="*/ 440532 h 900113"/>
                    <a:gd name="connsiteX26" fmla="*/ 285750 w 395287"/>
                    <a:gd name="connsiteY26" fmla="*/ 414338 h 900113"/>
                    <a:gd name="connsiteX27" fmla="*/ 300037 w 395287"/>
                    <a:gd name="connsiteY27" fmla="*/ 376238 h 900113"/>
                    <a:gd name="connsiteX28" fmla="*/ 295275 w 395287"/>
                    <a:gd name="connsiteY28" fmla="*/ 321469 h 900113"/>
                    <a:gd name="connsiteX29" fmla="*/ 288131 w 395287"/>
                    <a:gd name="connsiteY29" fmla="*/ 288132 h 900113"/>
                    <a:gd name="connsiteX30" fmla="*/ 257175 w 395287"/>
                    <a:gd name="connsiteY30" fmla="*/ 211932 h 900113"/>
                    <a:gd name="connsiteX31" fmla="*/ 180975 w 395287"/>
                    <a:gd name="connsiteY31" fmla="*/ 183357 h 900113"/>
                    <a:gd name="connsiteX32" fmla="*/ 147637 w 395287"/>
                    <a:gd name="connsiteY32" fmla="*/ 142875 h 900113"/>
                    <a:gd name="connsiteX33" fmla="*/ 121443 w 395287"/>
                    <a:gd name="connsiteY33" fmla="*/ 104775 h 900113"/>
                    <a:gd name="connsiteX34" fmla="*/ 45243 w 395287"/>
                    <a:gd name="connsiteY34" fmla="*/ 66675 h 900113"/>
                    <a:gd name="connsiteX35" fmla="*/ 0 w 395287"/>
                    <a:gd name="connsiteY35" fmla="*/ 0 h 900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395287" h="900113">
                      <a:moveTo>
                        <a:pt x="0" y="0"/>
                      </a:moveTo>
                      <a:lnTo>
                        <a:pt x="0" y="107157"/>
                      </a:lnTo>
                      <a:lnTo>
                        <a:pt x="9525" y="135732"/>
                      </a:lnTo>
                      <a:lnTo>
                        <a:pt x="9525" y="171450"/>
                      </a:lnTo>
                      <a:lnTo>
                        <a:pt x="54768" y="226219"/>
                      </a:lnTo>
                      <a:lnTo>
                        <a:pt x="73818" y="247650"/>
                      </a:lnTo>
                      <a:lnTo>
                        <a:pt x="100012" y="302419"/>
                      </a:lnTo>
                      <a:cubicBezTo>
                        <a:pt x="99218" y="320675"/>
                        <a:pt x="98425" y="338932"/>
                        <a:pt x="97631" y="357188"/>
                      </a:cubicBezTo>
                      <a:lnTo>
                        <a:pt x="152400" y="423863"/>
                      </a:lnTo>
                      <a:lnTo>
                        <a:pt x="176212" y="600075"/>
                      </a:lnTo>
                      <a:lnTo>
                        <a:pt x="185737" y="633413"/>
                      </a:lnTo>
                      <a:lnTo>
                        <a:pt x="200025" y="726282"/>
                      </a:lnTo>
                      <a:lnTo>
                        <a:pt x="350043" y="895350"/>
                      </a:lnTo>
                      <a:lnTo>
                        <a:pt x="361950" y="900113"/>
                      </a:lnTo>
                      <a:lnTo>
                        <a:pt x="381000" y="838200"/>
                      </a:lnTo>
                      <a:lnTo>
                        <a:pt x="373856" y="823913"/>
                      </a:lnTo>
                      <a:lnTo>
                        <a:pt x="369093" y="754857"/>
                      </a:lnTo>
                      <a:lnTo>
                        <a:pt x="390525" y="731044"/>
                      </a:lnTo>
                      <a:lnTo>
                        <a:pt x="395287" y="688182"/>
                      </a:lnTo>
                      <a:lnTo>
                        <a:pt x="366712" y="647700"/>
                      </a:lnTo>
                      <a:lnTo>
                        <a:pt x="364331" y="604838"/>
                      </a:lnTo>
                      <a:lnTo>
                        <a:pt x="395287" y="550069"/>
                      </a:lnTo>
                      <a:lnTo>
                        <a:pt x="395287" y="511969"/>
                      </a:lnTo>
                      <a:lnTo>
                        <a:pt x="381000" y="476250"/>
                      </a:lnTo>
                      <a:lnTo>
                        <a:pt x="319087" y="464344"/>
                      </a:lnTo>
                      <a:lnTo>
                        <a:pt x="292893" y="440532"/>
                      </a:lnTo>
                      <a:lnTo>
                        <a:pt x="285750" y="414338"/>
                      </a:lnTo>
                      <a:lnTo>
                        <a:pt x="300037" y="376238"/>
                      </a:lnTo>
                      <a:lnTo>
                        <a:pt x="295275" y="321469"/>
                      </a:lnTo>
                      <a:lnTo>
                        <a:pt x="288131" y="288132"/>
                      </a:lnTo>
                      <a:lnTo>
                        <a:pt x="257175" y="211932"/>
                      </a:lnTo>
                      <a:lnTo>
                        <a:pt x="180975" y="183357"/>
                      </a:lnTo>
                      <a:lnTo>
                        <a:pt x="147637" y="142875"/>
                      </a:lnTo>
                      <a:lnTo>
                        <a:pt x="121443" y="104775"/>
                      </a:lnTo>
                      <a:lnTo>
                        <a:pt x="45243" y="666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2D050"/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385">
                  <a:extLst>
                    <a:ext uri="{FF2B5EF4-FFF2-40B4-BE49-F238E27FC236}">
                      <a16:creationId xmlns:a16="http://schemas.microsoft.com/office/drawing/2014/main" id="{F7AA1563-5F4B-8BED-293D-D2221DF93983}"/>
                    </a:ext>
                  </a:extLst>
                </p:cNvPr>
                <p:cNvSpPr/>
                <p:nvPr/>
              </p:nvSpPr>
              <p:spPr>
                <a:xfrm rot="21396613">
                  <a:off x="2099995" y="5243751"/>
                  <a:ext cx="775008" cy="1124878"/>
                </a:xfrm>
                <a:custGeom>
                  <a:avLst/>
                  <a:gdLst>
                    <a:gd name="connsiteX0" fmla="*/ 85725 w 707231"/>
                    <a:gd name="connsiteY0" fmla="*/ 1033462 h 1033462"/>
                    <a:gd name="connsiteX1" fmla="*/ 154781 w 707231"/>
                    <a:gd name="connsiteY1" fmla="*/ 1026319 h 1033462"/>
                    <a:gd name="connsiteX2" fmla="*/ 200025 w 707231"/>
                    <a:gd name="connsiteY2" fmla="*/ 1012031 h 1033462"/>
                    <a:gd name="connsiteX3" fmla="*/ 247650 w 707231"/>
                    <a:gd name="connsiteY3" fmla="*/ 969169 h 1033462"/>
                    <a:gd name="connsiteX4" fmla="*/ 276225 w 707231"/>
                    <a:gd name="connsiteY4" fmla="*/ 912019 h 1033462"/>
                    <a:gd name="connsiteX5" fmla="*/ 350043 w 707231"/>
                    <a:gd name="connsiteY5" fmla="*/ 871537 h 1033462"/>
                    <a:gd name="connsiteX6" fmla="*/ 411956 w 707231"/>
                    <a:gd name="connsiteY6" fmla="*/ 823912 h 1033462"/>
                    <a:gd name="connsiteX7" fmla="*/ 411956 w 707231"/>
                    <a:gd name="connsiteY7" fmla="*/ 781050 h 1033462"/>
                    <a:gd name="connsiteX8" fmla="*/ 471487 w 707231"/>
                    <a:gd name="connsiteY8" fmla="*/ 671512 h 1033462"/>
                    <a:gd name="connsiteX9" fmla="*/ 547687 w 707231"/>
                    <a:gd name="connsiteY9" fmla="*/ 642937 h 1033462"/>
                    <a:gd name="connsiteX10" fmla="*/ 595312 w 707231"/>
                    <a:gd name="connsiteY10" fmla="*/ 592931 h 1033462"/>
                    <a:gd name="connsiteX11" fmla="*/ 597693 w 707231"/>
                    <a:gd name="connsiteY11" fmla="*/ 438150 h 1033462"/>
                    <a:gd name="connsiteX12" fmla="*/ 604837 w 707231"/>
                    <a:gd name="connsiteY12" fmla="*/ 350044 h 1033462"/>
                    <a:gd name="connsiteX13" fmla="*/ 614362 w 707231"/>
                    <a:gd name="connsiteY13" fmla="*/ 295275 h 1033462"/>
                    <a:gd name="connsiteX14" fmla="*/ 671512 w 707231"/>
                    <a:gd name="connsiteY14" fmla="*/ 219075 h 1033462"/>
                    <a:gd name="connsiteX15" fmla="*/ 707231 w 707231"/>
                    <a:gd name="connsiteY15" fmla="*/ 147637 h 1033462"/>
                    <a:gd name="connsiteX16" fmla="*/ 697706 w 707231"/>
                    <a:gd name="connsiteY16" fmla="*/ 97631 h 1033462"/>
                    <a:gd name="connsiteX17" fmla="*/ 702468 w 707231"/>
                    <a:gd name="connsiteY17" fmla="*/ 35719 h 1033462"/>
                    <a:gd name="connsiteX18" fmla="*/ 628650 w 707231"/>
                    <a:gd name="connsiteY18" fmla="*/ 0 h 1033462"/>
                    <a:gd name="connsiteX19" fmla="*/ 600075 w 707231"/>
                    <a:gd name="connsiteY19" fmla="*/ 28575 h 1033462"/>
                    <a:gd name="connsiteX20" fmla="*/ 597693 w 707231"/>
                    <a:gd name="connsiteY20" fmla="*/ 69056 h 1033462"/>
                    <a:gd name="connsiteX21" fmla="*/ 583406 w 707231"/>
                    <a:gd name="connsiteY21" fmla="*/ 88106 h 1033462"/>
                    <a:gd name="connsiteX22" fmla="*/ 523875 w 707231"/>
                    <a:gd name="connsiteY22" fmla="*/ 95250 h 1033462"/>
                    <a:gd name="connsiteX23" fmla="*/ 509587 w 707231"/>
                    <a:gd name="connsiteY23" fmla="*/ 135731 h 1033462"/>
                    <a:gd name="connsiteX24" fmla="*/ 478631 w 707231"/>
                    <a:gd name="connsiteY24" fmla="*/ 128587 h 1033462"/>
                    <a:gd name="connsiteX25" fmla="*/ 466725 w 707231"/>
                    <a:gd name="connsiteY25" fmla="*/ 154781 h 1033462"/>
                    <a:gd name="connsiteX26" fmla="*/ 431006 w 707231"/>
                    <a:gd name="connsiteY26" fmla="*/ 147637 h 1033462"/>
                    <a:gd name="connsiteX27" fmla="*/ 376237 w 707231"/>
                    <a:gd name="connsiteY27" fmla="*/ 169069 h 1033462"/>
                    <a:gd name="connsiteX28" fmla="*/ 319087 w 707231"/>
                    <a:gd name="connsiteY28" fmla="*/ 166687 h 1033462"/>
                    <a:gd name="connsiteX29" fmla="*/ 307181 w 707231"/>
                    <a:gd name="connsiteY29" fmla="*/ 135731 h 1033462"/>
                    <a:gd name="connsiteX30" fmla="*/ 273843 w 707231"/>
                    <a:gd name="connsiteY30" fmla="*/ 147637 h 1033462"/>
                    <a:gd name="connsiteX31" fmla="*/ 178593 w 707231"/>
                    <a:gd name="connsiteY31" fmla="*/ 173831 h 1033462"/>
                    <a:gd name="connsiteX32" fmla="*/ 188118 w 707231"/>
                    <a:gd name="connsiteY32" fmla="*/ 202406 h 1033462"/>
                    <a:gd name="connsiteX33" fmla="*/ 195262 w 707231"/>
                    <a:gd name="connsiteY33" fmla="*/ 233362 h 1033462"/>
                    <a:gd name="connsiteX34" fmla="*/ 142875 w 707231"/>
                    <a:gd name="connsiteY34" fmla="*/ 338137 h 1033462"/>
                    <a:gd name="connsiteX35" fmla="*/ 57150 w 707231"/>
                    <a:gd name="connsiteY35" fmla="*/ 323850 h 1033462"/>
                    <a:gd name="connsiteX36" fmla="*/ 11906 w 707231"/>
                    <a:gd name="connsiteY36" fmla="*/ 347662 h 1033462"/>
                    <a:gd name="connsiteX37" fmla="*/ 0 w 707231"/>
                    <a:gd name="connsiteY37" fmla="*/ 400050 h 1033462"/>
                    <a:gd name="connsiteX38" fmla="*/ 14287 w 707231"/>
                    <a:gd name="connsiteY38" fmla="*/ 476250 h 1033462"/>
                    <a:gd name="connsiteX39" fmla="*/ 11906 w 707231"/>
                    <a:gd name="connsiteY39" fmla="*/ 519112 h 1033462"/>
                    <a:gd name="connsiteX40" fmla="*/ 0 w 707231"/>
                    <a:gd name="connsiteY40" fmla="*/ 550069 h 1033462"/>
                    <a:gd name="connsiteX41" fmla="*/ 11906 w 707231"/>
                    <a:gd name="connsiteY41" fmla="*/ 561975 h 1033462"/>
                    <a:gd name="connsiteX42" fmla="*/ 30956 w 707231"/>
                    <a:gd name="connsiteY42" fmla="*/ 592931 h 1033462"/>
                    <a:gd name="connsiteX43" fmla="*/ 97631 w 707231"/>
                    <a:gd name="connsiteY43" fmla="*/ 609600 h 1033462"/>
                    <a:gd name="connsiteX44" fmla="*/ 104775 w 707231"/>
                    <a:gd name="connsiteY44" fmla="*/ 676275 h 1033462"/>
                    <a:gd name="connsiteX45" fmla="*/ 90487 w 707231"/>
                    <a:gd name="connsiteY45" fmla="*/ 728662 h 1033462"/>
                    <a:gd name="connsiteX46" fmla="*/ 80962 w 707231"/>
                    <a:gd name="connsiteY46" fmla="*/ 747712 h 1033462"/>
                    <a:gd name="connsiteX47" fmla="*/ 80962 w 707231"/>
                    <a:gd name="connsiteY47" fmla="*/ 781050 h 1033462"/>
                    <a:gd name="connsiteX48" fmla="*/ 109537 w 707231"/>
                    <a:gd name="connsiteY48" fmla="*/ 819150 h 1033462"/>
                    <a:gd name="connsiteX49" fmla="*/ 102393 w 707231"/>
                    <a:gd name="connsiteY49" fmla="*/ 869156 h 1033462"/>
                    <a:gd name="connsiteX50" fmla="*/ 83343 w 707231"/>
                    <a:gd name="connsiteY50" fmla="*/ 890587 h 1033462"/>
                    <a:gd name="connsiteX51" fmla="*/ 85725 w 707231"/>
                    <a:gd name="connsiteY51" fmla="*/ 954881 h 1033462"/>
                    <a:gd name="connsiteX52" fmla="*/ 92868 w 707231"/>
                    <a:gd name="connsiteY52" fmla="*/ 966787 h 1033462"/>
                    <a:gd name="connsiteX53" fmla="*/ 85725 w 707231"/>
                    <a:gd name="connsiteY53" fmla="*/ 1033462 h 1033462"/>
                    <a:gd name="connsiteX0" fmla="*/ 71437 w 707231"/>
                    <a:gd name="connsiteY0" fmla="*/ 1031081 h 1031081"/>
                    <a:gd name="connsiteX1" fmla="*/ 154781 w 707231"/>
                    <a:gd name="connsiteY1" fmla="*/ 1026319 h 1031081"/>
                    <a:gd name="connsiteX2" fmla="*/ 200025 w 707231"/>
                    <a:gd name="connsiteY2" fmla="*/ 1012031 h 1031081"/>
                    <a:gd name="connsiteX3" fmla="*/ 247650 w 707231"/>
                    <a:gd name="connsiteY3" fmla="*/ 969169 h 1031081"/>
                    <a:gd name="connsiteX4" fmla="*/ 276225 w 707231"/>
                    <a:gd name="connsiteY4" fmla="*/ 912019 h 1031081"/>
                    <a:gd name="connsiteX5" fmla="*/ 350043 w 707231"/>
                    <a:gd name="connsiteY5" fmla="*/ 871537 h 1031081"/>
                    <a:gd name="connsiteX6" fmla="*/ 411956 w 707231"/>
                    <a:gd name="connsiteY6" fmla="*/ 823912 h 1031081"/>
                    <a:gd name="connsiteX7" fmla="*/ 411956 w 707231"/>
                    <a:gd name="connsiteY7" fmla="*/ 781050 h 1031081"/>
                    <a:gd name="connsiteX8" fmla="*/ 471487 w 707231"/>
                    <a:gd name="connsiteY8" fmla="*/ 671512 h 1031081"/>
                    <a:gd name="connsiteX9" fmla="*/ 547687 w 707231"/>
                    <a:gd name="connsiteY9" fmla="*/ 642937 h 1031081"/>
                    <a:gd name="connsiteX10" fmla="*/ 595312 w 707231"/>
                    <a:gd name="connsiteY10" fmla="*/ 592931 h 1031081"/>
                    <a:gd name="connsiteX11" fmla="*/ 597693 w 707231"/>
                    <a:gd name="connsiteY11" fmla="*/ 438150 h 1031081"/>
                    <a:gd name="connsiteX12" fmla="*/ 604837 w 707231"/>
                    <a:gd name="connsiteY12" fmla="*/ 350044 h 1031081"/>
                    <a:gd name="connsiteX13" fmla="*/ 614362 w 707231"/>
                    <a:gd name="connsiteY13" fmla="*/ 295275 h 1031081"/>
                    <a:gd name="connsiteX14" fmla="*/ 671512 w 707231"/>
                    <a:gd name="connsiteY14" fmla="*/ 219075 h 1031081"/>
                    <a:gd name="connsiteX15" fmla="*/ 707231 w 707231"/>
                    <a:gd name="connsiteY15" fmla="*/ 147637 h 1031081"/>
                    <a:gd name="connsiteX16" fmla="*/ 697706 w 707231"/>
                    <a:gd name="connsiteY16" fmla="*/ 97631 h 1031081"/>
                    <a:gd name="connsiteX17" fmla="*/ 702468 w 707231"/>
                    <a:gd name="connsiteY17" fmla="*/ 35719 h 1031081"/>
                    <a:gd name="connsiteX18" fmla="*/ 628650 w 707231"/>
                    <a:gd name="connsiteY18" fmla="*/ 0 h 1031081"/>
                    <a:gd name="connsiteX19" fmla="*/ 600075 w 707231"/>
                    <a:gd name="connsiteY19" fmla="*/ 28575 h 1031081"/>
                    <a:gd name="connsiteX20" fmla="*/ 597693 w 707231"/>
                    <a:gd name="connsiteY20" fmla="*/ 69056 h 1031081"/>
                    <a:gd name="connsiteX21" fmla="*/ 583406 w 707231"/>
                    <a:gd name="connsiteY21" fmla="*/ 88106 h 1031081"/>
                    <a:gd name="connsiteX22" fmla="*/ 523875 w 707231"/>
                    <a:gd name="connsiteY22" fmla="*/ 95250 h 1031081"/>
                    <a:gd name="connsiteX23" fmla="*/ 509587 w 707231"/>
                    <a:gd name="connsiteY23" fmla="*/ 135731 h 1031081"/>
                    <a:gd name="connsiteX24" fmla="*/ 478631 w 707231"/>
                    <a:gd name="connsiteY24" fmla="*/ 128587 h 1031081"/>
                    <a:gd name="connsiteX25" fmla="*/ 466725 w 707231"/>
                    <a:gd name="connsiteY25" fmla="*/ 154781 h 1031081"/>
                    <a:gd name="connsiteX26" fmla="*/ 431006 w 707231"/>
                    <a:gd name="connsiteY26" fmla="*/ 147637 h 1031081"/>
                    <a:gd name="connsiteX27" fmla="*/ 376237 w 707231"/>
                    <a:gd name="connsiteY27" fmla="*/ 169069 h 1031081"/>
                    <a:gd name="connsiteX28" fmla="*/ 319087 w 707231"/>
                    <a:gd name="connsiteY28" fmla="*/ 166687 h 1031081"/>
                    <a:gd name="connsiteX29" fmla="*/ 307181 w 707231"/>
                    <a:gd name="connsiteY29" fmla="*/ 135731 h 1031081"/>
                    <a:gd name="connsiteX30" fmla="*/ 273843 w 707231"/>
                    <a:gd name="connsiteY30" fmla="*/ 147637 h 1031081"/>
                    <a:gd name="connsiteX31" fmla="*/ 178593 w 707231"/>
                    <a:gd name="connsiteY31" fmla="*/ 173831 h 1031081"/>
                    <a:gd name="connsiteX32" fmla="*/ 188118 w 707231"/>
                    <a:gd name="connsiteY32" fmla="*/ 202406 h 1031081"/>
                    <a:gd name="connsiteX33" fmla="*/ 195262 w 707231"/>
                    <a:gd name="connsiteY33" fmla="*/ 233362 h 1031081"/>
                    <a:gd name="connsiteX34" fmla="*/ 142875 w 707231"/>
                    <a:gd name="connsiteY34" fmla="*/ 338137 h 1031081"/>
                    <a:gd name="connsiteX35" fmla="*/ 57150 w 707231"/>
                    <a:gd name="connsiteY35" fmla="*/ 323850 h 1031081"/>
                    <a:gd name="connsiteX36" fmla="*/ 11906 w 707231"/>
                    <a:gd name="connsiteY36" fmla="*/ 347662 h 1031081"/>
                    <a:gd name="connsiteX37" fmla="*/ 0 w 707231"/>
                    <a:gd name="connsiteY37" fmla="*/ 400050 h 1031081"/>
                    <a:gd name="connsiteX38" fmla="*/ 14287 w 707231"/>
                    <a:gd name="connsiteY38" fmla="*/ 476250 h 1031081"/>
                    <a:gd name="connsiteX39" fmla="*/ 11906 w 707231"/>
                    <a:gd name="connsiteY39" fmla="*/ 519112 h 1031081"/>
                    <a:gd name="connsiteX40" fmla="*/ 0 w 707231"/>
                    <a:gd name="connsiteY40" fmla="*/ 550069 h 1031081"/>
                    <a:gd name="connsiteX41" fmla="*/ 11906 w 707231"/>
                    <a:gd name="connsiteY41" fmla="*/ 561975 h 1031081"/>
                    <a:gd name="connsiteX42" fmla="*/ 30956 w 707231"/>
                    <a:gd name="connsiteY42" fmla="*/ 592931 h 1031081"/>
                    <a:gd name="connsiteX43" fmla="*/ 97631 w 707231"/>
                    <a:gd name="connsiteY43" fmla="*/ 609600 h 1031081"/>
                    <a:gd name="connsiteX44" fmla="*/ 104775 w 707231"/>
                    <a:gd name="connsiteY44" fmla="*/ 676275 h 1031081"/>
                    <a:gd name="connsiteX45" fmla="*/ 90487 w 707231"/>
                    <a:gd name="connsiteY45" fmla="*/ 728662 h 1031081"/>
                    <a:gd name="connsiteX46" fmla="*/ 80962 w 707231"/>
                    <a:gd name="connsiteY46" fmla="*/ 747712 h 1031081"/>
                    <a:gd name="connsiteX47" fmla="*/ 80962 w 707231"/>
                    <a:gd name="connsiteY47" fmla="*/ 781050 h 1031081"/>
                    <a:gd name="connsiteX48" fmla="*/ 109537 w 707231"/>
                    <a:gd name="connsiteY48" fmla="*/ 819150 h 1031081"/>
                    <a:gd name="connsiteX49" fmla="*/ 102393 w 707231"/>
                    <a:gd name="connsiteY49" fmla="*/ 869156 h 1031081"/>
                    <a:gd name="connsiteX50" fmla="*/ 83343 w 707231"/>
                    <a:gd name="connsiteY50" fmla="*/ 890587 h 1031081"/>
                    <a:gd name="connsiteX51" fmla="*/ 85725 w 707231"/>
                    <a:gd name="connsiteY51" fmla="*/ 954881 h 1031081"/>
                    <a:gd name="connsiteX52" fmla="*/ 92868 w 707231"/>
                    <a:gd name="connsiteY52" fmla="*/ 966787 h 1031081"/>
                    <a:gd name="connsiteX53" fmla="*/ 71437 w 707231"/>
                    <a:gd name="connsiteY53" fmla="*/ 1031081 h 1031081"/>
                    <a:gd name="connsiteX0" fmla="*/ 71437 w 707231"/>
                    <a:gd name="connsiteY0" fmla="*/ 1031081 h 1031082"/>
                    <a:gd name="connsiteX1" fmla="*/ 119062 w 707231"/>
                    <a:gd name="connsiteY1" fmla="*/ 1031082 h 1031082"/>
                    <a:gd name="connsiteX2" fmla="*/ 154781 w 707231"/>
                    <a:gd name="connsiteY2" fmla="*/ 1026319 h 1031082"/>
                    <a:gd name="connsiteX3" fmla="*/ 200025 w 707231"/>
                    <a:gd name="connsiteY3" fmla="*/ 1012031 h 1031082"/>
                    <a:gd name="connsiteX4" fmla="*/ 247650 w 707231"/>
                    <a:gd name="connsiteY4" fmla="*/ 969169 h 1031082"/>
                    <a:gd name="connsiteX5" fmla="*/ 276225 w 707231"/>
                    <a:gd name="connsiteY5" fmla="*/ 912019 h 1031082"/>
                    <a:gd name="connsiteX6" fmla="*/ 350043 w 707231"/>
                    <a:gd name="connsiteY6" fmla="*/ 871537 h 1031082"/>
                    <a:gd name="connsiteX7" fmla="*/ 411956 w 707231"/>
                    <a:gd name="connsiteY7" fmla="*/ 823912 h 1031082"/>
                    <a:gd name="connsiteX8" fmla="*/ 411956 w 707231"/>
                    <a:gd name="connsiteY8" fmla="*/ 781050 h 1031082"/>
                    <a:gd name="connsiteX9" fmla="*/ 471487 w 707231"/>
                    <a:gd name="connsiteY9" fmla="*/ 671512 h 1031082"/>
                    <a:gd name="connsiteX10" fmla="*/ 547687 w 707231"/>
                    <a:gd name="connsiteY10" fmla="*/ 642937 h 1031082"/>
                    <a:gd name="connsiteX11" fmla="*/ 595312 w 707231"/>
                    <a:gd name="connsiteY11" fmla="*/ 592931 h 1031082"/>
                    <a:gd name="connsiteX12" fmla="*/ 597693 w 707231"/>
                    <a:gd name="connsiteY12" fmla="*/ 438150 h 1031082"/>
                    <a:gd name="connsiteX13" fmla="*/ 604837 w 707231"/>
                    <a:gd name="connsiteY13" fmla="*/ 350044 h 1031082"/>
                    <a:gd name="connsiteX14" fmla="*/ 614362 w 707231"/>
                    <a:gd name="connsiteY14" fmla="*/ 295275 h 1031082"/>
                    <a:gd name="connsiteX15" fmla="*/ 671512 w 707231"/>
                    <a:gd name="connsiteY15" fmla="*/ 219075 h 1031082"/>
                    <a:gd name="connsiteX16" fmla="*/ 707231 w 707231"/>
                    <a:gd name="connsiteY16" fmla="*/ 147637 h 1031082"/>
                    <a:gd name="connsiteX17" fmla="*/ 697706 w 707231"/>
                    <a:gd name="connsiteY17" fmla="*/ 97631 h 1031082"/>
                    <a:gd name="connsiteX18" fmla="*/ 702468 w 707231"/>
                    <a:gd name="connsiteY18" fmla="*/ 35719 h 1031082"/>
                    <a:gd name="connsiteX19" fmla="*/ 628650 w 707231"/>
                    <a:gd name="connsiteY19" fmla="*/ 0 h 1031082"/>
                    <a:gd name="connsiteX20" fmla="*/ 600075 w 707231"/>
                    <a:gd name="connsiteY20" fmla="*/ 28575 h 1031082"/>
                    <a:gd name="connsiteX21" fmla="*/ 597693 w 707231"/>
                    <a:gd name="connsiteY21" fmla="*/ 69056 h 1031082"/>
                    <a:gd name="connsiteX22" fmla="*/ 583406 w 707231"/>
                    <a:gd name="connsiteY22" fmla="*/ 88106 h 1031082"/>
                    <a:gd name="connsiteX23" fmla="*/ 523875 w 707231"/>
                    <a:gd name="connsiteY23" fmla="*/ 95250 h 1031082"/>
                    <a:gd name="connsiteX24" fmla="*/ 509587 w 707231"/>
                    <a:gd name="connsiteY24" fmla="*/ 135731 h 1031082"/>
                    <a:gd name="connsiteX25" fmla="*/ 478631 w 707231"/>
                    <a:gd name="connsiteY25" fmla="*/ 128587 h 1031082"/>
                    <a:gd name="connsiteX26" fmla="*/ 466725 w 707231"/>
                    <a:gd name="connsiteY26" fmla="*/ 154781 h 1031082"/>
                    <a:gd name="connsiteX27" fmla="*/ 431006 w 707231"/>
                    <a:gd name="connsiteY27" fmla="*/ 147637 h 1031082"/>
                    <a:gd name="connsiteX28" fmla="*/ 376237 w 707231"/>
                    <a:gd name="connsiteY28" fmla="*/ 169069 h 1031082"/>
                    <a:gd name="connsiteX29" fmla="*/ 319087 w 707231"/>
                    <a:gd name="connsiteY29" fmla="*/ 166687 h 1031082"/>
                    <a:gd name="connsiteX30" fmla="*/ 307181 w 707231"/>
                    <a:gd name="connsiteY30" fmla="*/ 135731 h 1031082"/>
                    <a:gd name="connsiteX31" fmla="*/ 273843 w 707231"/>
                    <a:gd name="connsiteY31" fmla="*/ 147637 h 1031082"/>
                    <a:gd name="connsiteX32" fmla="*/ 178593 w 707231"/>
                    <a:gd name="connsiteY32" fmla="*/ 173831 h 1031082"/>
                    <a:gd name="connsiteX33" fmla="*/ 188118 w 707231"/>
                    <a:gd name="connsiteY33" fmla="*/ 202406 h 1031082"/>
                    <a:gd name="connsiteX34" fmla="*/ 195262 w 707231"/>
                    <a:gd name="connsiteY34" fmla="*/ 233362 h 1031082"/>
                    <a:gd name="connsiteX35" fmla="*/ 142875 w 707231"/>
                    <a:gd name="connsiteY35" fmla="*/ 338137 h 1031082"/>
                    <a:gd name="connsiteX36" fmla="*/ 57150 w 707231"/>
                    <a:gd name="connsiteY36" fmla="*/ 323850 h 1031082"/>
                    <a:gd name="connsiteX37" fmla="*/ 11906 w 707231"/>
                    <a:gd name="connsiteY37" fmla="*/ 347662 h 1031082"/>
                    <a:gd name="connsiteX38" fmla="*/ 0 w 707231"/>
                    <a:gd name="connsiteY38" fmla="*/ 400050 h 1031082"/>
                    <a:gd name="connsiteX39" fmla="*/ 14287 w 707231"/>
                    <a:gd name="connsiteY39" fmla="*/ 476250 h 1031082"/>
                    <a:gd name="connsiteX40" fmla="*/ 11906 w 707231"/>
                    <a:gd name="connsiteY40" fmla="*/ 519112 h 1031082"/>
                    <a:gd name="connsiteX41" fmla="*/ 0 w 707231"/>
                    <a:gd name="connsiteY41" fmla="*/ 550069 h 1031082"/>
                    <a:gd name="connsiteX42" fmla="*/ 11906 w 707231"/>
                    <a:gd name="connsiteY42" fmla="*/ 561975 h 1031082"/>
                    <a:gd name="connsiteX43" fmla="*/ 30956 w 707231"/>
                    <a:gd name="connsiteY43" fmla="*/ 592931 h 1031082"/>
                    <a:gd name="connsiteX44" fmla="*/ 97631 w 707231"/>
                    <a:gd name="connsiteY44" fmla="*/ 609600 h 1031082"/>
                    <a:gd name="connsiteX45" fmla="*/ 104775 w 707231"/>
                    <a:gd name="connsiteY45" fmla="*/ 676275 h 1031082"/>
                    <a:gd name="connsiteX46" fmla="*/ 90487 w 707231"/>
                    <a:gd name="connsiteY46" fmla="*/ 728662 h 1031082"/>
                    <a:gd name="connsiteX47" fmla="*/ 80962 w 707231"/>
                    <a:gd name="connsiteY47" fmla="*/ 747712 h 1031082"/>
                    <a:gd name="connsiteX48" fmla="*/ 80962 w 707231"/>
                    <a:gd name="connsiteY48" fmla="*/ 781050 h 1031082"/>
                    <a:gd name="connsiteX49" fmla="*/ 109537 w 707231"/>
                    <a:gd name="connsiteY49" fmla="*/ 819150 h 1031082"/>
                    <a:gd name="connsiteX50" fmla="*/ 102393 w 707231"/>
                    <a:gd name="connsiteY50" fmla="*/ 869156 h 1031082"/>
                    <a:gd name="connsiteX51" fmla="*/ 83343 w 707231"/>
                    <a:gd name="connsiteY51" fmla="*/ 890587 h 1031082"/>
                    <a:gd name="connsiteX52" fmla="*/ 85725 w 707231"/>
                    <a:gd name="connsiteY52" fmla="*/ 954881 h 1031082"/>
                    <a:gd name="connsiteX53" fmla="*/ 92868 w 707231"/>
                    <a:gd name="connsiteY53" fmla="*/ 966787 h 1031082"/>
                    <a:gd name="connsiteX54" fmla="*/ 71437 w 707231"/>
                    <a:gd name="connsiteY54" fmla="*/ 1031081 h 1031082"/>
                    <a:gd name="connsiteX0" fmla="*/ 71437 w 707231"/>
                    <a:gd name="connsiteY0" fmla="*/ 1031081 h 1059657"/>
                    <a:gd name="connsiteX1" fmla="*/ 114299 w 707231"/>
                    <a:gd name="connsiteY1" fmla="*/ 1059657 h 1059657"/>
                    <a:gd name="connsiteX2" fmla="*/ 154781 w 707231"/>
                    <a:gd name="connsiteY2" fmla="*/ 1026319 h 1059657"/>
                    <a:gd name="connsiteX3" fmla="*/ 200025 w 707231"/>
                    <a:gd name="connsiteY3" fmla="*/ 1012031 h 1059657"/>
                    <a:gd name="connsiteX4" fmla="*/ 247650 w 707231"/>
                    <a:gd name="connsiteY4" fmla="*/ 969169 h 1059657"/>
                    <a:gd name="connsiteX5" fmla="*/ 276225 w 707231"/>
                    <a:gd name="connsiteY5" fmla="*/ 912019 h 1059657"/>
                    <a:gd name="connsiteX6" fmla="*/ 350043 w 707231"/>
                    <a:gd name="connsiteY6" fmla="*/ 871537 h 1059657"/>
                    <a:gd name="connsiteX7" fmla="*/ 411956 w 707231"/>
                    <a:gd name="connsiteY7" fmla="*/ 823912 h 1059657"/>
                    <a:gd name="connsiteX8" fmla="*/ 411956 w 707231"/>
                    <a:gd name="connsiteY8" fmla="*/ 781050 h 1059657"/>
                    <a:gd name="connsiteX9" fmla="*/ 471487 w 707231"/>
                    <a:gd name="connsiteY9" fmla="*/ 671512 h 1059657"/>
                    <a:gd name="connsiteX10" fmla="*/ 547687 w 707231"/>
                    <a:gd name="connsiteY10" fmla="*/ 642937 h 1059657"/>
                    <a:gd name="connsiteX11" fmla="*/ 595312 w 707231"/>
                    <a:gd name="connsiteY11" fmla="*/ 592931 h 1059657"/>
                    <a:gd name="connsiteX12" fmla="*/ 597693 w 707231"/>
                    <a:gd name="connsiteY12" fmla="*/ 438150 h 1059657"/>
                    <a:gd name="connsiteX13" fmla="*/ 604837 w 707231"/>
                    <a:gd name="connsiteY13" fmla="*/ 350044 h 1059657"/>
                    <a:gd name="connsiteX14" fmla="*/ 614362 w 707231"/>
                    <a:gd name="connsiteY14" fmla="*/ 295275 h 1059657"/>
                    <a:gd name="connsiteX15" fmla="*/ 671512 w 707231"/>
                    <a:gd name="connsiteY15" fmla="*/ 219075 h 1059657"/>
                    <a:gd name="connsiteX16" fmla="*/ 707231 w 707231"/>
                    <a:gd name="connsiteY16" fmla="*/ 147637 h 1059657"/>
                    <a:gd name="connsiteX17" fmla="*/ 697706 w 707231"/>
                    <a:gd name="connsiteY17" fmla="*/ 97631 h 1059657"/>
                    <a:gd name="connsiteX18" fmla="*/ 702468 w 707231"/>
                    <a:gd name="connsiteY18" fmla="*/ 35719 h 1059657"/>
                    <a:gd name="connsiteX19" fmla="*/ 628650 w 707231"/>
                    <a:gd name="connsiteY19" fmla="*/ 0 h 1059657"/>
                    <a:gd name="connsiteX20" fmla="*/ 600075 w 707231"/>
                    <a:gd name="connsiteY20" fmla="*/ 28575 h 1059657"/>
                    <a:gd name="connsiteX21" fmla="*/ 597693 w 707231"/>
                    <a:gd name="connsiteY21" fmla="*/ 69056 h 1059657"/>
                    <a:gd name="connsiteX22" fmla="*/ 583406 w 707231"/>
                    <a:gd name="connsiteY22" fmla="*/ 88106 h 1059657"/>
                    <a:gd name="connsiteX23" fmla="*/ 523875 w 707231"/>
                    <a:gd name="connsiteY23" fmla="*/ 95250 h 1059657"/>
                    <a:gd name="connsiteX24" fmla="*/ 509587 w 707231"/>
                    <a:gd name="connsiteY24" fmla="*/ 135731 h 1059657"/>
                    <a:gd name="connsiteX25" fmla="*/ 478631 w 707231"/>
                    <a:gd name="connsiteY25" fmla="*/ 128587 h 1059657"/>
                    <a:gd name="connsiteX26" fmla="*/ 466725 w 707231"/>
                    <a:gd name="connsiteY26" fmla="*/ 154781 h 1059657"/>
                    <a:gd name="connsiteX27" fmla="*/ 431006 w 707231"/>
                    <a:gd name="connsiteY27" fmla="*/ 147637 h 1059657"/>
                    <a:gd name="connsiteX28" fmla="*/ 376237 w 707231"/>
                    <a:gd name="connsiteY28" fmla="*/ 169069 h 1059657"/>
                    <a:gd name="connsiteX29" fmla="*/ 319087 w 707231"/>
                    <a:gd name="connsiteY29" fmla="*/ 166687 h 1059657"/>
                    <a:gd name="connsiteX30" fmla="*/ 307181 w 707231"/>
                    <a:gd name="connsiteY30" fmla="*/ 135731 h 1059657"/>
                    <a:gd name="connsiteX31" fmla="*/ 273843 w 707231"/>
                    <a:gd name="connsiteY31" fmla="*/ 147637 h 1059657"/>
                    <a:gd name="connsiteX32" fmla="*/ 178593 w 707231"/>
                    <a:gd name="connsiteY32" fmla="*/ 173831 h 1059657"/>
                    <a:gd name="connsiteX33" fmla="*/ 188118 w 707231"/>
                    <a:gd name="connsiteY33" fmla="*/ 202406 h 1059657"/>
                    <a:gd name="connsiteX34" fmla="*/ 195262 w 707231"/>
                    <a:gd name="connsiteY34" fmla="*/ 233362 h 1059657"/>
                    <a:gd name="connsiteX35" fmla="*/ 142875 w 707231"/>
                    <a:gd name="connsiteY35" fmla="*/ 338137 h 1059657"/>
                    <a:gd name="connsiteX36" fmla="*/ 57150 w 707231"/>
                    <a:gd name="connsiteY36" fmla="*/ 323850 h 1059657"/>
                    <a:gd name="connsiteX37" fmla="*/ 11906 w 707231"/>
                    <a:gd name="connsiteY37" fmla="*/ 347662 h 1059657"/>
                    <a:gd name="connsiteX38" fmla="*/ 0 w 707231"/>
                    <a:gd name="connsiteY38" fmla="*/ 400050 h 1059657"/>
                    <a:gd name="connsiteX39" fmla="*/ 14287 w 707231"/>
                    <a:gd name="connsiteY39" fmla="*/ 476250 h 1059657"/>
                    <a:gd name="connsiteX40" fmla="*/ 11906 w 707231"/>
                    <a:gd name="connsiteY40" fmla="*/ 519112 h 1059657"/>
                    <a:gd name="connsiteX41" fmla="*/ 0 w 707231"/>
                    <a:gd name="connsiteY41" fmla="*/ 550069 h 1059657"/>
                    <a:gd name="connsiteX42" fmla="*/ 11906 w 707231"/>
                    <a:gd name="connsiteY42" fmla="*/ 561975 h 1059657"/>
                    <a:gd name="connsiteX43" fmla="*/ 30956 w 707231"/>
                    <a:gd name="connsiteY43" fmla="*/ 592931 h 1059657"/>
                    <a:gd name="connsiteX44" fmla="*/ 97631 w 707231"/>
                    <a:gd name="connsiteY44" fmla="*/ 609600 h 1059657"/>
                    <a:gd name="connsiteX45" fmla="*/ 104775 w 707231"/>
                    <a:gd name="connsiteY45" fmla="*/ 676275 h 1059657"/>
                    <a:gd name="connsiteX46" fmla="*/ 90487 w 707231"/>
                    <a:gd name="connsiteY46" fmla="*/ 728662 h 1059657"/>
                    <a:gd name="connsiteX47" fmla="*/ 80962 w 707231"/>
                    <a:gd name="connsiteY47" fmla="*/ 747712 h 1059657"/>
                    <a:gd name="connsiteX48" fmla="*/ 80962 w 707231"/>
                    <a:gd name="connsiteY48" fmla="*/ 781050 h 1059657"/>
                    <a:gd name="connsiteX49" fmla="*/ 109537 w 707231"/>
                    <a:gd name="connsiteY49" fmla="*/ 819150 h 1059657"/>
                    <a:gd name="connsiteX50" fmla="*/ 102393 w 707231"/>
                    <a:gd name="connsiteY50" fmla="*/ 869156 h 1059657"/>
                    <a:gd name="connsiteX51" fmla="*/ 83343 w 707231"/>
                    <a:gd name="connsiteY51" fmla="*/ 890587 h 1059657"/>
                    <a:gd name="connsiteX52" fmla="*/ 85725 w 707231"/>
                    <a:gd name="connsiteY52" fmla="*/ 954881 h 1059657"/>
                    <a:gd name="connsiteX53" fmla="*/ 92868 w 707231"/>
                    <a:gd name="connsiteY53" fmla="*/ 966787 h 1059657"/>
                    <a:gd name="connsiteX54" fmla="*/ 71437 w 707231"/>
                    <a:gd name="connsiteY54" fmla="*/ 1031081 h 1059657"/>
                    <a:gd name="connsiteX0" fmla="*/ 71437 w 707231"/>
                    <a:gd name="connsiteY0" fmla="*/ 1031081 h 1059657"/>
                    <a:gd name="connsiteX1" fmla="*/ 114299 w 707231"/>
                    <a:gd name="connsiteY1" fmla="*/ 1059657 h 1059657"/>
                    <a:gd name="connsiteX2" fmla="*/ 164306 w 707231"/>
                    <a:gd name="connsiteY2" fmla="*/ 1033462 h 1059657"/>
                    <a:gd name="connsiteX3" fmla="*/ 200025 w 707231"/>
                    <a:gd name="connsiteY3" fmla="*/ 1012031 h 1059657"/>
                    <a:gd name="connsiteX4" fmla="*/ 247650 w 707231"/>
                    <a:gd name="connsiteY4" fmla="*/ 969169 h 1059657"/>
                    <a:gd name="connsiteX5" fmla="*/ 276225 w 707231"/>
                    <a:gd name="connsiteY5" fmla="*/ 912019 h 1059657"/>
                    <a:gd name="connsiteX6" fmla="*/ 350043 w 707231"/>
                    <a:gd name="connsiteY6" fmla="*/ 871537 h 1059657"/>
                    <a:gd name="connsiteX7" fmla="*/ 411956 w 707231"/>
                    <a:gd name="connsiteY7" fmla="*/ 823912 h 1059657"/>
                    <a:gd name="connsiteX8" fmla="*/ 411956 w 707231"/>
                    <a:gd name="connsiteY8" fmla="*/ 781050 h 1059657"/>
                    <a:gd name="connsiteX9" fmla="*/ 471487 w 707231"/>
                    <a:gd name="connsiteY9" fmla="*/ 671512 h 1059657"/>
                    <a:gd name="connsiteX10" fmla="*/ 547687 w 707231"/>
                    <a:gd name="connsiteY10" fmla="*/ 642937 h 1059657"/>
                    <a:gd name="connsiteX11" fmla="*/ 595312 w 707231"/>
                    <a:gd name="connsiteY11" fmla="*/ 592931 h 1059657"/>
                    <a:gd name="connsiteX12" fmla="*/ 597693 w 707231"/>
                    <a:gd name="connsiteY12" fmla="*/ 438150 h 1059657"/>
                    <a:gd name="connsiteX13" fmla="*/ 604837 w 707231"/>
                    <a:gd name="connsiteY13" fmla="*/ 350044 h 1059657"/>
                    <a:gd name="connsiteX14" fmla="*/ 614362 w 707231"/>
                    <a:gd name="connsiteY14" fmla="*/ 295275 h 1059657"/>
                    <a:gd name="connsiteX15" fmla="*/ 671512 w 707231"/>
                    <a:gd name="connsiteY15" fmla="*/ 219075 h 1059657"/>
                    <a:gd name="connsiteX16" fmla="*/ 707231 w 707231"/>
                    <a:gd name="connsiteY16" fmla="*/ 147637 h 1059657"/>
                    <a:gd name="connsiteX17" fmla="*/ 697706 w 707231"/>
                    <a:gd name="connsiteY17" fmla="*/ 97631 h 1059657"/>
                    <a:gd name="connsiteX18" fmla="*/ 702468 w 707231"/>
                    <a:gd name="connsiteY18" fmla="*/ 35719 h 1059657"/>
                    <a:gd name="connsiteX19" fmla="*/ 628650 w 707231"/>
                    <a:gd name="connsiteY19" fmla="*/ 0 h 1059657"/>
                    <a:gd name="connsiteX20" fmla="*/ 600075 w 707231"/>
                    <a:gd name="connsiteY20" fmla="*/ 28575 h 1059657"/>
                    <a:gd name="connsiteX21" fmla="*/ 597693 w 707231"/>
                    <a:gd name="connsiteY21" fmla="*/ 69056 h 1059657"/>
                    <a:gd name="connsiteX22" fmla="*/ 583406 w 707231"/>
                    <a:gd name="connsiteY22" fmla="*/ 88106 h 1059657"/>
                    <a:gd name="connsiteX23" fmla="*/ 523875 w 707231"/>
                    <a:gd name="connsiteY23" fmla="*/ 95250 h 1059657"/>
                    <a:gd name="connsiteX24" fmla="*/ 509587 w 707231"/>
                    <a:gd name="connsiteY24" fmla="*/ 135731 h 1059657"/>
                    <a:gd name="connsiteX25" fmla="*/ 478631 w 707231"/>
                    <a:gd name="connsiteY25" fmla="*/ 128587 h 1059657"/>
                    <a:gd name="connsiteX26" fmla="*/ 466725 w 707231"/>
                    <a:gd name="connsiteY26" fmla="*/ 154781 h 1059657"/>
                    <a:gd name="connsiteX27" fmla="*/ 431006 w 707231"/>
                    <a:gd name="connsiteY27" fmla="*/ 147637 h 1059657"/>
                    <a:gd name="connsiteX28" fmla="*/ 376237 w 707231"/>
                    <a:gd name="connsiteY28" fmla="*/ 169069 h 1059657"/>
                    <a:gd name="connsiteX29" fmla="*/ 319087 w 707231"/>
                    <a:gd name="connsiteY29" fmla="*/ 166687 h 1059657"/>
                    <a:gd name="connsiteX30" fmla="*/ 307181 w 707231"/>
                    <a:gd name="connsiteY30" fmla="*/ 135731 h 1059657"/>
                    <a:gd name="connsiteX31" fmla="*/ 273843 w 707231"/>
                    <a:gd name="connsiteY31" fmla="*/ 147637 h 1059657"/>
                    <a:gd name="connsiteX32" fmla="*/ 178593 w 707231"/>
                    <a:gd name="connsiteY32" fmla="*/ 173831 h 1059657"/>
                    <a:gd name="connsiteX33" fmla="*/ 188118 w 707231"/>
                    <a:gd name="connsiteY33" fmla="*/ 202406 h 1059657"/>
                    <a:gd name="connsiteX34" fmla="*/ 195262 w 707231"/>
                    <a:gd name="connsiteY34" fmla="*/ 233362 h 1059657"/>
                    <a:gd name="connsiteX35" fmla="*/ 142875 w 707231"/>
                    <a:gd name="connsiteY35" fmla="*/ 338137 h 1059657"/>
                    <a:gd name="connsiteX36" fmla="*/ 57150 w 707231"/>
                    <a:gd name="connsiteY36" fmla="*/ 323850 h 1059657"/>
                    <a:gd name="connsiteX37" fmla="*/ 11906 w 707231"/>
                    <a:gd name="connsiteY37" fmla="*/ 347662 h 1059657"/>
                    <a:gd name="connsiteX38" fmla="*/ 0 w 707231"/>
                    <a:gd name="connsiteY38" fmla="*/ 400050 h 1059657"/>
                    <a:gd name="connsiteX39" fmla="*/ 14287 w 707231"/>
                    <a:gd name="connsiteY39" fmla="*/ 476250 h 1059657"/>
                    <a:gd name="connsiteX40" fmla="*/ 11906 w 707231"/>
                    <a:gd name="connsiteY40" fmla="*/ 519112 h 1059657"/>
                    <a:gd name="connsiteX41" fmla="*/ 0 w 707231"/>
                    <a:gd name="connsiteY41" fmla="*/ 550069 h 1059657"/>
                    <a:gd name="connsiteX42" fmla="*/ 11906 w 707231"/>
                    <a:gd name="connsiteY42" fmla="*/ 561975 h 1059657"/>
                    <a:gd name="connsiteX43" fmla="*/ 30956 w 707231"/>
                    <a:gd name="connsiteY43" fmla="*/ 592931 h 1059657"/>
                    <a:gd name="connsiteX44" fmla="*/ 97631 w 707231"/>
                    <a:gd name="connsiteY44" fmla="*/ 609600 h 1059657"/>
                    <a:gd name="connsiteX45" fmla="*/ 104775 w 707231"/>
                    <a:gd name="connsiteY45" fmla="*/ 676275 h 1059657"/>
                    <a:gd name="connsiteX46" fmla="*/ 90487 w 707231"/>
                    <a:gd name="connsiteY46" fmla="*/ 728662 h 1059657"/>
                    <a:gd name="connsiteX47" fmla="*/ 80962 w 707231"/>
                    <a:gd name="connsiteY47" fmla="*/ 747712 h 1059657"/>
                    <a:gd name="connsiteX48" fmla="*/ 80962 w 707231"/>
                    <a:gd name="connsiteY48" fmla="*/ 781050 h 1059657"/>
                    <a:gd name="connsiteX49" fmla="*/ 109537 w 707231"/>
                    <a:gd name="connsiteY49" fmla="*/ 819150 h 1059657"/>
                    <a:gd name="connsiteX50" fmla="*/ 102393 w 707231"/>
                    <a:gd name="connsiteY50" fmla="*/ 869156 h 1059657"/>
                    <a:gd name="connsiteX51" fmla="*/ 83343 w 707231"/>
                    <a:gd name="connsiteY51" fmla="*/ 890587 h 1059657"/>
                    <a:gd name="connsiteX52" fmla="*/ 85725 w 707231"/>
                    <a:gd name="connsiteY52" fmla="*/ 954881 h 1059657"/>
                    <a:gd name="connsiteX53" fmla="*/ 92868 w 707231"/>
                    <a:gd name="connsiteY53" fmla="*/ 966787 h 1059657"/>
                    <a:gd name="connsiteX54" fmla="*/ 71437 w 707231"/>
                    <a:gd name="connsiteY54" fmla="*/ 1031081 h 1059657"/>
                    <a:gd name="connsiteX0" fmla="*/ 71437 w 707231"/>
                    <a:gd name="connsiteY0" fmla="*/ 1031081 h 1054894"/>
                    <a:gd name="connsiteX1" fmla="*/ 102393 w 707231"/>
                    <a:gd name="connsiteY1" fmla="*/ 1054894 h 1054894"/>
                    <a:gd name="connsiteX2" fmla="*/ 164306 w 707231"/>
                    <a:gd name="connsiteY2" fmla="*/ 1033462 h 1054894"/>
                    <a:gd name="connsiteX3" fmla="*/ 200025 w 707231"/>
                    <a:gd name="connsiteY3" fmla="*/ 1012031 h 1054894"/>
                    <a:gd name="connsiteX4" fmla="*/ 247650 w 707231"/>
                    <a:gd name="connsiteY4" fmla="*/ 969169 h 1054894"/>
                    <a:gd name="connsiteX5" fmla="*/ 276225 w 707231"/>
                    <a:gd name="connsiteY5" fmla="*/ 912019 h 1054894"/>
                    <a:gd name="connsiteX6" fmla="*/ 350043 w 707231"/>
                    <a:gd name="connsiteY6" fmla="*/ 871537 h 1054894"/>
                    <a:gd name="connsiteX7" fmla="*/ 411956 w 707231"/>
                    <a:gd name="connsiteY7" fmla="*/ 823912 h 1054894"/>
                    <a:gd name="connsiteX8" fmla="*/ 411956 w 707231"/>
                    <a:gd name="connsiteY8" fmla="*/ 781050 h 1054894"/>
                    <a:gd name="connsiteX9" fmla="*/ 471487 w 707231"/>
                    <a:gd name="connsiteY9" fmla="*/ 671512 h 1054894"/>
                    <a:gd name="connsiteX10" fmla="*/ 547687 w 707231"/>
                    <a:gd name="connsiteY10" fmla="*/ 642937 h 1054894"/>
                    <a:gd name="connsiteX11" fmla="*/ 595312 w 707231"/>
                    <a:gd name="connsiteY11" fmla="*/ 592931 h 1054894"/>
                    <a:gd name="connsiteX12" fmla="*/ 597693 w 707231"/>
                    <a:gd name="connsiteY12" fmla="*/ 438150 h 1054894"/>
                    <a:gd name="connsiteX13" fmla="*/ 604837 w 707231"/>
                    <a:gd name="connsiteY13" fmla="*/ 350044 h 1054894"/>
                    <a:gd name="connsiteX14" fmla="*/ 614362 w 707231"/>
                    <a:gd name="connsiteY14" fmla="*/ 295275 h 1054894"/>
                    <a:gd name="connsiteX15" fmla="*/ 671512 w 707231"/>
                    <a:gd name="connsiteY15" fmla="*/ 219075 h 1054894"/>
                    <a:gd name="connsiteX16" fmla="*/ 707231 w 707231"/>
                    <a:gd name="connsiteY16" fmla="*/ 147637 h 1054894"/>
                    <a:gd name="connsiteX17" fmla="*/ 697706 w 707231"/>
                    <a:gd name="connsiteY17" fmla="*/ 97631 h 1054894"/>
                    <a:gd name="connsiteX18" fmla="*/ 702468 w 707231"/>
                    <a:gd name="connsiteY18" fmla="*/ 35719 h 1054894"/>
                    <a:gd name="connsiteX19" fmla="*/ 628650 w 707231"/>
                    <a:gd name="connsiteY19" fmla="*/ 0 h 1054894"/>
                    <a:gd name="connsiteX20" fmla="*/ 600075 w 707231"/>
                    <a:gd name="connsiteY20" fmla="*/ 28575 h 1054894"/>
                    <a:gd name="connsiteX21" fmla="*/ 597693 w 707231"/>
                    <a:gd name="connsiteY21" fmla="*/ 69056 h 1054894"/>
                    <a:gd name="connsiteX22" fmla="*/ 583406 w 707231"/>
                    <a:gd name="connsiteY22" fmla="*/ 88106 h 1054894"/>
                    <a:gd name="connsiteX23" fmla="*/ 523875 w 707231"/>
                    <a:gd name="connsiteY23" fmla="*/ 95250 h 1054894"/>
                    <a:gd name="connsiteX24" fmla="*/ 509587 w 707231"/>
                    <a:gd name="connsiteY24" fmla="*/ 135731 h 1054894"/>
                    <a:gd name="connsiteX25" fmla="*/ 478631 w 707231"/>
                    <a:gd name="connsiteY25" fmla="*/ 128587 h 1054894"/>
                    <a:gd name="connsiteX26" fmla="*/ 466725 w 707231"/>
                    <a:gd name="connsiteY26" fmla="*/ 154781 h 1054894"/>
                    <a:gd name="connsiteX27" fmla="*/ 431006 w 707231"/>
                    <a:gd name="connsiteY27" fmla="*/ 147637 h 1054894"/>
                    <a:gd name="connsiteX28" fmla="*/ 376237 w 707231"/>
                    <a:gd name="connsiteY28" fmla="*/ 169069 h 1054894"/>
                    <a:gd name="connsiteX29" fmla="*/ 319087 w 707231"/>
                    <a:gd name="connsiteY29" fmla="*/ 166687 h 1054894"/>
                    <a:gd name="connsiteX30" fmla="*/ 307181 w 707231"/>
                    <a:gd name="connsiteY30" fmla="*/ 135731 h 1054894"/>
                    <a:gd name="connsiteX31" fmla="*/ 273843 w 707231"/>
                    <a:gd name="connsiteY31" fmla="*/ 147637 h 1054894"/>
                    <a:gd name="connsiteX32" fmla="*/ 178593 w 707231"/>
                    <a:gd name="connsiteY32" fmla="*/ 173831 h 1054894"/>
                    <a:gd name="connsiteX33" fmla="*/ 188118 w 707231"/>
                    <a:gd name="connsiteY33" fmla="*/ 202406 h 1054894"/>
                    <a:gd name="connsiteX34" fmla="*/ 195262 w 707231"/>
                    <a:gd name="connsiteY34" fmla="*/ 233362 h 1054894"/>
                    <a:gd name="connsiteX35" fmla="*/ 142875 w 707231"/>
                    <a:gd name="connsiteY35" fmla="*/ 338137 h 1054894"/>
                    <a:gd name="connsiteX36" fmla="*/ 57150 w 707231"/>
                    <a:gd name="connsiteY36" fmla="*/ 323850 h 1054894"/>
                    <a:gd name="connsiteX37" fmla="*/ 11906 w 707231"/>
                    <a:gd name="connsiteY37" fmla="*/ 347662 h 1054894"/>
                    <a:gd name="connsiteX38" fmla="*/ 0 w 707231"/>
                    <a:gd name="connsiteY38" fmla="*/ 400050 h 1054894"/>
                    <a:gd name="connsiteX39" fmla="*/ 14287 w 707231"/>
                    <a:gd name="connsiteY39" fmla="*/ 476250 h 1054894"/>
                    <a:gd name="connsiteX40" fmla="*/ 11906 w 707231"/>
                    <a:gd name="connsiteY40" fmla="*/ 519112 h 1054894"/>
                    <a:gd name="connsiteX41" fmla="*/ 0 w 707231"/>
                    <a:gd name="connsiteY41" fmla="*/ 550069 h 1054894"/>
                    <a:gd name="connsiteX42" fmla="*/ 11906 w 707231"/>
                    <a:gd name="connsiteY42" fmla="*/ 561975 h 1054894"/>
                    <a:gd name="connsiteX43" fmla="*/ 30956 w 707231"/>
                    <a:gd name="connsiteY43" fmla="*/ 592931 h 1054894"/>
                    <a:gd name="connsiteX44" fmla="*/ 97631 w 707231"/>
                    <a:gd name="connsiteY44" fmla="*/ 609600 h 1054894"/>
                    <a:gd name="connsiteX45" fmla="*/ 104775 w 707231"/>
                    <a:gd name="connsiteY45" fmla="*/ 676275 h 1054894"/>
                    <a:gd name="connsiteX46" fmla="*/ 90487 w 707231"/>
                    <a:gd name="connsiteY46" fmla="*/ 728662 h 1054894"/>
                    <a:gd name="connsiteX47" fmla="*/ 80962 w 707231"/>
                    <a:gd name="connsiteY47" fmla="*/ 747712 h 1054894"/>
                    <a:gd name="connsiteX48" fmla="*/ 80962 w 707231"/>
                    <a:gd name="connsiteY48" fmla="*/ 781050 h 1054894"/>
                    <a:gd name="connsiteX49" fmla="*/ 109537 w 707231"/>
                    <a:gd name="connsiteY49" fmla="*/ 819150 h 1054894"/>
                    <a:gd name="connsiteX50" fmla="*/ 102393 w 707231"/>
                    <a:gd name="connsiteY50" fmla="*/ 869156 h 1054894"/>
                    <a:gd name="connsiteX51" fmla="*/ 83343 w 707231"/>
                    <a:gd name="connsiteY51" fmla="*/ 890587 h 1054894"/>
                    <a:gd name="connsiteX52" fmla="*/ 85725 w 707231"/>
                    <a:gd name="connsiteY52" fmla="*/ 954881 h 1054894"/>
                    <a:gd name="connsiteX53" fmla="*/ 92868 w 707231"/>
                    <a:gd name="connsiteY53" fmla="*/ 966787 h 1054894"/>
                    <a:gd name="connsiteX54" fmla="*/ 71437 w 707231"/>
                    <a:gd name="connsiteY54" fmla="*/ 1031081 h 1054894"/>
                    <a:gd name="connsiteX0" fmla="*/ 71437 w 707231"/>
                    <a:gd name="connsiteY0" fmla="*/ 1031081 h 1055124"/>
                    <a:gd name="connsiteX1" fmla="*/ 102393 w 707231"/>
                    <a:gd name="connsiteY1" fmla="*/ 1054894 h 1055124"/>
                    <a:gd name="connsiteX2" fmla="*/ 164306 w 707231"/>
                    <a:gd name="connsiteY2" fmla="*/ 1033462 h 1055124"/>
                    <a:gd name="connsiteX3" fmla="*/ 200025 w 707231"/>
                    <a:gd name="connsiteY3" fmla="*/ 1012031 h 1055124"/>
                    <a:gd name="connsiteX4" fmla="*/ 247650 w 707231"/>
                    <a:gd name="connsiteY4" fmla="*/ 969169 h 1055124"/>
                    <a:gd name="connsiteX5" fmla="*/ 276225 w 707231"/>
                    <a:gd name="connsiteY5" fmla="*/ 912019 h 1055124"/>
                    <a:gd name="connsiteX6" fmla="*/ 350043 w 707231"/>
                    <a:gd name="connsiteY6" fmla="*/ 871537 h 1055124"/>
                    <a:gd name="connsiteX7" fmla="*/ 411956 w 707231"/>
                    <a:gd name="connsiteY7" fmla="*/ 823912 h 1055124"/>
                    <a:gd name="connsiteX8" fmla="*/ 411956 w 707231"/>
                    <a:gd name="connsiteY8" fmla="*/ 781050 h 1055124"/>
                    <a:gd name="connsiteX9" fmla="*/ 471487 w 707231"/>
                    <a:gd name="connsiteY9" fmla="*/ 671512 h 1055124"/>
                    <a:gd name="connsiteX10" fmla="*/ 547687 w 707231"/>
                    <a:gd name="connsiteY10" fmla="*/ 642937 h 1055124"/>
                    <a:gd name="connsiteX11" fmla="*/ 595312 w 707231"/>
                    <a:gd name="connsiteY11" fmla="*/ 592931 h 1055124"/>
                    <a:gd name="connsiteX12" fmla="*/ 597693 w 707231"/>
                    <a:gd name="connsiteY12" fmla="*/ 438150 h 1055124"/>
                    <a:gd name="connsiteX13" fmla="*/ 604837 w 707231"/>
                    <a:gd name="connsiteY13" fmla="*/ 350044 h 1055124"/>
                    <a:gd name="connsiteX14" fmla="*/ 614362 w 707231"/>
                    <a:gd name="connsiteY14" fmla="*/ 295275 h 1055124"/>
                    <a:gd name="connsiteX15" fmla="*/ 671512 w 707231"/>
                    <a:gd name="connsiteY15" fmla="*/ 219075 h 1055124"/>
                    <a:gd name="connsiteX16" fmla="*/ 707231 w 707231"/>
                    <a:gd name="connsiteY16" fmla="*/ 147637 h 1055124"/>
                    <a:gd name="connsiteX17" fmla="*/ 697706 w 707231"/>
                    <a:gd name="connsiteY17" fmla="*/ 97631 h 1055124"/>
                    <a:gd name="connsiteX18" fmla="*/ 702468 w 707231"/>
                    <a:gd name="connsiteY18" fmla="*/ 35719 h 1055124"/>
                    <a:gd name="connsiteX19" fmla="*/ 628650 w 707231"/>
                    <a:gd name="connsiteY19" fmla="*/ 0 h 1055124"/>
                    <a:gd name="connsiteX20" fmla="*/ 600075 w 707231"/>
                    <a:gd name="connsiteY20" fmla="*/ 28575 h 1055124"/>
                    <a:gd name="connsiteX21" fmla="*/ 597693 w 707231"/>
                    <a:gd name="connsiteY21" fmla="*/ 69056 h 1055124"/>
                    <a:gd name="connsiteX22" fmla="*/ 583406 w 707231"/>
                    <a:gd name="connsiteY22" fmla="*/ 88106 h 1055124"/>
                    <a:gd name="connsiteX23" fmla="*/ 523875 w 707231"/>
                    <a:gd name="connsiteY23" fmla="*/ 95250 h 1055124"/>
                    <a:gd name="connsiteX24" fmla="*/ 509587 w 707231"/>
                    <a:gd name="connsiteY24" fmla="*/ 135731 h 1055124"/>
                    <a:gd name="connsiteX25" fmla="*/ 478631 w 707231"/>
                    <a:gd name="connsiteY25" fmla="*/ 128587 h 1055124"/>
                    <a:gd name="connsiteX26" fmla="*/ 466725 w 707231"/>
                    <a:gd name="connsiteY26" fmla="*/ 154781 h 1055124"/>
                    <a:gd name="connsiteX27" fmla="*/ 431006 w 707231"/>
                    <a:gd name="connsiteY27" fmla="*/ 147637 h 1055124"/>
                    <a:gd name="connsiteX28" fmla="*/ 376237 w 707231"/>
                    <a:gd name="connsiteY28" fmla="*/ 169069 h 1055124"/>
                    <a:gd name="connsiteX29" fmla="*/ 319087 w 707231"/>
                    <a:gd name="connsiteY29" fmla="*/ 166687 h 1055124"/>
                    <a:gd name="connsiteX30" fmla="*/ 307181 w 707231"/>
                    <a:gd name="connsiteY30" fmla="*/ 135731 h 1055124"/>
                    <a:gd name="connsiteX31" fmla="*/ 273843 w 707231"/>
                    <a:gd name="connsiteY31" fmla="*/ 147637 h 1055124"/>
                    <a:gd name="connsiteX32" fmla="*/ 178593 w 707231"/>
                    <a:gd name="connsiteY32" fmla="*/ 173831 h 1055124"/>
                    <a:gd name="connsiteX33" fmla="*/ 188118 w 707231"/>
                    <a:gd name="connsiteY33" fmla="*/ 202406 h 1055124"/>
                    <a:gd name="connsiteX34" fmla="*/ 195262 w 707231"/>
                    <a:gd name="connsiteY34" fmla="*/ 233362 h 1055124"/>
                    <a:gd name="connsiteX35" fmla="*/ 142875 w 707231"/>
                    <a:gd name="connsiteY35" fmla="*/ 338137 h 1055124"/>
                    <a:gd name="connsiteX36" fmla="*/ 57150 w 707231"/>
                    <a:gd name="connsiteY36" fmla="*/ 323850 h 1055124"/>
                    <a:gd name="connsiteX37" fmla="*/ 11906 w 707231"/>
                    <a:gd name="connsiteY37" fmla="*/ 347662 h 1055124"/>
                    <a:gd name="connsiteX38" fmla="*/ 0 w 707231"/>
                    <a:gd name="connsiteY38" fmla="*/ 400050 h 1055124"/>
                    <a:gd name="connsiteX39" fmla="*/ 14287 w 707231"/>
                    <a:gd name="connsiteY39" fmla="*/ 476250 h 1055124"/>
                    <a:gd name="connsiteX40" fmla="*/ 11906 w 707231"/>
                    <a:gd name="connsiteY40" fmla="*/ 519112 h 1055124"/>
                    <a:gd name="connsiteX41" fmla="*/ 0 w 707231"/>
                    <a:gd name="connsiteY41" fmla="*/ 550069 h 1055124"/>
                    <a:gd name="connsiteX42" fmla="*/ 11906 w 707231"/>
                    <a:gd name="connsiteY42" fmla="*/ 561975 h 1055124"/>
                    <a:gd name="connsiteX43" fmla="*/ 30956 w 707231"/>
                    <a:gd name="connsiteY43" fmla="*/ 592931 h 1055124"/>
                    <a:gd name="connsiteX44" fmla="*/ 97631 w 707231"/>
                    <a:gd name="connsiteY44" fmla="*/ 609600 h 1055124"/>
                    <a:gd name="connsiteX45" fmla="*/ 104775 w 707231"/>
                    <a:gd name="connsiteY45" fmla="*/ 676275 h 1055124"/>
                    <a:gd name="connsiteX46" fmla="*/ 90487 w 707231"/>
                    <a:gd name="connsiteY46" fmla="*/ 728662 h 1055124"/>
                    <a:gd name="connsiteX47" fmla="*/ 80962 w 707231"/>
                    <a:gd name="connsiteY47" fmla="*/ 747712 h 1055124"/>
                    <a:gd name="connsiteX48" fmla="*/ 80962 w 707231"/>
                    <a:gd name="connsiteY48" fmla="*/ 781050 h 1055124"/>
                    <a:gd name="connsiteX49" fmla="*/ 109537 w 707231"/>
                    <a:gd name="connsiteY49" fmla="*/ 819150 h 1055124"/>
                    <a:gd name="connsiteX50" fmla="*/ 102393 w 707231"/>
                    <a:gd name="connsiteY50" fmla="*/ 869156 h 1055124"/>
                    <a:gd name="connsiteX51" fmla="*/ 83343 w 707231"/>
                    <a:gd name="connsiteY51" fmla="*/ 890587 h 1055124"/>
                    <a:gd name="connsiteX52" fmla="*/ 85725 w 707231"/>
                    <a:gd name="connsiteY52" fmla="*/ 954881 h 1055124"/>
                    <a:gd name="connsiteX53" fmla="*/ 92868 w 707231"/>
                    <a:gd name="connsiteY53" fmla="*/ 966787 h 1055124"/>
                    <a:gd name="connsiteX54" fmla="*/ 71437 w 707231"/>
                    <a:gd name="connsiteY54" fmla="*/ 1031081 h 105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707231" h="1055124">
                      <a:moveTo>
                        <a:pt x="71437" y="1031081"/>
                      </a:moveTo>
                      <a:lnTo>
                        <a:pt x="102393" y="1054894"/>
                      </a:lnTo>
                      <a:cubicBezTo>
                        <a:pt x="127794" y="1057275"/>
                        <a:pt x="143668" y="1040606"/>
                        <a:pt x="164306" y="1033462"/>
                      </a:cubicBezTo>
                      <a:lnTo>
                        <a:pt x="200025" y="1012031"/>
                      </a:lnTo>
                      <a:lnTo>
                        <a:pt x="247650" y="969169"/>
                      </a:lnTo>
                      <a:lnTo>
                        <a:pt x="276225" y="912019"/>
                      </a:lnTo>
                      <a:lnTo>
                        <a:pt x="350043" y="871537"/>
                      </a:lnTo>
                      <a:lnTo>
                        <a:pt x="411956" y="823912"/>
                      </a:lnTo>
                      <a:lnTo>
                        <a:pt x="411956" y="781050"/>
                      </a:lnTo>
                      <a:lnTo>
                        <a:pt x="471487" y="671512"/>
                      </a:lnTo>
                      <a:lnTo>
                        <a:pt x="547687" y="642937"/>
                      </a:lnTo>
                      <a:lnTo>
                        <a:pt x="595312" y="592931"/>
                      </a:lnTo>
                      <a:cubicBezTo>
                        <a:pt x="596106" y="541337"/>
                        <a:pt x="596899" y="489744"/>
                        <a:pt x="597693" y="438150"/>
                      </a:cubicBezTo>
                      <a:lnTo>
                        <a:pt x="604837" y="350044"/>
                      </a:lnTo>
                      <a:lnTo>
                        <a:pt x="614362" y="295275"/>
                      </a:lnTo>
                      <a:lnTo>
                        <a:pt x="671512" y="219075"/>
                      </a:lnTo>
                      <a:lnTo>
                        <a:pt x="707231" y="147637"/>
                      </a:lnTo>
                      <a:lnTo>
                        <a:pt x="697706" y="97631"/>
                      </a:lnTo>
                      <a:lnTo>
                        <a:pt x="702468" y="35719"/>
                      </a:lnTo>
                      <a:lnTo>
                        <a:pt x="628650" y="0"/>
                      </a:lnTo>
                      <a:lnTo>
                        <a:pt x="600075" y="28575"/>
                      </a:lnTo>
                      <a:lnTo>
                        <a:pt x="597693" y="69056"/>
                      </a:lnTo>
                      <a:lnTo>
                        <a:pt x="583406" y="88106"/>
                      </a:lnTo>
                      <a:lnTo>
                        <a:pt x="523875" y="95250"/>
                      </a:lnTo>
                      <a:lnTo>
                        <a:pt x="509587" y="135731"/>
                      </a:lnTo>
                      <a:lnTo>
                        <a:pt x="478631" y="128587"/>
                      </a:lnTo>
                      <a:lnTo>
                        <a:pt x="466725" y="154781"/>
                      </a:lnTo>
                      <a:lnTo>
                        <a:pt x="431006" y="147637"/>
                      </a:lnTo>
                      <a:lnTo>
                        <a:pt x="376237" y="169069"/>
                      </a:lnTo>
                      <a:lnTo>
                        <a:pt x="319087" y="166687"/>
                      </a:lnTo>
                      <a:lnTo>
                        <a:pt x="307181" y="135731"/>
                      </a:lnTo>
                      <a:lnTo>
                        <a:pt x="273843" y="147637"/>
                      </a:lnTo>
                      <a:lnTo>
                        <a:pt x="178593" y="173831"/>
                      </a:lnTo>
                      <a:lnTo>
                        <a:pt x="188118" y="202406"/>
                      </a:lnTo>
                      <a:lnTo>
                        <a:pt x="195262" y="233362"/>
                      </a:lnTo>
                      <a:lnTo>
                        <a:pt x="142875" y="338137"/>
                      </a:lnTo>
                      <a:lnTo>
                        <a:pt x="57150" y="323850"/>
                      </a:lnTo>
                      <a:lnTo>
                        <a:pt x="11906" y="347662"/>
                      </a:lnTo>
                      <a:lnTo>
                        <a:pt x="0" y="400050"/>
                      </a:lnTo>
                      <a:lnTo>
                        <a:pt x="14287" y="476250"/>
                      </a:lnTo>
                      <a:lnTo>
                        <a:pt x="11906" y="519112"/>
                      </a:lnTo>
                      <a:lnTo>
                        <a:pt x="0" y="550069"/>
                      </a:lnTo>
                      <a:lnTo>
                        <a:pt x="11906" y="561975"/>
                      </a:lnTo>
                      <a:lnTo>
                        <a:pt x="30956" y="592931"/>
                      </a:lnTo>
                      <a:lnTo>
                        <a:pt x="97631" y="609600"/>
                      </a:lnTo>
                      <a:lnTo>
                        <a:pt x="104775" y="676275"/>
                      </a:lnTo>
                      <a:lnTo>
                        <a:pt x="90487" y="728662"/>
                      </a:lnTo>
                      <a:lnTo>
                        <a:pt x="80962" y="747712"/>
                      </a:lnTo>
                      <a:lnTo>
                        <a:pt x="80962" y="781050"/>
                      </a:lnTo>
                      <a:lnTo>
                        <a:pt x="109537" y="819150"/>
                      </a:lnTo>
                      <a:lnTo>
                        <a:pt x="102393" y="869156"/>
                      </a:lnTo>
                      <a:lnTo>
                        <a:pt x="83343" y="890587"/>
                      </a:lnTo>
                      <a:lnTo>
                        <a:pt x="85725" y="954881"/>
                      </a:lnTo>
                      <a:lnTo>
                        <a:pt x="92868" y="966787"/>
                      </a:lnTo>
                      <a:lnTo>
                        <a:pt x="71437" y="1031081"/>
                      </a:lnTo>
                      <a:close/>
                    </a:path>
                  </a:pathLst>
                </a:custGeom>
                <a:solidFill>
                  <a:srgbClr val="92D050"/>
                </a:solidFill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388">
                  <a:extLst>
                    <a:ext uri="{FF2B5EF4-FFF2-40B4-BE49-F238E27FC236}">
                      <a16:creationId xmlns:a16="http://schemas.microsoft.com/office/drawing/2014/main" id="{7045F60A-6F50-5354-6B8F-078236F7A23A}"/>
                    </a:ext>
                  </a:extLst>
                </p:cNvPr>
                <p:cNvSpPr/>
                <p:nvPr/>
              </p:nvSpPr>
              <p:spPr>
                <a:xfrm rot="21361704">
                  <a:off x="2903655" y="4393600"/>
                  <a:ext cx="294721" cy="202287"/>
                </a:xfrm>
                <a:custGeom>
                  <a:avLst/>
                  <a:gdLst>
                    <a:gd name="connsiteX0" fmla="*/ 943353 w 943353"/>
                    <a:gd name="connsiteY0" fmla="*/ 0 h 714375"/>
                    <a:gd name="connsiteX1" fmla="*/ 895728 w 943353"/>
                    <a:gd name="connsiteY1" fmla="*/ 42863 h 714375"/>
                    <a:gd name="connsiteX2" fmla="*/ 876678 w 943353"/>
                    <a:gd name="connsiteY2" fmla="*/ 47625 h 714375"/>
                    <a:gd name="connsiteX3" fmla="*/ 843340 w 943353"/>
                    <a:gd name="connsiteY3" fmla="*/ 52388 h 714375"/>
                    <a:gd name="connsiteX4" fmla="*/ 819528 w 943353"/>
                    <a:gd name="connsiteY4" fmla="*/ 71438 h 714375"/>
                    <a:gd name="connsiteX5" fmla="*/ 800478 w 943353"/>
                    <a:gd name="connsiteY5" fmla="*/ 119063 h 714375"/>
                    <a:gd name="connsiteX6" fmla="*/ 790953 w 943353"/>
                    <a:gd name="connsiteY6" fmla="*/ 142875 h 714375"/>
                    <a:gd name="connsiteX7" fmla="*/ 767140 w 943353"/>
                    <a:gd name="connsiteY7" fmla="*/ 161925 h 714375"/>
                    <a:gd name="connsiteX8" fmla="*/ 767140 w 943353"/>
                    <a:gd name="connsiteY8" fmla="*/ 190500 h 714375"/>
                    <a:gd name="connsiteX9" fmla="*/ 790953 w 943353"/>
                    <a:gd name="connsiteY9" fmla="*/ 195263 h 714375"/>
                    <a:gd name="connsiteX10" fmla="*/ 771903 w 943353"/>
                    <a:gd name="connsiteY10" fmla="*/ 223838 h 714375"/>
                    <a:gd name="connsiteX11" fmla="*/ 767140 w 943353"/>
                    <a:gd name="connsiteY11" fmla="*/ 276225 h 714375"/>
                    <a:gd name="connsiteX12" fmla="*/ 767140 w 943353"/>
                    <a:gd name="connsiteY12" fmla="*/ 309563 h 714375"/>
                    <a:gd name="connsiteX13" fmla="*/ 752853 w 943353"/>
                    <a:gd name="connsiteY13" fmla="*/ 319088 h 714375"/>
                    <a:gd name="connsiteX14" fmla="*/ 724278 w 943353"/>
                    <a:gd name="connsiteY14" fmla="*/ 347663 h 714375"/>
                    <a:gd name="connsiteX15" fmla="*/ 700465 w 943353"/>
                    <a:gd name="connsiteY15" fmla="*/ 357188 h 714375"/>
                    <a:gd name="connsiteX16" fmla="*/ 681415 w 943353"/>
                    <a:gd name="connsiteY16" fmla="*/ 357188 h 714375"/>
                    <a:gd name="connsiteX17" fmla="*/ 671890 w 943353"/>
                    <a:gd name="connsiteY17" fmla="*/ 342900 h 714375"/>
                    <a:gd name="connsiteX18" fmla="*/ 648078 w 943353"/>
                    <a:gd name="connsiteY18" fmla="*/ 347663 h 714375"/>
                    <a:gd name="connsiteX19" fmla="*/ 638553 w 943353"/>
                    <a:gd name="connsiteY19" fmla="*/ 385763 h 714375"/>
                    <a:gd name="connsiteX20" fmla="*/ 624265 w 943353"/>
                    <a:gd name="connsiteY20" fmla="*/ 381000 h 714375"/>
                    <a:gd name="connsiteX21" fmla="*/ 571878 w 943353"/>
                    <a:gd name="connsiteY21" fmla="*/ 400050 h 714375"/>
                    <a:gd name="connsiteX22" fmla="*/ 557590 w 943353"/>
                    <a:gd name="connsiteY22" fmla="*/ 419100 h 714375"/>
                    <a:gd name="connsiteX23" fmla="*/ 567115 w 943353"/>
                    <a:gd name="connsiteY23" fmla="*/ 447675 h 714375"/>
                    <a:gd name="connsiteX24" fmla="*/ 543303 w 943353"/>
                    <a:gd name="connsiteY24" fmla="*/ 452438 h 714375"/>
                    <a:gd name="connsiteX25" fmla="*/ 514728 w 943353"/>
                    <a:gd name="connsiteY25" fmla="*/ 461963 h 714375"/>
                    <a:gd name="connsiteX26" fmla="*/ 505203 w 943353"/>
                    <a:gd name="connsiteY26" fmla="*/ 485775 h 714375"/>
                    <a:gd name="connsiteX27" fmla="*/ 476628 w 943353"/>
                    <a:gd name="connsiteY27" fmla="*/ 485775 h 714375"/>
                    <a:gd name="connsiteX28" fmla="*/ 457578 w 943353"/>
                    <a:gd name="connsiteY28" fmla="*/ 485775 h 714375"/>
                    <a:gd name="connsiteX29" fmla="*/ 424240 w 943353"/>
                    <a:gd name="connsiteY29" fmla="*/ 490538 h 714375"/>
                    <a:gd name="connsiteX30" fmla="*/ 395665 w 943353"/>
                    <a:gd name="connsiteY30" fmla="*/ 490538 h 714375"/>
                    <a:gd name="connsiteX31" fmla="*/ 371853 w 943353"/>
                    <a:gd name="connsiteY31" fmla="*/ 485775 h 714375"/>
                    <a:gd name="connsiteX32" fmla="*/ 367090 w 943353"/>
                    <a:gd name="connsiteY32" fmla="*/ 509588 h 714375"/>
                    <a:gd name="connsiteX33" fmla="*/ 371853 w 943353"/>
                    <a:gd name="connsiteY33" fmla="*/ 528638 h 714375"/>
                    <a:gd name="connsiteX34" fmla="*/ 352803 w 943353"/>
                    <a:gd name="connsiteY34" fmla="*/ 538163 h 714375"/>
                    <a:gd name="connsiteX35" fmla="*/ 352803 w 943353"/>
                    <a:gd name="connsiteY35" fmla="*/ 542925 h 714375"/>
                    <a:gd name="connsiteX36" fmla="*/ 343278 w 943353"/>
                    <a:gd name="connsiteY36" fmla="*/ 557213 h 714375"/>
                    <a:gd name="connsiteX37" fmla="*/ 343278 w 943353"/>
                    <a:gd name="connsiteY37" fmla="*/ 590550 h 714375"/>
                    <a:gd name="connsiteX38" fmla="*/ 333753 w 943353"/>
                    <a:gd name="connsiteY38" fmla="*/ 604838 h 714375"/>
                    <a:gd name="connsiteX39" fmla="*/ 300415 w 943353"/>
                    <a:gd name="connsiteY39" fmla="*/ 604838 h 714375"/>
                    <a:gd name="connsiteX40" fmla="*/ 276603 w 943353"/>
                    <a:gd name="connsiteY40" fmla="*/ 604838 h 714375"/>
                    <a:gd name="connsiteX41" fmla="*/ 248028 w 943353"/>
                    <a:gd name="connsiteY41" fmla="*/ 585788 h 714375"/>
                    <a:gd name="connsiteX42" fmla="*/ 228978 w 943353"/>
                    <a:gd name="connsiteY42" fmla="*/ 595313 h 714375"/>
                    <a:gd name="connsiteX43" fmla="*/ 195640 w 943353"/>
                    <a:gd name="connsiteY43" fmla="*/ 604838 h 714375"/>
                    <a:gd name="connsiteX44" fmla="*/ 190878 w 943353"/>
                    <a:gd name="connsiteY44" fmla="*/ 585788 h 714375"/>
                    <a:gd name="connsiteX45" fmla="*/ 190878 w 943353"/>
                    <a:gd name="connsiteY45" fmla="*/ 576263 h 714375"/>
                    <a:gd name="connsiteX46" fmla="*/ 171828 w 943353"/>
                    <a:gd name="connsiteY46" fmla="*/ 566738 h 714375"/>
                    <a:gd name="connsiteX47" fmla="*/ 162303 w 943353"/>
                    <a:gd name="connsiteY47" fmla="*/ 557213 h 714375"/>
                    <a:gd name="connsiteX48" fmla="*/ 148015 w 943353"/>
                    <a:gd name="connsiteY48" fmla="*/ 552450 h 714375"/>
                    <a:gd name="connsiteX49" fmla="*/ 128965 w 943353"/>
                    <a:gd name="connsiteY49" fmla="*/ 552450 h 714375"/>
                    <a:gd name="connsiteX50" fmla="*/ 119440 w 943353"/>
                    <a:gd name="connsiteY50" fmla="*/ 566738 h 714375"/>
                    <a:gd name="connsiteX51" fmla="*/ 105153 w 943353"/>
                    <a:gd name="connsiteY51" fmla="*/ 581025 h 714375"/>
                    <a:gd name="connsiteX52" fmla="*/ 95628 w 943353"/>
                    <a:gd name="connsiteY52" fmla="*/ 600075 h 714375"/>
                    <a:gd name="connsiteX53" fmla="*/ 81340 w 943353"/>
                    <a:gd name="connsiteY53" fmla="*/ 614363 h 714375"/>
                    <a:gd name="connsiteX54" fmla="*/ 62290 w 943353"/>
                    <a:gd name="connsiteY54" fmla="*/ 638175 h 714375"/>
                    <a:gd name="connsiteX55" fmla="*/ 57528 w 943353"/>
                    <a:gd name="connsiteY55" fmla="*/ 633413 h 714375"/>
                    <a:gd name="connsiteX56" fmla="*/ 38478 w 943353"/>
                    <a:gd name="connsiteY56" fmla="*/ 614363 h 714375"/>
                    <a:gd name="connsiteX57" fmla="*/ 24190 w 943353"/>
                    <a:gd name="connsiteY57" fmla="*/ 609600 h 714375"/>
                    <a:gd name="connsiteX58" fmla="*/ 378 w 943353"/>
                    <a:gd name="connsiteY58" fmla="*/ 600075 h 714375"/>
                    <a:gd name="connsiteX59" fmla="*/ 9903 w 943353"/>
                    <a:gd name="connsiteY59" fmla="*/ 623888 h 714375"/>
                    <a:gd name="connsiteX60" fmla="*/ 14665 w 943353"/>
                    <a:gd name="connsiteY60" fmla="*/ 633413 h 714375"/>
                    <a:gd name="connsiteX61" fmla="*/ 14665 w 943353"/>
                    <a:gd name="connsiteY61" fmla="*/ 657225 h 714375"/>
                    <a:gd name="connsiteX62" fmla="*/ 5140 w 943353"/>
                    <a:gd name="connsiteY62" fmla="*/ 671513 h 714375"/>
                    <a:gd name="connsiteX63" fmla="*/ 14665 w 943353"/>
                    <a:gd name="connsiteY63" fmla="*/ 676275 h 714375"/>
                    <a:gd name="connsiteX64" fmla="*/ 57528 w 943353"/>
                    <a:gd name="connsiteY64" fmla="*/ 704850 h 714375"/>
                    <a:gd name="connsiteX65" fmla="*/ 90865 w 943353"/>
                    <a:gd name="connsiteY65" fmla="*/ 714375 h 714375"/>
                    <a:gd name="connsiteX66" fmla="*/ 100390 w 943353"/>
                    <a:gd name="connsiteY66" fmla="*/ 704850 h 714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943353" h="714375">
                      <a:moveTo>
                        <a:pt x="943353" y="0"/>
                      </a:moveTo>
                      <a:cubicBezTo>
                        <a:pt x="925096" y="17463"/>
                        <a:pt x="906840" y="34926"/>
                        <a:pt x="895728" y="42863"/>
                      </a:cubicBezTo>
                      <a:cubicBezTo>
                        <a:pt x="884615" y="50801"/>
                        <a:pt x="885409" y="46037"/>
                        <a:pt x="876678" y="47625"/>
                      </a:cubicBezTo>
                      <a:cubicBezTo>
                        <a:pt x="867947" y="49213"/>
                        <a:pt x="852865" y="48419"/>
                        <a:pt x="843340" y="52388"/>
                      </a:cubicBezTo>
                      <a:cubicBezTo>
                        <a:pt x="833815" y="56357"/>
                        <a:pt x="826672" y="60326"/>
                        <a:pt x="819528" y="71438"/>
                      </a:cubicBezTo>
                      <a:cubicBezTo>
                        <a:pt x="812384" y="82551"/>
                        <a:pt x="800478" y="119063"/>
                        <a:pt x="800478" y="119063"/>
                      </a:cubicBezTo>
                      <a:cubicBezTo>
                        <a:pt x="795715" y="130969"/>
                        <a:pt x="796509" y="135731"/>
                        <a:pt x="790953" y="142875"/>
                      </a:cubicBezTo>
                      <a:cubicBezTo>
                        <a:pt x="785397" y="150019"/>
                        <a:pt x="771109" y="153988"/>
                        <a:pt x="767140" y="161925"/>
                      </a:cubicBezTo>
                      <a:cubicBezTo>
                        <a:pt x="763171" y="169863"/>
                        <a:pt x="763171" y="184944"/>
                        <a:pt x="767140" y="190500"/>
                      </a:cubicBezTo>
                      <a:cubicBezTo>
                        <a:pt x="771109" y="196056"/>
                        <a:pt x="790159" y="189707"/>
                        <a:pt x="790953" y="195263"/>
                      </a:cubicBezTo>
                      <a:cubicBezTo>
                        <a:pt x="791747" y="200819"/>
                        <a:pt x="775872" y="210344"/>
                        <a:pt x="771903" y="223838"/>
                      </a:cubicBezTo>
                      <a:cubicBezTo>
                        <a:pt x="767934" y="237332"/>
                        <a:pt x="767934" y="261938"/>
                        <a:pt x="767140" y="276225"/>
                      </a:cubicBezTo>
                      <a:cubicBezTo>
                        <a:pt x="766346" y="290512"/>
                        <a:pt x="769521" y="302419"/>
                        <a:pt x="767140" y="309563"/>
                      </a:cubicBezTo>
                      <a:cubicBezTo>
                        <a:pt x="764759" y="316707"/>
                        <a:pt x="759997" y="312738"/>
                        <a:pt x="752853" y="319088"/>
                      </a:cubicBezTo>
                      <a:cubicBezTo>
                        <a:pt x="745709" y="325438"/>
                        <a:pt x="733009" y="341313"/>
                        <a:pt x="724278" y="347663"/>
                      </a:cubicBezTo>
                      <a:cubicBezTo>
                        <a:pt x="715547" y="354013"/>
                        <a:pt x="707609" y="355601"/>
                        <a:pt x="700465" y="357188"/>
                      </a:cubicBezTo>
                      <a:cubicBezTo>
                        <a:pt x="693321" y="358776"/>
                        <a:pt x="686177" y="359569"/>
                        <a:pt x="681415" y="357188"/>
                      </a:cubicBezTo>
                      <a:cubicBezTo>
                        <a:pt x="676653" y="354807"/>
                        <a:pt x="677446" y="344487"/>
                        <a:pt x="671890" y="342900"/>
                      </a:cubicBezTo>
                      <a:cubicBezTo>
                        <a:pt x="666334" y="341313"/>
                        <a:pt x="653634" y="340519"/>
                        <a:pt x="648078" y="347663"/>
                      </a:cubicBezTo>
                      <a:cubicBezTo>
                        <a:pt x="642522" y="354807"/>
                        <a:pt x="642522" y="380207"/>
                        <a:pt x="638553" y="385763"/>
                      </a:cubicBezTo>
                      <a:cubicBezTo>
                        <a:pt x="634584" y="391319"/>
                        <a:pt x="635377" y="378619"/>
                        <a:pt x="624265" y="381000"/>
                      </a:cubicBezTo>
                      <a:cubicBezTo>
                        <a:pt x="613152" y="383381"/>
                        <a:pt x="582990" y="393700"/>
                        <a:pt x="571878" y="400050"/>
                      </a:cubicBezTo>
                      <a:cubicBezTo>
                        <a:pt x="560766" y="406400"/>
                        <a:pt x="558384" y="411163"/>
                        <a:pt x="557590" y="419100"/>
                      </a:cubicBezTo>
                      <a:cubicBezTo>
                        <a:pt x="556796" y="427037"/>
                        <a:pt x="569496" y="442119"/>
                        <a:pt x="567115" y="447675"/>
                      </a:cubicBezTo>
                      <a:cubicBezTo>
                        <a:pt x="564734" y="453231"/>
                        <a:pt x="552034" y="450057"/>
                        <a:pt x="543303" y="452438"/>
                      </a:cubicBezTo>
                      <a:cubicBezTo>
                        <a:pt x="534572" y="454819"/>
                        <a:pt x="521078" y="456407"/>
                        <a:pt x="514728" y="461963"/>
                      </a:cubicBezTo>
                      <a:cubicBezTo>
                        <a:pt x="508378" y="467519"/>
                        <a:pt x="511553" y="481806"/>
                        <a:pt x="505203" y="485775"/>
                      </a:cubicBezTo>
                      <a:cubicBezTo>
                        <a:pt x="498853" y="489744"/>
                        <a:pt x="476628" y="485775"/>
                        <a:pt x="476628" y="485775"/>
                      </a:cubicBezTo>
                      <a:cubicBezTo>
                        <a:pt x="468691" y="485775"/>
                        <a:pt x="466309" y="484981"/>
                        <a:pt x="457578" y="485775"/>
                      </a:cubicBezTo>
                      <a:cubicBezTo>
                        <a:pt x="448847" y="486569"/>
                        <a:pt x="434559" y="489744"/>
                        <a:pt x="424240" y="490538"/>
                      </a:cubicBezTo>
                      <a:cubicBezTo>
                        <a:pt x="413921" y="491332"/>
                        <a:pt x="404396" y="491332"/>
                        <a:pt x="395665" y="490538"/>
                      </a:cubicBezTo>
                      <a:cubicBezTo>
                        <a:pt x="386934" y="489744"/>
                        <a:pt x="376615" y="482600"/>
                        <a:pt x="371853" y="485775"/>
                      </a:cubicBezTo>
                      <a:cubicBezTo>
                        <a:pt x="367091" y="488950"/>
                        <a:pt x="367090" y="502444"/>
                        <a:pt x="367090" y="509588"/>
                      </a:cubicBezTo>
                      <a:cubicBezTo>
                        <a:pt x="367090" y="516732"/>
                        <a:pt x="374234" y="523876"/>
                        <a:pt x="371853" y="528638"/>
                      </a:cubicBezTo>
                      <a:cubicBezTo>
                        <a:pt x="369472" y="533400"/>
                        <a:pt x="355978" y="535782"/>
                        <a:pt x="352803" y="538163"/>
                      </a:cubicBezTo>
                      <a:cubicBezTo>
                        <a:pt x="349628" y="540544"/>
                        <a:pt x="354390" y="539750"/>
                        <a:pt x="352803" y="542925"/>
                      </a:cubicBezTo>
                      <a:cubicBezTo>
                        <a:pt x="351216" y="546100"/>
                        <a:pt x="344866" y="549275"/>
                        <a:pt x="343278" y="557213"/>
                      </a:cubicBezTo>
                      <a:cubicBezTo>
                        <a:pt x="341690" y="565151"/>
                        <a:pt x="344866" y="582612"/>
                        <a:pt x="343278" y="590550"/>
                      </a:cubicBezTo>
                      <a:cubicBezTo>
                        <a:pt x="341690" y="598488"/>
                        <a:pt x="340897" y="602457"/>
                        <a:pt x="333753" y="604838"/>
                      </a:cubicBezTo>
                      <a:cubicBezTo>
                        <a:pt x="326609" y="607219"/>
                        <a:pt x="300415" y="604838"/>
                        <a:pt x="300415" y="604838"/>
                      </a:cubicBezTo>
                      <a:cubicBezTo>
                        <a:pt x="290890" y="604838"/>
                        <a:pt x="285334" y="608013"/>
                        <a:pt x="276603" y="604838"/>
                      </a:cubicBezTo>
                      <a:cubicBezTo>
                        <a:pt x="267872" y="601663"/>
                        <a:pt x="255966" y="587376"/>
                        <a:pt x="248028" y="585788"/>
                      </a:cubicBezTo>
                      <a:cubicBezTo>
                        <a:pt x="240090" y="584200"/>
                        <a:pt x="237709" y="592138"/>
                        <a:pt x="228978" y="595313"/>
                      </a:cubicBezTo>
                      <a:cubicBezTo>
                        <a:pt x="220247" y="598488"/>
                        <a:pt x="201990" y="606426"/>
                        <a:pt x="195640" y="604838"/>
                      </a:cubicBezTo>
                      <a:cubicBezTo>
                        <a:pt x="189290" y="603251"/>
                        <a:pt x="191672" y="590550"/>
                        <a:pt x="190878" y="585788"/>
                      </a:cubicBezTo>
                      <a:cubicBezTo>
                        <a:pt x="190084" y="581026"/>
                        <a:pt x="194053" y="579438"/>
                        <a:pt x="190878" y="576263"/>
                      </a:cubicBezTo>
                      <a:cubicBezTo>
                        <a:pt x="187703" y="573088"/>
                        <a:pt x="176590" y="569913"/>
                        <a:pt x="171828" y="566738"/>
                      </a:cubicBezTo>
                      <a:cubicBezTo>
                        <a:pt x="167066" y="563563"/>
                        <a:pt x="166272" y="559594"/>
                        <a:pt x="162303" y="557213"/>
                      </a:cubicBezTo>
                      <a:cubicBezTo>
                        <a:pt x="158334" y="554832"/>
                        <a:pt x="153571" y="553244"/>
                        <a:pt x="148015" y="552450"/>
                      </a:cubicBezTo>
                      <a:cubicBezTo>
                        <a:pt x="142459" y="551656"/>
                        <a:pt x="133727" y="550069"/>
                        <a:pt x="128965" y="552450"/>
                      </a:cubicBezTo>
                      <a:cubicBezTo>
                        <a:pt x="124203" y="554831"/>
                        <a:pt x="123409" y="561976"/>
                        <a:pt x="119440" y="566738"/>
                      </a:cubicBezTo>
                      <a:cubicBezTo>
                        <a:pt x="115471" y="571500"/>
                        <a:pt x="109122" y="575469"/>
                        <a:pt x="105153" y="581025"/>
                      </a:cubicBezTo>
                      <a:cubicBezTo>
                        <a:pt x="101184" y="586581"/>
                        <a:pt x="99597" y="594519"/>
                        <a:pt x="95628" y="600075"/>
                      </a:cubicBezTo>
                      <a:cubicBezTo>
                        <a:pt x="91659" y="605631"/>
                        <a:pt x="86896" y="608013"/>
                        <a:pt x="81340" y="614363"/>
                      </a:cubicBezTo>
                      <a:cubicBezTo>
                        <a:pt x="75784" y="620713"/>
                        <a:pt x="66259" y="635000"/>
                        <a:pt x="62290" y="638175"/>
                      </a:cubicBezTo>
                      <a:cubicBezTo>
                        <a:pt x="58321" y="641350"/>
                        <a:pt x="57528" y="633413"/>
                        <a:pt x="57528" y="633413"/>
                      </a:cubicBezTo>
                      <a:cubicBezTo>
                        <a:pt x="53559" y="629444"/>
                        <a:pt x="44034" y="618332"/>
                        <a:pt x="38478" y="614363"/>
                      </a:cubicBezTo>
                      <a:cubicBezTo>
                        <a:pt x="32922" y="610394"/>
                        <a:pt x="30540" y="611981"/>
                        <a:pt x="24190" y="609600"/>
                      </a:cubicBezTo>
                      <a:cubicBezTo>
                        <a:pt x="17840" y="607219"/>
                        <a:pt x="2759" y="597694"/>
                        <a:pt x="378" y="600075"/>
                      </a:cubicBezTo>
                      <a:cubicBezTo>
                        <a:pt x="-2003" y="602456"/>
                        <a:pt x="7522" y="618332"/>
                        <a:pt x="9903" y="623888"/>
                      </a:cubicBezTo>
                      <a:cubicBezTo>
                        <a:pt x="12284" y="629444"/>
                        <a:pt x="13871" y="627857"/>
                        <a:pt x="14665" y="633413"/>
                      </a:cubicBezTo>
                      <a:cubicBezTo>
                        <a:pt x="15459" y="638969"/>
                        <a:pt x="16252" y="650875"/>
                        <a:pt x="14665" y="657225"/>
                      </a:cubicBezTo>
                      <a:cubicBezTo>
                        <a:pt x="13077" y="663575"/>
                        <a:pt x="5140" y="668338"/>
                        <a:pt x="5140" y="671513"/>
                      </a:cubicBezTo>
                      <a:cubicBezTo>
                        <a:pt x="5140" y="674688"/>
                        <a:pt x="5934" y="670719"/>
                        <a:pt x="14665" y="676275"/>
                      </a:cubicBezTo>
                      <a:cubicBezTo>
                        <a:pt x="23396" y="681831"/>
                        <a:pt x="44828" y="698500"/>
                        <a:pt x="57528" y="704850"/>
                      </a:cubicBezTo>
                      <a:cubicBezTo>
                        <a:pt x="70228" y="711200"/>
                        <a:pt x="83721" y="714375"/>
                        <a:pt x="90865" y="714375"/>
                      </a:cubicBezTo>
                      <a:cubicBezTo>
                        <a:pt x="98009" y="714375"/>
                        <a:pt x="98803" y="708025"/>
                        <a:pt x="100390" y="704850"/>
                      </a:cubicBezTo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389">
                  <a:extLst>
                    <a:ext uri="{FF2B5EF4-FFF2-40B4-BE49-F238E27FC236}">
                      <a16:creationId xmlns:a16="http://schemas.microsoft.com/office/drawing/2014/main" id="{165B71AF-1CCD-D974-3DB3-77F91A0E2667}"/>
                    </a:ext>
                  </a:extLst>
                </p:cNvPr>
                <p:cNvSpPr/>
                <p:nvPr/>
              </p:nvSpPr>
              <p:spPr>
                <a:xfrm rot="21361704">
                  <a:off x="2263729" y="4604088"/>
                  <a:ext cx="716336" cy="271993"/>
                </a:xfrm>
                <a:custGeom>
                  <a:avLst/>
                  <a:gdLst>
                    <a:gd name="connsiteX0" fmla="*/ 2195512 w 2290792"/>
                    <a:gd name="connsiteY0" fmla="*/ 66873 h 962978"/>
                    <a:gd name="connsiteX1" fmla="*/ 2276475 w 2290792"/>
                    <a:gd name="connsiteY1" fmla="*/ 85923 h 962978"/>
                    <a:gd name="connsiteX2" fmla="*/ 2262187 w 2290792"/>
                    <a:gd name="connsiteY2" fmla="*/ 100211 h 962978"/>
                    <a:gd name="connsiteX3" fmla="*/ 2247900 w 2290792"/>
                    <a:gd name="connsiteY3" fmla="*/ 128786 h 962978"/>
                    <a:gd name="connsiteX4" fmla="*/ 2257425 w 2290792"/>
                    <a:gd name="connsiteY4" fmla="*/ 152598 h 962978"/>
                    <a:gd name="connsiteX5" fmla="*/ 2290762 w 2290792"/>
                    <a:gd name="connsiteY5" fmla="*/ 171648 h 962978"/>
                    <a:gd name="connsiteX6" fmla="*/ 2262187 w 2290792"/>
                    <a:gd name="connsiteY6" fmla="*/ 190698 h 962978"/>
                    <a:gd name="connsiteX7" fmla="*/ 2205037 w 2290792"/>
                    <a:gd name="connsiteY7" fmla="*/ 195461 h 962978"/>
                    <a:gd name="connsiteX8" fmla="*/ 2176462 w 2290792"/>
                    <a:gd name="connsiteY8" fmla="*/ 176411 h 962978"/>
                    <a:gd name="connsiteX9" fmla="*/ 2181225 w 2290792"/>
                    <a:gd name="connsiteY9" fmla="*/ 185936 h 962978"/>
                    <a:gd name="connsiteX10" fmla="*/ 2162175 w 2290792"/>
                    <a:gd name="connsiteY10" fmla="*/ 152598 h 962978"/>
                    <a:gd name="connsiteX11" fmla="*/ 2143125 w 2290792"/>
                    <a:gd name="connsiteY11" fmla="*/ 128786 h 962978"/>
                    <a:gd name="connsiteX12" fmla="*/ 2114550 w 2290792"/>
                    <a:gd name="connsiteY12" fmla="*/ 157361 h 962978"/>
                    <a:gd name="connsiteX13" fmla="*/ 2090737 w 2290792"/>
                    <a:gd name="connsiteY13" fmla="*/ 128786 h 962978"/>
                    <a:gd name="connsiteX14" fmla="*/ 2081212 w 2290792"/>
                    <a:gd name="connsiteY14" fmla="*/ 114498 h 962978"/>
                    <a:gd name="connsiteX15" fmla="*/ 2081212 w 2290792"/>
                    <a:gd name="connsiteY15" fmla="*/ 81161 h 962978"/>
                    <a:gd name="connsiteX16" fmla="*/ 2066925 w 2290792"/>
                    <a:gd name="connsiteY16" fmla="*/ 62111 h 962978"/>
                    <a:gd name="connsiteX17" fmla="*/ 2052637 w 2290792"/>
                    <a:gd name="connsiteY17" fmla="*/ 38298 h 962978"/>
                    <a:gd name="connsiteX18" fmla="*/ 2043112 w 2290792"/>
                    <a:gd name="connsiteY18" fmla="*/ 28773 h 962978"/>
                    <a:gd name="connsiteX19" fmla="*/ 2038350 w 2290792"/>
                    <a:gd name="connsiteY19" fmla="*/ 14486 h 962978"/>
                    <a:gd name="connsiteX20" fmla="*/ 2024062 w 2290792"/>
                    <a:gd name="connsiteY20" fmla="*/ 14486 h 962978"/>
                    <a:gd name="connsiteX21" fmla="*/ 2009775 w 2290792"/>
                    <a:gd name="connsiteY21" fmla="*/ 14486 h 962978"/>
                    <a:gd name="connsiteX22" fmla="*/ 1985962 w 2290792"/>
                    <a:gd name="connsiteY22" fmla="*/ 9723 h 962978"/>
                    <a:gd name="connsiteX23" fmla="*/ 1981200 w 2290792"/>
                    <a:gd name="connsiteY23" fmla="*/ 198 h 962978"/>
                    <a:gd name="connsiteX24" fmla="*/ 1966912 w 2290792"/>
                    <a:gd name="connsiteY24" fmla="*/ 4961 h 962978"/>
                    <a:gd name="connsiteX25" fmla="*/ 1933575 w 2290792"/>
                    <a:gd name="connsiteY25" fmla="*/ 24011 h 962978"/>
                    <a:gd name="connsiteX26" fmla="*/ 1928812 w 2290792"/>
                    <a:gd name="connsiteY26" fmla="*/ 33536 h 962978"/>
                    <a:gd name="connsiteX27" fmla="*/ 1914525 w 2290792"/>
                    <a:gd name="connsiteY27" fmla="*/ 47823 h 962978"/>
                    <a:gd name="connsiteX28" fmla="*/ 1890712 w 2290792"/>
                    <a:gd name="connsiteY28" fmla="*/ 57348 h 962978"/>
                    <a:gd name="connsiteX29" fmla="*/ 1866900 w 2290792"/>
                    <a:gd name="connsiteY29" fmla="*/ 76398 h 962978"/>
                    <a:gd name="connsiteX30" fmla="*/ 1852612 w 2290792"/>
                    <a:gd name="connsiteY30" fmla="*/ 104973 h 962978"/>
                    <a:gd name="connsiteX31" fmla="*/ 1852612 w 2290792"/>
                    <a:gd name="connsiteY31" fmla="*/ 133548 h 962978"/>
                    <a:gd name="connsiteX32" fmla="*/ 1885950 w 2290792"/>
                    <a:gd name="connsiteY32" fmla="*/ 143073 h 962978"/>
                    <a:gd name="connsiteX33" fmla="*/ 1885950 w 2290792"/>
                    <a:gd name="connsiteY33" fmla="*/ 166886 h 962978"/>
                    <a:gd name="connsiteX34" fmla="*/ 1905000 w 2290792"/>
                    <a:gd name="connsiteY34" fmla="*/ 176411 h 962978"/>
                    <a:gd name="connsiteX35" fmla="*/ 1890712 w 2290792"/>
                    <a:gd name="connsiteY35" fmla="*/ 204986 h 962978"/>
                    <a:gd name="connsiteX36" fmla="*/ 1866900 w 2290792"/>
                    <a:gd name="connsiteY36" fmla="*/ 252611 h 962978"/>
                    <a:gd name="connsiteX37" fmla="*/ 1847850 w 2290792"/>
                    <a:gd name="connsiteY37" fmla="*/ 285948 h 962978"/>
                    <a:gd name="connsiteX38" fmla="*/ 1833562 w 2290792"/>
                    <a:gd name="connsiteY38" fmla="*/ 309761 h 962978"/>
                    <a:gd name="connsiteX39" fmla="*/ 1771650 w 2290792"/>
                    <a:gd name="connsiteY39" fmla="*/ 276423 h 962978"/>
                    <a:gd name="connsiteX40" fmla="*/ 1752600 w 2290792"/>
                    <a:gd name="connsiteY40" fmla="*/ 266898 h 962978"/>
                    <a:gd name="connsiteX41" fmla="*/ 1714500 w 2290792"/>
                    <a:gd name="connsiteY41" fmla="*/ 266898 h 962978"/>
                    <a:gd name="connsiteX42" fmla="*/ 1704975 w 2290792"/>
                    <a:gd name="connsiteY42" fmla="*/ 257373 h 962978"/>
                    <a:gd name="connsiteX43" fmla="*/ 1681162 w 2290792"/>
                    <a:gd name="connsiteY43" fmla="*/ 266898 h 962978"/>
                    <a:gd name="connsiteX44" fmla="*/ 1652587 w 2290792"/>
                    <a:gd name="connsiteY44" fmla="*/ 266898 h 962978"/>
                    <a:gd name="connsiteX45" fmla="*/ 1633537 w 2290792"/>
                    <a:gd name="connsiteY45" fmla="*/ 276423 h 962978"/>
                    <a:gd name="connsiteX46" fmla="*/ 1600200 w 2290792"/>
                    <a:gd name="connsiteY46" fmla="*/ 304998 h 962978"/>
                    <a:gd name="connsiteX47" fmla="*/ 1566862 w 2290792"/>
                    <a:gd name="connsiteY47" fmla="*/ 304998 h 962978"/>
                    <a:gd name="connsiteX48" fmla="*/ 1557337 w 2290792"/>
                    <a:gd name="connsiteY48" fmla="*/ 314523 h 962978"/>
                    <a:gd name="connsiteX49" fmla="*/ 1533525 w 2290792"/>
                    <a:gd name="connsiteY49" fmla="*/ 319286 h 962978"/>
                    <a:gd name="connsiteX50" fmla="*/ 1495425 w 2290792"/>
                    <a:gd name="connsiteY50" fmla="*/ 324048 h 962978"/>
                    <a:gd name="connsiteX51" fmla="*/ 1490662 w 2290792"/>
                    <a:gd name="connsiteY51" fmla="*/ 338336 h 962978"/>
                    <a:gd name="connsiteX52" fmla="*/ 1466850 w 2290792"/>
                    <a:gd name="connsiteY52" fmla="*/ 357386 h 962978"/>
                    <a:gd name="connsiteX53" fmla="*/ 1419225 w 2290792"/>
                    <a:gd name="connsiteY53" fmla="*/ 371673 h 962978"/>
                    <a:gd name="connsiteX54" fmla="*/ 1395412 w 2290792"/>
                    <a:gd name="connsiteY54" fmla="*/ 371673 h 962978"/>
                    <a:gd name="connsiteX55" fmla="*/ 1343025 w 2290792"/>
                    <a:gd name="connsiteY55" fmla="*/ 390723 h 962978"/>
                    <a:gd name="connsiteX56" fmla="*/ 1328737 w 2290792"/>
                    <a:gd name="connsiteY56" fmla="*/ 424061 h 962978"/>
                    <a:gd name="connsiteX57" fmla="*/ 1328737 w 2290792"/>
                    <a:gd name="connsiteY57" fmla="*/ 452636 h 962978"/>
                    <a:gd name="connsiteX58" fmla="*/ 1333500 w 2290792"/>
                    <a:gd name="connsiteY58" fmla="*/ 462161 h 962978"/>
                    <a:gd name="connsiteX59" fmla="*/ 1333500 w 2290792"/>
                    <a:gd name="connsiteY59" fmla="*/ 485973 h 962978"/>
                    <a:gd name="connsiteX60" fmla="*/ 1323975 w 2290792"/>
                    <a:gd name="connsiteY60" fmla="*/ 500261 h 962978"/>
                    <a:gd name="connsiteX61" fmla="*/ 1333500 w 2290792"/>
                    <a:gd name="connsiteY61" fmla="*/ 543123 h 962978"/>
                    <a:gd name="connsiteX62" fmla="*/ 1347787 w 2290792"/>
                    <a:gd name="connsiteY62" fmla="*/ 581223 h 962978"/>
                    <a:gd name="connsiteX63" fmla="*/ 1357312 w 2290792"/>
                    <a:gd name="connsiteY63" fmla="*/ 619323 h 962978"/>
                    <a:gd name="connsiteX64" fmla="*/ 1338262 w 2290792"/>
                    <a:gd name="connsiteY64" fmla="*/ 628848 h 962978"/>
                    <a:gd name="connsiteX65" fmla="*/ 1276350 w 2290792"/>
                    <a:gd name="connsiteY65" fmla="*/ 633611 h 962978"/>
                    <a:gd name="connsiteX66" fmla="*/ 1247775 w 2290792"/>
                    <a:gd name="connsiteY66" fmla="*/ 624086 h 962978"/>
                    <a:gd name="connsiteX67" fmla="*/ 1200150 w 2290792"/>
                    <a:gd name="connsiteY67" fmla="*/ 633611 h 962978"/>
                    <a:gd name="connsiteX68" fmla="*/ 1176337 w 2290792"/>
                    <a:gd name="connsiteY68" fmla="*/ 643136 h 962978"/>
                    <a:gd name="connsiteX69" fmla="*/ 1143000 w 2290792"/>
                    <a:gd name="connsiteY69" fmla="*/ 647898 h 962978"/>
                    <a:gd name="connsiteX70" fmla="*/ 1123950 w 2290792"/>
                    <a:gd name="connsiteY70" fmla="*/ 671711 h 962978"/>
                    <a:gd name="connsiteX71" fmla="*/ 1128712 w 2290792"/>
                    <a:gd name="connsiteY71" fmla="*/ 676473 h 962978"/>
                    <a:gd name="connsiteX72" fmla="*/ 1128712 w 2290792"/>
                    <a:gd name="connsiteY72" fmla="*/ 705048 h 962978"/>
                    <a:gd name="connsiteX73" fmla="*/ 1128712 w 2290792"/>
                    <a:gd name="connsiteY73" fmla="*/ 728861 h 962978"/>
                    <a:gd name="connsiteX74" fmla="*/ 1114425 w 2290792"/>
                    <a:gd name="connsiteY74" fmla="*/ 752673 h 962978"/>
                    <a:gd name="connsiteX75" fmla="*/ 1095375 w 2290792"/>
                    <a:gd name="connsiteY75" fmla="*/ 728861 h 962978"/>
                    <a:gd name="connsiteX76" fmla="*/ 1085850 w 2290792"/>
                    <a:gd name="connsiteY76" fmla="*/ 705048 h 962978"/>
                    <a:gd name="connsiteX77" fmla="*/ 1062037 w 2290792"/>
                    <a:gd name="connsiteY77" fmla="*/ 690761 h 962978"/>
                    <a:gd name="connsiteX78" fmla="*/ 1052512 w 2290792"/>
                    <a:gd name="connsiteY78" fmla="*/ 728861 h 962978"/>
                    <a:gd name="connsiteX79" fmla="*/ 1057275 w 2290792"/>
                    <a:gd name="connsiteY79" fmla="*/ 752673 h 962978"/>
                    <a:gd name="connsiteX80" fmla="*/ 1057275 w 2290792"/>
                    <a:gd name="connsiteY80" fmla="*/ 771723 h 962978"/>
                    <a:gd name="connsiteX81" fmla="*/ 1023937 w 2290792"/>
                    <a:gd name="connsiteY81" fmla="*/ 800298 h 962978"/>
                    <a:gd name="connsiteX82" fmla="*/ 981075 w 2290792"/>
                    <a:gd name="connsiteY82" fmla="*/ 790773 h 962978"/>
                    <a:gd name="connsiteX83" fmla="*/ 947737 w 2290792"/>
                    <a:gd name="connsiteY83" fmla="*/ 762198 h 962978"/>
                    <a:gd name="connsiteX84" fmla="*/ 928687 w 2290792"/>
                    <a:gd name="connsiteY84" fmla="*/ 747911 h 962978"/>
                    <a:gd name="connsiteX85" fmla="*/ 900112 w 2290792"/>
                    <a:gd name="connsiteY85" fmla="*/ 762198 h 962978"/>
                    <a:gd name="connsiteX86" fmla="*/ 862012 w 2290792"/>
                    <a:gd name="connsiteY86" fmla="*/ 776486 h 962978"/>
                    <a:gd name="connsiteX87" fmla="*/ 833437 w 2290792"/>
                    <a:gd name="connsiteY87" fmla="*/ 757436 h 962978"/>
                    <a:gd name="connsiteX88" fmla="*/ 785812 w 2290792"/>
                    <a:gd name="connsiteY88" fmla="*/ 757436 h 962978"/>
                    <a:gd name="connsiteX89" fmla="*/ 766762 w 2290792"/>
                    <a:gd name="connsiteY89" fmla="*/ 781248 h 962978"/>
                    <a:gd name="connsiteX90" fmla="*/ 728662 w 2290792"/>
                    <a:gd name="connsiteY90" fmla="*/ 805061 h 962978"/>
                    <a:gd name="connsiteX91" fmla="*/ 690562 w 2290792"/>
                    <a:gd name="connsiteY91" fmla="*/ 814586 h 962978"/>
                    <a:gd name="connsiteX92" fmla="*/ 676275 w 2290792"/>
                    <a:gd name="connsiteY92" fmla="*/ 843161 h 962978"/>
                    <a:gd name="connsiteX93" fmla="*/ 666750 w 2290792"/>
                    <a:gd name="connsiteY93" fmla="*/ 881261 h 962978"/>
                    <a:gd name="connsiteX94" fmla="*/ 647700 w 2290792"/>
                    <a:gd name="connsiteY94" fmla="*/ 905073 h 962978"/>
                    <a:gd name="connsiteX95" fmla="*/ 633412 w 2290792"/>
                    <a:gd name="connsiteY95" fmla="*/ 909836 h 962978"/>
                    <a:gd name="connsiteX96" fmla="*/ 633412 w 2290792"/>
                    <a:gd name="connsiteY96" fmla="*/ 924123 h 962978"/>
                    <a:gd name="connsiteX97" fmla="*/ 604837 w 2290792"/>
                    <a:gd name="connsiteY97" fmla="*/ 962223 h 962978"/>
                    <a:gd name="connsiteX98" fmla="*/ 552450 w 2290792"/>
                    <a:gd name="connsiteY98" fmla="*/ 947936 h 962978"/>
                    <a:gd name="connsiteX99" fmla="*/ 528637 w 2290792"/>
                    <a:gd name="connsiteY99" fmla="*/ 928886 h 962978"/>
                    <a:gd name="connsiteX100" fmla="*/ 509587 w 2290792"/>
                    <a:gd name="connsiteY100" fmla="*/ 928886 h 962978"/>
                    <a:gd name="connsiteX101" fmla="*/ 457200 w 2290792"/>
                    <a:gd name="connsiteY101" fmla="*/ 947936 h 962978"/>
                    <a:gd name="connsiteX102" fmla="*/ 438150 w 2290792"/>
                    <a:gd name="connsiteY102" fmla="*/ 933648 h 962978"/>
                    <a:gd name="connsiteX103" fmla="*/ 404812 w 2290792"/>
                    <a:gd name="connsiteY103" fmla="*/ 919361 h 962978"/>
                    <a:gd name="connsiteX104" fmla="*/ 366712 w 2290792"/>
                    <a:gd name="connsiteY104" fmla="*/ 957461 h 962978"/>
                    <a:gd name="connsiteX105" fmla="*/ 314325 w 2290792"/>
                    <a:gd name="connsiteY105" fmla="*/ 957461 h 962978"/>
                    <a:gd name="connsiteX106" fmla="*/ 309562 w 2290792"/>
                    <a:gd name="connsiteY106" fmla="*/ 947936 h 962978"/>
                    <a:gd name="connsiteX107" fmla="*/ 276225 w 2290792"/>
                    <a:gd name="connsiteY107" fmla="*/ 952698 h 962978"/>
                    <a:gd name="connsiteX108" fmla="*/ 252412 w 2290792"/>
                    <a:gd name="connsiteY108" fmla="*/ 928886 h 962978"/>
                    <a:gd name="connsiteX109" fmla="*/ 219075 w 2290792"/>
                    <a:gd name="connsiteY109" fmla="*/ 924123 h 962978"/>
                    <a:gd name="connsiteX110" fmla="*/ 176212 w 2290792"/>
                    <a:gd name="connsiteY110" fmla="*/ 919361 h 962978"/>
                    <a:gd name="connsiteX111" fmla="*/ 171450 w 2290792"/>
                    <a:gd name="connsiteY111" fmla="*/ 900311 h 962978"/>
                    <a:gd name="connsiteX112" fmla="*/ 157162 w 2290792"/>
                    <a:gd name="connsiteY112" fmla="*/ 862211 h 962978"/>
                    <a:gd name="connsiteX113" fmla="*/ 147637 w 2290792"/>
                    <a:gd name="connsiteY113" fmla="*/ 824111 h 962978"/>
                    <a:gd name="connsiteX114" fmla="*/ 142875 w 2290792"/>
                    <a:gd name="connsiteY114" fmla="*/ 795536 h 962978"/>
                    <a:gd name="connsiteX115" fmla="*/ 152400 w 2290792"/>
                    <a:gd name="connsiteY115" fmla="*/ 771723 h 962978"/>
                    <a:gd name="connsiteX116" fmla="*/ 147637 w 2290792"/>
                    <a:gd name="connsiteY116" fmla="*/ 752673 h 962978"/>
                    <a:gd name="connsiteX117" fmla="*/ 142875 w 2290792"/>
                    <a:gd name="connsiteY117" fmla="*/ 724098 h 962978"/>
                    <a:gd name="connsiteX118" fmla="*/ 142875 w 2290792"/>
                    <a:gd name="connsiteY118" fmla="*/ 690761 h 962978"/>
                    <a:gd name="connsiteX119" fmla="*/ 161925 w 2290792"/>
                    <a:gd name="connsiteY119" fmla="*/ 690761 h 962978"/>
                    <a:gd name="connsiteX120" fmla="*/ 161925 w 2290792"/>
                    <a:gd name="connsiteY120" fmla="*/ 662186 h 962978"/>
                    <a:gd name="connsiteX121" fmla="*/ 223837 w 2290792"/>
                    <a:gd name="connsiteY121" fmla="*/ 638373 h 962978"/>
                    <a:gd name="connsiteX122" fmla="*/ 204787 w 2290792"/>
                    <a:gd name="connsiteY122" fmla="*/ 600273 h 962978"/>
                    <a:gd name="connsiteX123" fmla="*/ 180975 w 2290792"/>
                    <a:gd name="connsiteY123" fmla="*/ 609798 h 962978"/>
                    <a:gd name="connsiteX124" fmla="*/ 157162 w 2290792"/>
                    <a:gd name="connsiteY124" fmla="*/ 595511 h 962978"/>
                    <a:gd name="connsiteX125" fmla="*/ 133350 w 2290792"/>
                    <a:gd name="connsiteY125" fmla="*/ 590748 h 962978"/>
                    <a:gd name="connsiteX126" fmla="*/ 114300 w 2290792"/>
                    <a:gd name="connsiteY126" fmla="*/ 585986 h 962978"/>
                    <a:gd name="connsiteX127" fmla="*/ 57150 w 2290792"/>
                    <a:gd name="connsiteY127" fmla="*/ 595511 h 962978"/>
                    <a:gd name="connsiteX128" fmla="*/ 57150 w 2290792"/>
                    <a:gd name="connsiteY128" fmla="*/ 595511 h 962978"/>
                    <a:gd name="connsiteX129" fmla="*/ 33337 w 2290792"/>
                    <a:gd name="connsiteY129" fmla="*/ 581223 h 962978"/>
                    <a:gd name="connsiteX130" fmla="*/ 23812 w 2290792"/>
                    <a:gd name="connsiteY130" fmla="*/ 571698 h 962978"/>
                    <a:gd name="connsiteX131" fmla="*/ 19050 w 2290792"/>
                    <a:gd name="connsiteY131" fmla="*/ 566936 h 962978"/>
                    <a:gd name="connsiteX132" fmla="*/ 0 w 2290792"/>
                    <a:gd name="connsiteY132" fmla="*/ 562173 h 962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</a:cxnLst>
                  <a:rect l="l" t="t" r="r" b="b"/>
                  <a:pathLst>
                    <a:path w="2290792" h="962978">
                      <a:moveTo>
                        <a:pt x="2195512" y="66873"/>
                      </a:moveTo>
                      <a:cubicBezTo>
                        <a:pt x="2230437" y="73620"/>
                        <a:pt x="2265363" y="80367"/>
                        <a:pt x="2276475" y="85923"/>
                      </a:cubicBezTo>
                      <a:cubicBezTo>
                        <a:pt x="2287588" y="91479"/>
                        <a:pt x="2266949" y="93067"/>
                        <a:pt x="2262187" y="100211"/>
                      </a:cubicBezTo>
                      <a:cubicBezTo>
                        <a:pt x="2257425" y="107355"/>
                        <a:pt x="2248694" y="120055"/>
                        <a:pt x="2247900" y="128786"/>
                      </a:cubicBezTo>
                      <a:cubicBezTo>
                        <a:pt x="2247106" y="137517"/>
                        <a:pt x="2250281" y="145454"/>
                        <a:pt x="2257425" y="152598"/>
                      </a:cubicBezTo>
                      <a:cubicBezTo>
                        <a:pt x="2264569" y="159742"/>
                        <a:pt x="2289968" y="165298"/>
                        <a:pt x="2290762" y="171648"/>
                      </a:cubicBezTo>
                      <a:cubicBezTo>
                        <a:pt x="2291556" y="177998"/>
                        <a:pt x="2276474" y="186729"/>
                        <a:pt x="2262187" y="190698"/>
                      </a:cubicBezTo>
                      <a:cubicBezTo>
                        <a:pt x="2247900" y="194667"/>
                        <a:pt x="2219325" y="197842"/>
                        <a:pt x="2205037" y="195461"/>
                      </a:cubicBezTo>
                      <a:cubicBezTo>
                        <a:pt x="2190749" y="193080"/>
                        <a:pt x="2180431" y="177998"/>
                        <a:pt x="2176462" y="176411"/>
                      </a:cubicBezTo>
                      <a:cubicBezTo>
                        <a:pt x="2172493" y="174824"/>
                        <a:pt x="2183606" y="189905"/>
                        <a:pt x="2181225" y="185936"/>
                      </a:cubicBezTo>
                      <a:cubicBezTo>
                        <a:pt x="2178844" y="181967"/>
                        <a:pt x="2168525" y="162123"/>
                        <a:pt x="2162175" y="152598"/>
                      </a:cubicBezTo>
                      <a:cubicBezTo>
                        <a:pt x="2155825" y="143073"/>
                        <a:pt x="2151062" y="127992"/>
                        <a:pt x="2143125" y="128786"/>
                      </a:cubicBezTo>
                      <a:cubicBezTo>
                        <a:pt x="2135188" y="129580"/>
                        <a:pt x="2123281" y="157361"/>
                        <a:pt x="2114550" y="157361"/>
                      </a:cubicBezTo>
                      <a:cubicBezTo>
                        <a:pt x="2105819" y="157361"/>
                        <a:pt x="2096293" y="135930"/>
                        <a:pt x="2090737" y="128786"/>
                      </a:cubicBezTo>
                      <a:cubicBezTo>
                        <a:pt x="2085181" y="121642"/>
                        <a:pt x="2082800" y="122436"/>
                        <a:pt x="2081212" y="114498"/>
                      </a:cubicBezTo>
                      <a:cubicBezTo>
                        <a:pt x="2079624" y="106560"/>
                        <a:pt x="2083593" y="89892"/>
                        <a:pt x="2081212" y="81161"/>
                      </a:cubicBezTo>
                      <a:cubicBezTo>
                        <a:pt x="2078831" y="72430"/>
                        <a:pt x="2071687" y="69255"/>
                        <a:pt x="2066925" y="62111"/>
                      </a:cubicBezTo>
                      <a:cubicBezTo>
                        <a:pt x="2062163" y="54967"/>
                        <a:pt x="2056606" y="43854"/>
                        <a:pt x="2052637" y="38298"/>
                      </a:cubicBezTo>
                      <a:cubicBezTo>
                        <a:pt x="2048668" y="32742"/>
                        <a:pt x="2045493" y="32742"/>
                        <a:pt x="2043112" y="28773"/>
                      </a:cubicBezTo>
                      <a:cubicBezTo>
                        <a:pt x="2040731" y="24804"/>
                        <a:pt x="2041525" y="16867"/>
                        <a:pt x="2038350" y="14486"/>
                      </a:cubicBezTo>
                      <a:cubicBezTo>
                        <a:pt x="2035175" y="12105"/>
                        <a:pt x="2024062" y="14486"/>
                        <a:pt x="2024062" y="14486"/>
                      </a:cubicBezTo>
                      <a:cubicBezTo>
                        <a:pt x="2019300" y="14486"/>
                        <a:pt x="2016125" y="15280"/>
                        <a:pt x="2009775" y="14486"/>
                      </a:cubicBezTo>
                      <a:cubicBezTo>
                        <a:pt x="2003425" y="13692"/>
                        <a:pt x="1990724" y="12104"/>
                        <a:pt x="1985962" y="9723"/>
                      </a:cubicBezTo>
                      <a:cubicBezTo>
                        <a:pt x="1981200" y="7342"/>
                        <a:pt x="1984375" y="992"/>
                        <a:pt x="1981200" y="198"/>
                      </a:cubicBezTo>
                      <a:cubicBezTo>
                        <a:pt x="1978025" y="-596"/>
                        <a:pt x="1974849" y="992"/>
                        <a:pt x="1966912" y="4961"/>
                      </a:cubicBezTo>
                      <a:cubicBezTo>
                        <a:pt x="1958974" y="8930"/>
                        <a:pt x="1939925" y="19249"/>
                        <a:pt x="1933575" y="24011"/>
                      </a:cubicBezTo>
                      <a:cubicBezTo>
                        <a:pt x="1927225" y="28773"/>
                        <a:pt x="1931987" y="29567"/>
                        <a:pt x="1928812" y="33536"/>
                      </a:cubicBezTo>
                      <a:cubicBezTo>
                        <a:pt x="1925637" y="37505"/>
                        <a:pt x="1920875" y="43854"/>
                        <a:pt x="1914525" y="47823"/>
                      </a:cubicBezTo>
                      <a:cubicBezTo>
                        <a:pt x="1908175" y="51792"/>
                        <a:pt x="1898649" y="52585"/>
                        <a:pt x="1890712" y="57348"/>
                      </a:cubicBezTo>
                      <a:cubicBezTo>
                        <a:pt x="1882774" y="62110"/>
                        <a:pt x="1873250" y="68461"/>
                        <a:pt x="1866900" y="76398"/>
                      </a:cubicBezTo>
                      <a:cubicBezTo>
                        <a:pt x="1860550" y="84335"/>
                        <a:pt x="1854993" y="95448"/>
                        <a:pt x="1852612" y="104973"/>
                      </a:cubicBezTo>
                      <a:cubicBezTo>
                        <a:pt x="1850231" y="114498"/>
                        <a:pt x="1847056" y="127198"/>
                        <a:pt x="1852612" y="133548"/>
                      </a:cubicBezTo>
                      <a:cubicBezTo>
                        <a:pt x="1858168" y="139898"/>
                        <a:pt x="1880394" y="137517"/>
                        <a:pt x="1885950" y="143073"/>
                      </a:cubicBezTo>
                      <a:cubicBezTo>
                        <a:pt x="1891506" y="148629"/>
                        <a:pt x="1882775" y="161330"/>
                        <a:pt x="1885950" y="166886"/>
                      </a:cubicBezTo>
                      <a:cubicBezTo>
                        <a:pt x="1889125" y="172442"/>
                        <a:pt x="1904206" y="170061"/>
                        <a:pt x="1905000" y="176411"/>
                      </a:cubicBezTo>
                      <a:cubicBezTo>
                        <a:pt x="1905794" y="182761"/>
                        <a:pt x="1890712" y="204986"/>
                        <a:pt x="1890712" y="204986"/>
                      </a:cubicBezTo>
                      <a:cubicBezTo>
                        <a:pt x="1884362" y="217686"/>
                        <a:pt x="1874044" y="239117"/>
                        <a:pt x="1866900" y="252611"/>
                      </a:cubicBezTo>
                      <a:cubicBezTo>
                        <a:pt x="1859756" y="266105"/>
                        <a:pt x="1853406" y="276423"/>
                        <a:pt x="1847850" y="285948"/>
                      </a:cubicBezTo>
                      <a:cubicBezTo>
                        <a:pt x="1842294" y="295473"/>
                        <a:pt x="1846262" y="311348"/>
                        <a:pt x="1833562" y="309761"/>
                      </a:cubicBezTo>
                      <a:cubicBezTo>
                        <a:pt x="1820862" y="308174"/>
                        <a:pt x="1785144" y="283567"/>
                        <a:pt x="1771650" y="276423"/>
                      </a:cubicBezTo>
                      <a:cubicBezTo>
                        <a:pt x="1758156" y="269279"/>
                        <a:pt x="1762125" y="268486"/>
                        <a:pt x="1752600" y="266898"/>
                      </a:cubicBezTo>
                      <a:cubicBezTo>
                        <a:pt x="1743075" y="265311"/>
                        <a:pt x="1722438" y="268486"/>
                        <a:pt x="1714500" y="266898"/>
                      </a:cubicBezTo>
                      <a:cubicBezTo>
                        <a:pt x="1706562" y="265310"/>
                        <a:pt x="1710531" y="257373"/>
                        <a:pt x="1704975" y="257373"/>
                      </a:cubicBezTo>
                      <a:cubicBezTo>
                        <a:pt x="1699419" y="257373"/>
                        <a:pt x="1689893" y="265310"/>
                        <a:pt x="1681162" y="266898"/>
                      </a:cubicBezTo>
                      <a:cubicBezTo>
                        <a:pt x="1672431" y="268486"/>
                        <a:pt x="1660525" y="265310"/>
                        <a:pt x="1652587" y="266898"/>
                      </a:cubicBezTo>
                      <a:cubicBezTo>
                        <a:pt x="1644649" y="268486"/>
                        <a:pt x="1642268" y="270073"/>
                        <a:pt x="1633537" y="276423"/>
                      </a:cubicBezTo>
                      <a:cubicBezTo>
                        <a:pt x="1624806" y="282773"/>
                        <a:pt x="1611312" y="300236"/>
                        <a:pt x="1600200" y="304998"/>
                      </a:cubicBezTo>
                      <a:cubicBezTo>
                        <a:pt x="1589088" y="309760"/>
                        <a:pt x="1574006" y="303411"/>
                        <a:pt x="1566862" y="304998"/>
                      </a:cubicBezTo>
                      <a:cubicBezTo>
                        <a:pt x="1559718" y="306586"/>
                        <a:pt x="1562893" y="312142"/>
                        <a:pt x="1557337" y="314523"/>
                      </a:cubicBezTo>
                      <a:cubicBezTo>
                        <a:pt x="1551781" y="316904"/>
                        <a:pt x="1543844" y="317699"/>
                        <a:pt x="1533525" y="319286"/>
                      </a:cubicBezTo>
                      <a:cubicBezTo>
                        <a:pt x="1523206" y="320874"/>
                        <a:pt x="1502569" y="320873"/>
                        <a:pt x="1495425" y="324048"/>
                      </a:cubicBezTo>
                      <a:cubicBezTo>
                        <a:pt x="1488281" y="327223"/>
                        <a:pt x="1495424" y="332780"/>
                        <a:pt x="1490662" y="338336"/>
                      </a:cubicBezTo>
                      <a:cubicBezTo>
                        <a:pt x="1485899" y="343892"/>
                        <a:pt x="1478756" y="351830"/>
                        <a:pt x="1466850" y="357386"/>
                      </a:cubicBezTo>
                      <a:cubicBezTo>
                        <a:pt x="1454944" y="362942"/>
                        <a:pt x="1431131" y="369292"/>
                        <a:pt x="1419225" y="371673"/>
                      </a:cubicBezTo>
                      <a:cubicBezTo>
                        <a:pt x="1407319" y="374054"/>
                        <a:pt x="1408112" y="368498"/>
                        <a:pt x="1395412" y="371673"/>
                      </a:cubicBezTo>
                      <a:cubicBezTo>
                        <a:pt x="1382712" y="374848"/>
                        <a:pt x="1354137" y="381992"/>
                        <a:pt x="1343025" y="390723"/>
                      </a:cubicBezTo>
                      <a:cubicBezTo>
                        <a:pt x="1331913" y="399454"/>
                        <a:pt x="1331118" y="413742"/>
                        <a:pt x="1328737" y="424061"/>
                      </a:cubicBezTo>
                      <a:cubicBezTo>
                        <a:pt x="1326356" y="434380"/>
                        <a:pt x="1327943" y="446286"/>
                        <a:pt x="1328737" y="452636"/>
                      </a:cubicBezTo>
                      <a:cubicBezTo>
                        <a:pt x="1329531" y="458986"/>
                        <a:pt x="1332706" y="456605"/>
                        <a:pt x="1333500" y="462161"/>
                      </a:cubicBezTo>
                      <a:cubicBezTo>
                        <a:pt x="1334294" y="467717"/>
                        <a:pt x="1335087" y="479623"/>
                        <a:pt x="1333500" y="485973"/>
                      </a:cubicBezTo>
                      <a:cubicBezTo>
                        <a:pt x="1331912" y="492323"/>
                        <a:pt x="1323975" y="490736"/>
                        <a:pt x="1323975" y="500261"/>
                      </a:cubicBezTo>
                      <a:cubicBezTo>
                        <a:pt x="1323975" y="509786"/>
                        <a:pt x="1329531" y="529629"/>
                        <a:pt x="1333500" y="543123"/>
                      </a:cubicBezTo>
                      <a:cubicBezTo>
                        <a:pt x="1337469" y="556617"/>
                        <a:pt x="1343818" y="568523"/>
                        <a:pt x="1347787" y="581223"/>
                      </a:cubicBezTo>
                      <a:cubicBezTo>
                        <a:pt x="1351756" y="593923"/>
                        <a:pt x="1358900" y="611385"/>
                        <a:pt x="1357312" y="619323"/>
                      </a:cubicBezTo>
                      <a:cubicBezTo>
                        <a:pt x="1355724" y="627261"/>
                        <a:pt x="1351756" y="626467"/>
                        <a:pt x="1338262" y="628848"/>
                      </a:cubicBezTo>
                      <a:cubicBezTo>
                        <a:pt x="1324768" y="631229"/>
                        <a:pt x="1291431" y="634405"/>
                        <a:pt x="1276350" y="633611"/>
                      </a:cubicBezTo>
                      <a:cubicBezTo>
                        <a:pt x="1261269" y="632817"/>
                        <a:pt x="1260475" y="624086"/>
                        <a:pt x="1247775" y="624086"/>
                      </a:cubicBezTo>
                      <a:cubicBezTo>
                        <a:pt x="1235075" y="624086"/>
                        <a:pt x="1212056" y="630436"/>
                        <a:pt x="1200150" y="633611"/>
                      </a:cubicBezTo>
                      <a:cubicBezTo>
                        <a:pt x="1188244" y="636786"/>
                        <a:pt x="1185862" y="640755"/>
                        <a:pt x="1176337" y="643136"/>
                      </a:cubicBezTo>
                      <a:cubicBezTo>
                        <a:pt x="1166812" y="645517"/>
                        <a:pt x="1151731" y="643136"/>
                        <a:pt x="1143000" y="647898"/>
                      </a:cubicBezTo>
                      <a:cubicBezTo>
                        <a:pt x="1134269" y="652660"/>
                        <a:pt x="1126331" y="666949"/>
                        <a:pt x="1123950" y="671711"/>
                      </a:cubicBezTo>
                      <a:cubicBezTo>
                        <a:pt x="1121569" y="676473"/>
                        <a:pt x="1127918" y="670917"/>
                        <a:pt x="1128712" y="676473"/>
                      </a:cubicBezTo>
                      <a:cubicBezTo>
                        <a:pt x="1129506" y="682029"/>
                        <a:pt x="1128712" y="705048"/>
                        <a:pt x="1128712" y="705048"/>
                      </a:cubicBezTo>
                      <a:cubicBezTo>
                        <a:pt x="1128712" y="713779"/>
                        <a:pt x="1131093" y="720924"/>
                        <a:pt x="1128712" y="728861"/>
                      </a:cubicBezTo>
                      <a:cubicBezTo>
                        <a:pt x="1126331" y="736798"/>
                        <a:pt x="1119981" y="752673"/>
                        <a:pt x="1114425" y="752673"/>
                      </a:cubicBezTo>
                      <a:cubicBezTo>
                        <a:pt x="1108869" y="752673"/>
                        <a:pt x="1100137" y="736799"/>
                        <a:pt x="1095375" y="728861"/>
                      </a:cubicBezTo>
                      <a:cubicBezTo>
                        <a:pt x="1090612" y="720924"/>
                        <a:pt x="1091406" y="711398"/>
                        <a:pt x="1085850" y="705048"/>
                      </a:cubicBezTo>
                      <a:cubicBezTo>
                        <a:pt x="1080294" y="698698"/>
                        <a:pt x="1067593" y="686792"/>
                        <a:pt x="1062037" y="690761"/>
                      </a:cubicBezTo>
                      <a:cubicBezTo>
                        <a:pt x="1056481" y="694730"/>
                        <a:pt x="1053306" y="718542"/>
                        <a:pt x="1052512" y="728861"/>
                      </a:cubicBezTo>
                      <a:cubicBezTo>
                        <a:pt x="1051718" y="739180"/>
                        <a:pt x="1056481" y="745529"/>
                        <a:pt x="1057275" y="752673"/>
                      </a:cubicBezTo>
                      <a:cubicBezTo>
                        <a:pt x="1058069" y="759817"/>
                        <a:pt x="1062831" y="763786"/>
                        <a:pt x="1057275" y="771723"/>
                      </a:cubicBezTo>
                      <a:cubicBezTo>
                        <a:pt x="1051719" y="779661"/>
                        <a:pt x="1036637" y="797123"/>
                        <a:pt x="1023937" y="800298"/>
                      </a:cubicBezTo>
                      <a:cubicBezTo>
                        <a:pt x="1011237" y="803473"/>
                        <a:pt x="993775" y="797123"/>
                        <a:pt x="981075" y="790773"/>
                      </a:cubicBezTo>
                      <a:cubicBezTo>
                        <a:pt x="968375" y="784423"/>
                        <a:pt x="956468" y="769342"/>
                        <a:pt x="947737" y="762198"/>
                      </a:cubicBezTo>
                      <a:cubicBezTo>
                        <a:pt x="939006" y="755054"/>
                        <a:pt x="936624" y="747911"/>
                        <a:pt x="928687" y="747911"/>
                      </a:cubicBezTo>
                      <a:cubicBezTo>
                        <a:pt x="920750" y="747911"/>
                        <a:pt x="911224" y="757436"/>
                        <a:pt x="900112" y="762198"/>
                      </a:cubicBezTo>
                      <a:cubicBezTo>
                        <a:pt x="889000" y="766960"/>
                        <a:pt x="873124" y="777280"/>
                        <a:pt x="862012" y="776486"/>
                      </a:cubicBezTo>
                      <a:cubicBezTo>
                        <a:pt x="850900" y="775692"/>
                        <a:pt x="846137" y="760611"/>
                        <a:pt x="833437" y="757436"/>
                      </a:cubicBezTo>
                      <a:cubicBezTo>
                        <a:pt x="820737" y="754261"/>
                        <a:pt x="796924" y="753467"/>
                        <a:pt x="785812" y="757436"/>
                      </a:cubicBezTo>
                      <a:cubicBezTo>
                        <a:pt x="774700" y="761405"/>
                        <a:pt x="776287" y="773311"/>
                        <a:pt x="766762" y="781248"/>
                      </a:cubicBezTo>
                      <a:cubicBezTo>
                        <a:pt x="757237" y="789185"/>
                        <a:pt x="741362" y="799505"/>
                        <a:pt x="728662" y="805061"/>
                      </a:cubicBezTo>
                      <a:cubicBezTo>
                        <a:pt x="715962" y="810617"/>
                        <a:pt x="699293" y="808236"/>
                        <a:pt x="690562" y="814586"/>
                      </a:cubicBezTo>
                      <a:cubicBezTo>
                        <a:pt x="681831" y="820936"/>
                        <a:pt x="680244" y="832049"/>
                        <a:pt x="676275" y="843161"/>
                      </a:cubicBezTo>
                      <a:cubicBezTo>
                        <a:pt x="672306" y="854273"/>
                        <a:pt x="671512" y="870942"/>
                        <a:pt x="666750" y="881261"/>
                      </a:cubicBezTo>
                      <a:cubicBezTo>
                        <a:pt x="661988" y="891580"/>
                        <a:pt x="653256" y="900311"/>
                        <a:pt x="647700" y="905073"/>
                      </a:cubicBezTo>
                      <a:cubicBezTo>
                        <a:pt x="642144" y="909836"/>
                        <a:pt x="635793" y="906661"/>
                        <a:pt x="633412" y="909836"/>
                      </a:cubicBezTo>
                      <a:cubicBezTo>
                        <a:pt x="631031" y="913011"/>
                        <a:pt x="638174" y="915392"/>
                        <a:pt x="633412" y="924123"/>
                      </a:cubicBezTo>
                      <a:cubicBezTo>
                        <a:pt x="628650" y="932854"/>
                        <a:pt x="618331" y="958254"/>
                        <a:pt x="604837" y="962223"/>
                      </a:cubicBezTo>
                      <a:cubicBezTo>
                        <a:pt x="591343" y="966192"/>
                        <a:pt x="565150" y="953492"/>
                        <a:pt x="552450" y="947936"/>
                      </a:cubicBezTo>
                      <a:cubicBezTo>
                        <a:pt x="539750" y="942380"/>
                        <a:pt x="535781" y="932061"/>
                        <a:pt x="528637" y="928886"/>
                      </a:cubicBezTo>
                      <a:cubicBezTo>
                        <a:pt x="521493" y="925711"/>
                        <a:pt x="521493" y="925711"/>
                        <a:pt x="509587" y="928886"/>
                      </a:cubicBezTo>
                      <a:cubicBezTo>
                        <a:pt x="497681" y="932061"/>
                        <a:pt x="469106" y="947142"/>
                        <a:pt x="457200" y="947936"/>
                      </a:cubicBezTo>
                      <a:cubicBezTo>
                        <a:pt x="445294" y="948730"/>
                        <a:pt x="446881" y="938410"/>
                        <a:pt x="438150" y="933648"/>
                      </a:cubicBezTo>
                      <a:cubicBezTo>
                        <a:pt x="429419" y="928886"/>
                        <a:pt x="416718" y="915392"/>
                        <a:pt x="404812" y="919361"/>
                      </a:cubicBezTo>
                      <a:cubicBezTo>
                        <a:pt x="392906" y="923330"/>
                        <a:pt x="381793" y="951111"/>
                        <a:pt x="366712" y="957461"/>
                      </a:cubicBezTo>
                      <a:cubicBezTo>
                        <a:pt x="351631" y="963811"/>
                        <a:pt x="323850" y="959049"/>
                        <a:pt x="314325" y="957461"/>
                      </a:cubicBezTo>
                      <a:cubicBezTo>
                        <a:pt x="304800" y="955874"/>
                        <a:pt x="315912" y="948730"/>
                        <a:pt x="309562" y="947936"/>
                      </a:cubicBezTo>
                      <a:cubicBezTo>
                        <a:pt x="303212" y="947142"/>
                        <a:pt x="285750" y="955873"/>
                        <a:pt x="276225" y="952698"/>
                      </a:cubicBezTo>
                      <a:cubicBezTo>
                        <a:pt x="266700" y="949523"/>
                        <a:pt x="261937" y="933649"/>
                        <a:pt x="252412" y="928886"/>
                      </a:cubicBezTo>
                      <a:cubicBezTo>
                        <a:pt x="242887" y="924123"/>
                        <a:pt x="231775" y="925710"/>
                        <a:pt x="219075" y="924123"/>
                      </a:cubicBezTo>
                      <a:cubicBezTo>
                        <a:pt x="206375" y="922536"/>
                        <a:pt x="184149" y="923330"/>
                        <a:pt x="176212" y="919361"/>
                      </a:cubicBezTo>
                      <a:cubicBezTo>
                        <a:pt x="168275" y="915392"/>
                        <a:pt x="174625" y="909836"/>
                        <a:pt x="171450" y="900311"/>
                      </a:cubicBezTo>
                      <a:cubicBezTo>
                        <a:pt x="168275" y="890786"/>
                        <a:pt x="161131" y="874911"/>
                        <a:pt x="157162" y="862211"/>
                      </a:cubicBezTo>
                      <a:cubicBezTo>
                        <a:pt x="153193" y="849511"/>
                        <a:pt x="150018" y="835224"/>
                        <a:pt x="147637" y="824111"/>
                      </a:cubicBezTo>
                      <a:cubicBezTo>
                        <a:pt x="145256" y="812999"/>
                        <a:pt x="142081" y="804267"/>
                        <a:pt x="142875" y="795536"/>
                      </a:cubicBezTo>
                      <a:cubicBezTo>
                        <a:pt x="143669" y="786805"/>
                        <a:pt x="151606" y="778867"/>
                        <a:pt x="152400" y="771723"/>
                      </a:cubicBezTo>
                      <a:cubicBezTo>
                        <a:pt x="153194" y="764579"/>
                        <a:pt x="149225" y="760611"/>
                        <a:pt x="147637" y="752673"/>
                      </a:cubicBezTo>
                      <a:cubicBezTo>
                        <a:pt x="146049" y="744735"/>
                        <a:pt x="143669" y="734417"/>
                        <a:pt x="142875" y="724098"/>
                      </a:cubicBezTo>
                      <a:cubicBezTo>
                        <a:pt x="142081" y="713779"/>
                        <a:pt x="139700" y="696317"/>
                        <a:pt x="142875" y="690761"/>
                      </a:cubicBezTo>
                      <a:cubicBezTo>
                        <a:pt x="146050" y="685205"/>
                        <a:pt x="158750" y="695523"/>
                        <a:pt x="161925" y="690761"/>
                      </a:cubicBezTo>
                      <a:cubicBezTo>
                        <a:pt x="165100" y="685999"/>
                        <a:pt x="151606" y="670917"/>
                        <a:pt x="161925" y="662186"/>
                      </a:cubicBezTo>
                      <a:cubicBezTo>
                        <a:pt x="172244" y="653455"/>
                        <a:pt x="216693" y="648692"/>
                        <a:pt x="223837" y="638373"/>
                      </a:cubicBezTo>
                      <a:cubicBezTo>
                        <a:pt x="230981" y="628054"/>
                        <a:pt x="211931" y="605035"/>
                        <a:pt x="204787" y="600273"/>
                      </a:cubicBezTo>
                      <a:cubicBezTo>
                        <a:pt x="197643" y="595511"/>
                        <a:pt x="188912" y="610592"/>
                        <a:pt x="180975" y="609798"/>
                      </a:cubicBezTo>
                      <a:cubicBezTo>
                        <a:pt x="173038" y="609004"/>
                        <a:pt x="165100" y="598686"/>
                        <a:pt x="157162" y="595511"/>
                      </a:cubicBezTo>
                      <a:cubicBezTo>
                        <a:pt x="149224" y="592336"/>
                        <a:pt x="140494" y="592336"/>
                        <a:pt x="133350" y="590748"/>
                      </a:cubicBezTo>
                      <a:cubicBezTo>
                        <a:pt x="126206" y="589161"/>
                        <a:pt x="127000" y="585192"/>
                        <a:pt x="114300" y="585986"/>
                      </a:cubicBezTo>
                      <a:cubicBezTo>
                        <a:pt x="101600" y="586780"/>
                        <a:pt x="57150" y="595511"/>
                        <a:pt x="57150" y="595511"/>
                      </a:cubicBezTo>
                      <a:lnTo>
                        <a:pt x="57150" y="595511"/>
                      </a:lnTo>
                      <a:cubicBezTo>
                        <a:pt x="53181" y="593130"/>
                        <a:pt x="38893" y="585192"/>
                        <a:pt x="33337" y="581223"/>
                      </a:cubicBezTo>
                      <a:cubicBezTo>
                        <a:pt x="27781" y="577254"/>
                        <a:pt x="23812" y="571698"/>
                        <a:pt x="23812" y="571698"/>
                      </a:cubicBezTo>
                      <a:cubicBezTo>
                        <a:pt x="21431" y="569317"/>
                        <a:pt x="23019" y="568523"/>
                        <a:pt x="19050" y="566936"/>
                      </a:cubicBezTo>
                      <a:cubicBezTo>
                        <a:pt x="15081" y="565349"/>
                        <a:pt x="3969" y="563761"/>
                        <a:pt x="0" y="562173"/>
                      </a:cubicBezTo>
                    </a:path>
                  </a:pathLst>
                </a:custGeom>
                <a:noFill/>
                <a:ln w="12700" cap="flat" cmpd="sng" algn="ctr">
                  <a:solidFill>
                    <a:srgbClr val="00B0F0"/>
                  </a:solidFill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5846" name="Group 40">
            <a:extLst>
              <a:ext uri="{FF2B5EF4-FFF2-40B4-BE49-F238E27FC236}">
                <a16:creationId xmlns:a16="http://schemas.microsoft.com/office/drawing/2014/main" id="{91CAB122-DE18-4191-4C49-B153A9897D4A}"/>
              </a:ext>
            </a:extLst>
          </p:cNvPr>
          <p:cNvGrpSpPr>
            <a:grpSpLocks/>
          </p:cNvGrpSpPr>
          <p:nvPr/>
        </p:nvGrpSpPr>
        <p:grpSpPr bwMode="auto">
          <a:xfrm>
            <a:off x="3484563" y="2408238"/>
            <a:ext cx="2171700" cy="1235075"/>
            <a:chOff x="3485322" y="2408268"/>
            <a:chExt cx="2171111" cy="1235590"/>
          </a:xfrm>
        </p:grpSpPr>
        <p:sp>
          <p:nvSpPr>
            <p:cNvPr id="35865" name="TextBox 189">
              <a:extLst>
                <a:ext uri="{FF2B5EF4-FFF2-40B4-BE49-F238E27FC236}">
                  <a16:creationId xmlns:a16="http://schemas.microsoft.com/office/drawing/2014/main" id="{0E83A788-D6AC-F66D-1083-8109429377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5322" y="2812861"/>
              <a:ext cx="2171111" cy="83099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0,000+ Selle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90 Sales Staff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8A249F7-4FB8-1166-DA48-F1C8629F05D2}"/>
                </a:ext>
              </a:extLst>
            </p:cNvPr>
            <p:cNvSpPr txBox="1"/>
            <p:nvPr/>
          </p:nvSpPr>
          <p:spPr>
            <a:xfrm>
              <a:off x="3485322" y="2408268"/>
              <a:ext cx="2171111" cy="400217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tx1"/>
              </a:solidFill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EST</a:t>
              </a:r>
              <a:endPara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847" name="Group 193">
            <a:extLst>
              <a:ext uri="{FF2B5EF4-FFF2-40B4-BE49-F238E27FC236}">
                <a16:creationId xmlns:a16="http://schemas.microsoft.com/office/drawing/2014/main" id="{D0B2211D-F649-461E-FF3B-FECF3C265B2A}"/>
              </a:ext>
            </a:extLst>
          </p:cNvPr>
          <p:cNvGrpSpPr>
            <a:grpSpLocks/>
          </p:cNvGrpSpPr>
          <p:nvPr/>
        </p:nvGrpSpPr>
        <p:grpSpPr bwMode="auto">
          <a:xfrm>
            <a:off x="4619625" y="5391150"/>
            <a:ext cx="2171700" cy="1235075"/>
            <a:chOff x="3485322" y="2408268"/>
            <a:chExt cx="2171111" cy="1235590"/>
          </a:xfrm>
        </p:grpSpPr>
        <p:sp>
          <p:nvSpPr>
            <p:cNvPr id="35863" name="TextBox 194">
              <a:extLst>
                <a:ext uri="{FF2B5EF4-FFF2-40B4-BE49-F238E27FC236}">
                  <a16:creationId xmlns:a16="http://schemas.microsoft.com/office/drawing/2014/main" id="{AB627423-9B92-44AD-6D90-34E5590413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5322" y="2812861"/>
              <a:ext cx="2171111" cy="83099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5,000+ Selle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40 Sales Staff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1DA624CD-D23C-F45E-0A93-6EA7EA31DD46}"/>
                </a:ext>
              </a:extLst>
            </p:cNvPr>
            <p:cNvSpPr txBox="1"/>
            <p:nvPr/>
          </p:nvSpPr>
          <p:spPr>
            <a:xfrm>
              <a:off x="3485322" y="2408268"/>
              <a:ext cx="2171111" cy="400217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tx1"/>
              </a:solidFill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UTH</a:t>
              </a:r>
              <a:endPara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848" name="Group 196">
            <a:extLst>
              <a:ext uri="{FF2B5EF4-FFF2-40B4-BE49-F238E27FC236}">
                <a16:creationId xmlns:a16="http://schemas.microsoft.com/office/drawing/2014/main" id="{31F606BF-EE2A-4D6A-DC23-39162B4AF64D}"/>
              </a:ext>
            </a:extLst>
          </p:cNvPr>
          <p:cNvGrpSpPr>
            <a:grpSpLocks/>
          </p:cNvGrpSpPr>
          <p:nvPr/>
        </p:nvGrpSpPr>
        <p:grpSpPr bwMode="auto">
          <a:xfrm>
            <a:off x="9899650" y="3805238"/>
            <a:ext cx="2171700" cy="1235075"/>
            <a:chOff x="3485322" y="2408268"/>
            <a:chExt cx="2171111" cy="1235590"/>
          </a:xfrm>
        </p:grpSpPr>
        <p:sp>
          <p:nvSpPr>
            <p:cNvPr id="35861" name="TextBox 197">
              <a:extLst>
                <a:ext uri="{FF2B5EF4-FFF2-40B4-BE49-F238E27FC236}">
                  <a16:creationId xmlns:a16="http://schemas.microsoft.com/office/drawing/2014/main" id="{0CE6371C-55D2-8F3B-D37C-27E1DE3D26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5322" y="2812861"/>
              <a:ext cx="2171111" cy="83099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2,000+ Selle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20 Sales Staff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65CA6C50-FF1B-AEF7-6683-9747145BE2FA}"/>
                </a:ext>
              </a:extLst>
            </p:cNvPr>
            <p:cNvSpPr txBox="1"/>
            <p:nvPr/>
          </p:nvSpPr>
          <p:spPr>
            <a:xfrm>
              <a:off x="3485322" y="2408268"/>
              <a:ext cx="2171111" cy="400217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tx1"/>
              </a:solidFill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AST</a:t>
              </a:r>
              <a:endPara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849" name="Group 199">
            <a:extLst>
              <a:ext uri="{FF2B5EF4-FFF2-40B4-BE49-F238E27FC236}">
                <a16:creationId xmlns:a16="http://schemas.microsoft.com/office/drawing/2014/main" id="{99FA889B-4492-F6DF-7519-682CB9D07790}"/>
              </a:ext>
            </a:extLst>
          </p:cNvPr>
          <p:cNvGrpSpPr>
            <a:grpSpLocks/>
          </p:cNvGrpSpPr>
          <p:nvPr/>
        </p:nvGrpSpPr>
        <p:grpSpPr bwMode="auto">
          <a:xfrm>
            <a:off x="8629650" y="214313"/>
            <a:ext cx="2170113" cy="1236662"/>
            <a:chOff x="3485322" y="2408268"/>
            <a:chExt cx="2171111" cy="1235590"/>
          </a:xfrm>
        </p:grpSpPr>
        <p:sp>
          <p:nvSpPr>
            <p:cNvPr id="35859" name="TextBox 200">
              <a:extLst>
                <a:ext uri="{FF2B5EF4-FFF2-40B4-BE49-F238E27FC236}">
                  <a16:creationId xmlns:a16="http://schemas.microsoft.com/office/drawing/2014/main" id="{DA0FCCC8-C117-103F-1A79-1FAFF69FB9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5322" y="2812861"/>
              <a:ext cx="2171111" cy="83099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6,000+ Selle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70 Sales Staff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014C488-0200-BC5C-5FAD-58148EA2F9EC}"/>
                </a:ext>
              </a:extLst>
            </p:cNvPr>
            <p:cNvSpPr txBox="1"/>
            <p:nvPr/>
          </p:nvSpPr>
          <p:spPr>
            <a:xfrm>
              <a:off x="3485322" y="2408268"/>
              <a:ext cx="2171111" cy="39970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tx1"/>
              </a:solidFill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RTH</a:t>
              </a:r>
              <a:endPara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F6062ADB-C931-B532-5C1D-7E342B58A4C8}"/>
              </a:ext>
            </a:extLst>
          </p:cNvPr>
          <p:cNvCxnSpPr/>
          <p:nvPr/>
        </p:nvCxnSpPr>
        <p:spPr>
          <a:xfrm>
            <a:off x="3065463" y="669925"/>
            <a:ext cx="0" cy="6042025"/>
          </a:xfrm>
          <a:prstGeom prst="line">
            <a:avLst/>
          </a:prstGeom>
          <a:ln w="28575">
            <a:solidFill>
              <a:srgbClr val="00B050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4" name="Picture 12" descr="Engineer, factory, industrial, product, shipping, technology icon - Download on Iconfinder">
            <a:extLst>
              <a:ext uri="{FF2B5EF4-FFF2-40B4-BE49-F238E27FC236}">
                <a16:creationId xmlns:a16="http://schemas.microsoft.com/office/drawing/2014/main" id="{2196D02F-E47E-F5AD-39DE-ED6120D91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10939" y="918966"/>
            <a:ext cx="1008000" cy="1008000"/>
          </a:xfrm>
          <a:prstGeom prst="rect">
            <a:avLst/>
          </a:prstGeom>
          <a:noFill/>
        </p:spPr>
      </p:pic>
      <p:sp>
        <p:nvSpPr>
          <p:cNvPr id="35852" name="TextBox 204">
            <a:extLst>
              <a:ext uri="{FF2B5EF4-FFF2-40B4-BE49-F238E27FC236}">
                <a16:creationId xmlns:a16="http://schemas.microsoft.com/office/drawing/2014/main" id="{25B41F3F-F42B-B526-FA78-CF2A8CB30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63" y="1882775"/>
            <a:ext cx="270827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5+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duct Categories</a:t>
            </a:r>
          </a:p>
        </p:txBody>
      </p:sp>
      <p:sp>
        <p:nvSpPr>
          <p:cNvPr id="35853" name="TextBox 206">
            <a:extLst>
              <a:ext uri="{FF2B5EF4-FFF2-40B4-BE49-F238E27FC236}">
                <a16:creationId xmlns:a16="http://schemas.microsoft.com/office/drawing/2014/main" id="{6E54E3E8-163C-89B7-11C6-6B23C301F6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975" y="3989388"/>
            <a:ext cx="22145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,00,000+ SKUs</a:t>
            </a:r>
            <a:endParaRPr kumimoji="0" lang="en-US" alt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08" name="Picture 8" descr="vendor Icon - Download vendor Icon 2351010 | Noun Project">
            <a:extLst>
              <a:ext uri="{FF2B5EF4-FFF2-40B4-BE49-F238E27FC236}">
                <a16:creationId xmlns:a16="http://schemas.microsoft.com/office/drawing/2014/main" id="{0D7FF05D-7125-8A3D-A6E3-C3CBC19C9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10939" y="4666236"/>
            <a:ext cx="1008000" cy="1008000"/>
          </a:xfrm>
          <a:prstGeom prst="rect">
            <a:avLst/>
          </a:prstGeom>
          <a:noFill/>
        </p:spPr>
      </p:pic>
      <p:sp>
        <p:nvSpPr>
          <p:cNvPr id="35855" name="TextBox 208">
            <a:extLst>
              <a:ext uri="{FF2B5EF4-FFF2-40B4-BE49-F238E27FC236}">
                <a16:creationId xmlns:a16="http://schemas.microsoft.com/office/drawing/2014/main" id="{123FEEAE-379C-B9FD-005D-77A43FDC6B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975" y="5759450"/>
            <a:ext cx="22145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3,000+ Sellers</a:t>
            </a:r>
            <a:endParaRPr kumimoji="0" lang="en-US" alt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10" name="Picture 14" descr="Industrial products icon Images, Stock Photos &amp;amp; Vectors | Shutterstock">
            <a:extLst>
              <a:ext uri="{FF2B5EF4-FFF2-40B4-BE49-F238E27FC236}">
                <a16:creationId xmlns:a16="http://schemas.microsoft.com/office/drawing/2014/main" id="{666A65DC-0126-18A7-6E87-E11F955912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2104" t="7897" r="4538" b="14654"/>
          <a:stretch/>
        </p:blipFill>
        <p:spPr bwMode="auto">
          <a:xfrm>
            <a:off x="906672" y="2934458"/>
            <a:ext cx="1016535" cy="1008000"/>
          </a:xfrm>
          <a:prstGeom prst="rect">
            <a:avLst/>
          </a:prstGeom>
          <a:noFill/>
        </p:spPr>
      </p:pic>
      <p:sp>
        <p:nvSpPr>
          <p:cNvPr id="35857" name="TextBox 206">
            <a:extLst>
              <a:ext uri="{FF2B5EF4-FFF2-40B4-BE49-F238E27FC236}">
                <a16:creationId xmlns:a16="http://schemas.microsoft.com/office/drawing/2014/main" id="{44B266A1-1730-E643-FC2D-9FA20F754F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975" y="3975100"/>
            <a:ext cx="22145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,00,000+ SKUs</a:t>
            </a:r>
            <a:endParaRPr kumimoji="0" lang="en-US" alt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63" name="Picture 14" descr="Industrial products icon Images, Stock Photos &amp;amp; Vectors | Shutterstock">
            <a:extLst>
              <a:ext uri="{FF2B5EF4-FFF2-40B4-BE49-F238E27FC236}">
                <a16:creationId xmlns:a16="http://schemas.microsoft.com/office/drawing/2014/main" id="{C0504435-FBAE-5C4B-199C-ADC084A524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2104" t="7897" r="4538" b="14654"/>
          <a:stretch/>
        </p:blipFill>
        <p:spPr bwMode="auto">
          <a:xfrm>
            <a:off x="906672" y="2919690"/>
            <a:ext cx="1016535" cy="1008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KHMydATxKgXIllvEOM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1133</Words>
  <Application>Microsoft Office PowerPoint</Application>
  <PresentationFormat>Widescreen</PresentationFormat>
  <Paragraphs>262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72</vt:lpstr>
      <vt:lpstr>72 Black</vt:lpstr>
      <vt:lpstr>72 Condensed</vt:lpstr>
      <vt:lpstr>Arial</vt:lpstr>
      <vt:lpstr>Calibri</vt:lpstr>
      <vt:lpstr>Calibri Light</vt:lpstr>
      <vt:lpstr>Courier New</vt:lpstr>
      <vt:lpstr>Impact</vt:lpstr>
      <vt:lpstr>Roboto</vt:lpstr>
      <vt:lpstr>Wingdings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hail Patel</dc:creator>
  <cp:lastModifiedBy>Pranav Khanna</cp:lastModifiedBy>
  <cp:revision>3</cp:revision>
  <dcterms:created xsi:type="dcterms:W3CDTF">2022-05-31T06:28:42Z</dcterms:created>
  <dcterms:modified xsi:type="dcterms:W3CDTF">2022-07-05T05:21:32Z</dcterms:modified>
</cp:coreProperties>
</file>